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8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1.xml" ContentType="application/vnd.openxmlformats-officedocument.presentationml.slide+xml"/>
  <Override PartName="/ppt/slides/slide19.xml" ContentType="application/vnd.openxmlformats-officedocument.presentationml.slide+xml"/>
  <Override PartName="/ppt/slides/slide16.xml" ContentType="application/vnd.openxmlformats-officedocument.presentationml.slide+xml"/>
  <Override PartName="/ppt/slides/slide20.xml" ContentType="application/vnd.openxmlformats-officedocument.presentationml.slide+xml"/>
  <Override PartName="/ppt/slides/slide15.xml" ContentType="application/vnd.openxmlformats-officedocument.presentationml.slide+xml"/>
  <Override PartName="/ppt/slides/slide17.xml" ContentType="application/vnd.openxmlformats-officedocument.presentationml.slide+xml"/>
  <Override PartName="/ppt/slides/slide7.xml" ContentType="application/vnd.openxmlformats-officedocument.presentationml.slide+xml"/>
  <Override PartName="/ppt/slides/slide5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6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notesSlides/notesSlide2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12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17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6.xml" ContentType="application/vnd.openxmlformats-officedocument.presentationml.slideLayout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12.xml" ContentType="application/vnd.openxmlformats-officedocument.presentationml.tags+xml"/>
  <Override PartName="/ppt/tags/tag2.xml" ContentType="application/vnd.openxmlformats-officedocument.presentationml.tags+xml"/>
  <Override PartName="/ppt/tags/tag11.xml" ContentType="application/vnd.openxmlformats-officedocument.presentationml.tags+xml"/>
  <Override PartName="/ppt/tags/tag13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1.xml" ContentType="application/vnd.openxmlformats-officedocument.presentationml.tags+xml"/>
  <Override PartName="/ppt/tags/tag8.xml" ContentType="application/vnd.openxmlformats-officedocument.presentationml.tags+xml"/>
  <Override PartName="/ppt/tags/tag3.xml" ContentType="application/vnd.openxmlformats-officedocument.presentationml.tags+xml"/>
  <Override PartName="/ppt/tags/tag17.xml" ContentType="application/vnd.openxmlformats-officedocument.presentationml.tags+xml"/>
  <Override PartName="/ppt/tags/tag15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37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app.xml" ContentType="application/vnd.openxmlformats-officedocument.extended-properties+xml"/>
  <Override PartName="/ppt/tags/tag14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</p:sldMasterIdLst>
  <p:notesMasterIdLst>
    <p:notesMasterId r:id="rId23"/>
  </p:notesMasterIdLst>
  <p:handoutMasterIdLst>
    <p:handoutMasterId r:id="rId24"/>
  </p:handoutMasterIdLst>
  <p:sldIdLst>
    <p:sldId id="278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</p:sldIdLst>
  <p:sldSz cx="9982200" cy="6959600"/>
  <p:notesSz cx="5029200" cy="7772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6" d="100"/>
          <a:sy n="86" d="100"/>
        </p:scale>
        <p:origin x="-1266" y="-78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-3000" y="-96"/>
      </p:cViewPr>
      <p:guideLst>
        <p:guide orient="horz" pos="2448"/>
        <p:guide pos="158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ustomXml" Target="../customXml/item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Relationship Id="rId30" Type="http://schemas.openxmlformats.org/officeDocument/2006/relationships/customXml" Target="../customXml/item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179626" cy="388125"/>
          </a:xfrm>
          <a:prstGeom prst="rect">
            <a:avLst/>
          </a:prstGeom>
        </p:spPr>
        <p:txBody>
          <a:bodyPr vert="horz" lIns="69193" tIns="34596" rIns="69193" bIns="34596" rtlCol="0"/>
          <a:lstStyle>
            <a:lvl1pPr algn="l">
              <a:defRPr sz="9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2848428" y="1"/>
            <a:ext cx="2179626" cy="388125"/>
          </a:xfrm>
          <a:prstGeom prst="rect">
            <a:avLst/>
          </a:prstGeom>
        </p:spPr>
        <p:txBody>
          <a:bodyPr vert="horz" lIns="69193" tIns="34596" rIns="69193" bIns="34596" rtlCol="0"/>
          <a:lstStyle>
            <a:lvl1pPr algn="r">
              <a:defRPr sz="900"/>
            </a:lvl1pPr>
          </a:lstStyle>
          <a:p>
            <a:fld id="{AF760503-F4C1-4839-A0AC-83A9883B9AAD}" type="datetimeFigureOut">
              <a:rPr lang="en-US" smtClean="0"/>
              <a:t>11/16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7383040"/>
            <a:ext cx="2179626" cy="388125"/>
          </a:xfrm>
          <a:prstGeom prst="rect">
            <a:avLst/>
          </a:prstGeom>
        </p:spPr>
        <p:txBody>
          <a:bodyPr vert="horz" lIns="69193" tIns="34596" rIns="69193" bIns="34596" rtlCol="0" anchor="b"/>
          <a:lstStyle>
            <a:lvl1pPr algn="l">
              <a:defRPr sz="9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848428" y="7383040"/>
            <a:ext cx="2179626" cy="388125"/>
          </a:xfrm>
          <a:prstGeom prst="rect">
            <a:avLst/>
          </a:prstGeom>
        </p:spPr>
        <p:txBody>
          <a:bodyPr vert="horz" lIns="69193" tIns="34596" rIns="69193" bIns="34596" rtlCol="0" anchor="b"/>
          <a:lstStyle>
            <a:lvl1pPr algn="r">
              <a:defRPr sz="900"/>
            </a:lvl1pPr>
          </a:lstStyle>
          <a:p>
            <a:fld id="{B9464811-FF25-48B5-85FE-D7B153E26D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55486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33413" y="584200"/>
            <a:ext cx="4178300" cy="2914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69193" tIns="34596" rIns="69193" bIns="3459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804258" y="3648875"/>
            <a:ext cx="3857847" cy="3497935"/>
          </a:xfrm>
          <a:prstGeom prst="rect">
            <a:avLst/>
          </a:prstGeom>
        </p:spPr>
        <p:txBody>
          <a:bodyPr vert="horz" lIns="69193" tIns="34596" rIns="69193" bIns="34596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>
            <a:off x="457200" y="504317"/>
            <a:ext cx="0" cy="70604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69193" tIns="34596" rIns="69193" bIns="34596"/>
          <a:lstStyle/>
          <a:p>
            <a:endParaRPr lang="en-US"/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174371" y="118662"/>
            <a:ext cx="4697668" cy="2410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9954" tIns="34977" rIns="69954" bIns="34977"/>
          <a:lstStyle/>
          <a:p>
            <a:pPr marL="0" marR="0" indent="0" algn="l" defTabSz="691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 smtClean="0">
                <a:latin typeface="Arial" pitchFamily="34" charset="0"/>
                <a:cs typeface="Arial" pitchFamily="34" charset="0"/>
              </a:rPr>
              <a:t>Teredata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 Basics		                  </a:t>
            </a:r>
            <a:r>
              <a:rPr lang="en-US" sz="900" baseline="0" dirty="0" smtClean="0">
                <a:latin typeface="Arial" pitchFamily="34" charset="0"/>
                <a:cs typeface="Arial" pitchFamily="34" charset="0"/>
              </a:rPr>
              <a:t>Primary Index Mechanics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14"/>
          <p:cNvSpPr>
            <a:spLocks noChangeArrowheads="1"/>
          </p:cNvSpPr>
          <p:nvPr/>
        </p:nvSpPr>
        <p:spPr bwMode="auto">
          <a:xfrm>
            <a:off x="2863625" y="7275065"/>
            <a:ext cx="1996281" cy="349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9954" tIns="34977" rIns="69954" bIns="34977"/>
          <a:lstStyle/>
          <a:p>
            <a:pPr marL="0" marR="0" indent="0" algn="l" defTabSz="691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latin typeface="Arial" pitchFamily="34" charset="0"/>
                <a:cs typeface="Arial" pitchFamily="34" charset="0"/>
              </a:rPr>
              <a:t>	                Page 02-</a:t>
            </a:r>
            <a:fld id="{BD9FB300-F9DC-4669-88F4-967ABA23CC04}" type="slidenum">
              <a:rPr lang="en-US" sz="800" smtClean="0">
                <a:latin typeface="Arial" pitchFamily="34" charset="0"/>
                <a:cs typeface="Arial" pitchFamily="34" charset="0"/>
              </a:rPr>
              <a:pPr marL="0" marR="0" indent="0" algn="l" defTabSz="6919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8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8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61050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3170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5235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228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952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62894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5108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7326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47815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1995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43019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3583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05684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6176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98996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681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41429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6398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18958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0237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51540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83175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0"/>
          <a:ext cx="159971" cy="16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59971" cy="16110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" y="3003777"/>
            <a:ext cx="5496692" cy="1114426"/>
          </a:xfrm>
        </p:spPr>
        <p:txBody>
          <a:bodyPr lIns="762220" tIns="34999" rIns="34999" bIns="34999" anchor="t"/>
          <a:lstStyle>
            <a:lvl1pPr marL="0" indent="0" algn="l">
              <a:defRPr sz="39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903346" y="5022963"/>
            <a:ext cx="5078857" cy="887179"/>
          </a:xfrm>
        </p:spPr>
        <p:txBody>
          <a:bodyPr lIns="762220" tIns="34999" rIns="34999" bIns="34999"/>
          <a:lstStyle>
            <a:lvl1pPr marL="0" indent="0" algn="l">
              <a:buNone/>
              <a:defRPr sz="2300" b="0">
                <a:solidFill>
                  <a:schemeClr val="tx1"/>
                </a:solidFill>
              </a:defRPr>
            </a:lvl1pPr>
            <a:lvl2pPr marL="483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67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35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19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03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87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7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549909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3"/>
          <a:ext cx="148193" cy="146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48193" cy="14611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5880" y="2143245"/>
            <a:ext cx="9656320" cy="4086213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5976" y="1517604"/>
            <a:ext cx="9672479" cy="653147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130899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9971" cy="16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9971" cy="16110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7129" y="1556158"/>
            <a:ext cx="4536770" cy="4785363"/>
          </a:xfrm>
        </p:spPr>
        <p:txBody>
          <a:bodyPr/>
          <a:lstStyle>
            <a:lvl1pPr>
              <a:defRPr sz="21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61475" y="1556158"/>
            <a:ext cx="4536770" cy="4795593"/>
          </a:xfrm>
        </p:spPr>
        <p:txBody>
          <a:bodyPr/>
          <a:lstStyle>
            <a:lvl1pPr>
              <a:defRPr sz="21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05697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9971" cy="16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9971" cy="16110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7129" y="2239651"/>
            <a:ext cx="4536770" cy="4101871"/>
          </a:xfrm>
        </p:spPr>
        <p:txBody>
          <a:bodyPr/>
          <a:lstStyle>
            <a:lvl1pPr>
              <a:defRPr sz="19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61475" y="2241112"/>
            <a:ext cx="4536770" cy="4110639"/>
          </a:xfrm>
        </p:spPr>
        <p:txBody>
          <a:bodyPr/>
          <a:lstStyle>
            <a:lvl1pPr>
              <a:defRPr sz="19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7130" y="1565504"/>
            <a:ext cx="4536770" cy="662709"/>
          </a:xfrm>
        </p:spPr>
        <p:txBody>
          <a:bodyPr anchor="ctr"/>
          <a:lstStyle>
            <a:lvl1pPr algn="ctr">
              <a:buNone/>
              <a:defRPr sz="23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61785" y="1556156"/>
            <a:ext cx="4536770" cy="662709"/>
          </a:xfrm>
        </p:spPr>
        <p:txBody>
          <a:bodyPr anchor="ctr"/>
          <a:lstStyle>
            <a:lvl1pPr algn="ctr">
              <a:buNone/>
              <a:defRPr lang="fr-FR" sz="23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33793486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6263" y="1481441"/>
            <a:ext cx="4356259" cy="475944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7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84010" indent="0">
              <a:buNone/>
              <a:defRPr sz="2100" b="1"/>
            </a:lvl2pPr>
            <a:lvl3pPr marL="968019" indent="0">
              <a:buNone/>
              <a:defRPr sz="1900" b="1"/>
            </a:lvl3pPr>
            <a:lvl4pPr marL="1452029" indent="0">
              <a:buNone/>
              <a:defRPr sz="1700" b="1"/>
            </a:lvl4pPr>
            <a:lvl5pPr marL="1936039" indent="0">
              <a:buNone/>
              <a:defRPr sz="1700" b="1"/>
            </a:lvl5pPr>
            <a:lvl6pPr marL="2420048" indent="0">
              <a:buNone/>
              <a:defRPr sz="1700" b="1"/>
            </a:lvl6pPr>
            <a:lvl7pPr marL="2904058" indent="0">
              <a:buNone/>
              <a:defRPr sz="1700" b="1"/>
            </a:lvl7pPr>
            <a:lvl8pPr marL="3388067" indent="0">
              <a:buNone/>
              <a:defRPr sz="1700" b="1"/>
            </a:lvl8pPr>
            <a:lvl9pPr marL="3872077" indent="0">
              <a:buNone/>
              <a:defRPr sz="17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6263" y="2014301"/>
            <a:ext cx="4356259" cy="17102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6802"/>
          <a:lstStyle>
            <a:lvl1pPr>
              <a:defRPr sz="1500"/>
            </a:lvl1pPr>
            <a:lvl2pPr>
              <a:defRPr sz="1500"/>
            </a:lvl2pPr>
            <a:lvl3pPr>
              <a:defRPr sz="1300"/>
            </a:lvl3pPr>
            <a:lvl4pPr>
              <a:defRPr sz="1200" baseline="0"/>
            </a:lvl4pPr>
            <a:lvl5pPr>
              <a:defRPr sz="1300" baseline="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203168" y="1481441"/>
            <a:ext cx="4356259" cy="475944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6802" tIns="48402" rIns="96802" bIns="48402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7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84010" indent="0">
              <a:buNone/>
              <a:defRPr sz="2100" b="1"/>
            </a:lvl2pPr>
            <a:lvl3pPr marL="968019" indent="0">
              <a:buNone/>
              <a:defRPr sz="1900" b="1"/>
            </a:lvl3pPr>
            <a:lvl4pPr marL="1452029" indent="0">
              <a:buNone/>
              <a:defRPr sz="1700" b="1"/>
            </a:lvl4pPr>
            <a:lvl5pPr marL="1936039" indent="0">
              <a:buNone/>
              <a:defRPr sz="1700" b="1"/>
            </a:lvl5pPr>
            <a:lvl6pPr marL="2420048" indent="0">
              <a:buNone/>
              <a:defRPr sz="1700" b="1"/>
            </a:lvl6pPr>
            <a:lvl7pPr marL="2904058" indent="0">
              <a:buNone/>
              <a:defRPr sz="1700" b="1"/>
            </a:lvl7pPr>
            <a:lvl8pPr marL="3388067" indent="0">
              <a:buNone/>
              <a:defRPr sz="1700" b="1"/>
            </a:lvl8pPr>
            <a:lvl9pPr marL="3872077" indent="0">
              <a:buNone/>
              <a:defRPr sz="17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203168" y="2014301"/>
            <a:ext cx="4356259" cy="17102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6802"/>
          <a:lstStyle>
            <a:lvl1pPr>
              <a:defRPr sz="1500"/>
            </a:lvl1pPr>
            <a:lvl2pPr>
              <a:defRPr sz="1500"/>
            </a:lvl2pPr>
            <a:lvl3pPr>
              <a:defRPr sz="13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6263" y="3900734"/>
            <a:ext cx="4356259" cy="475944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7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84010" indent="0">
              <a:buNone/>
              <a:defRPr sz="2100" b="1"/>
            </a:lvl2pPr>
            <a:lvl3pPr marL="968019" indent="0">
              <a:buNone/>
              <a:defRPr sz="1900" b="1"/>
            </a:lvl3pPr>
            <a:lvl4pPr marL="1452029" indent="0">
              <a:buNone/>
              <a:defRPr sz="1700" b="1"/>
            </a:lvl4pPr>
            <a:lvl5pPr marL="1936039" indent="0">
              <a:buNone/>
              <a:defRPr sz="1700" b="1"/>
            </a:lvl5pPr>
            <a:lvl6pPr marL="2420048" indent="0">
              <a:buNone/>
              <a:defRPr sz="1700" b="1"/>
            </a:lvl6pPr>
            <a:lvl7pPr marL="2904058" indent="0">
              <a:buNone/>
              <a:defRPr sz="1700" b="1"/>
            </a:lvl7pPr>
            <a:lvl8pPr marL="3388067" indent="0">
              <a:buNone/>
              <a:defRPr sz="1700" b="1"/>
            </a:lvl8pPr>
            <a:lvl9pPr marL="3872077" indent="0">
              <a:buNone/>
              <a:defRPr sz="17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46263" y="4440311"/>
            <a:ext cx="4356259" cy="1847894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6802"/>
          <a:lstStyle>
            <a:lvl1pPr>
              <a:defRPr sz="1500"/>
            </a:lvl1pPr>
            <a:lvl2pPr>
              <a:defRPr sz="1500"/>
            </a:lvl2pPr>
            <a:lvl3pPr>
              <a:defRPr sz="13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203168" y="3900734"/>
            <a:ext cx="4356259" cy="475944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6802" tIns="48402" rIns="96802" bIns="48402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7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84010" indent="0">
              <a:buNone/>
              <a:defRPr sz="2100" b="1"/>
            </a:lvl2pPr>
            <a:lvl3pPr marL="968019" indent="0">
              <a:buNone/>
              <a:defRPr sz="1900" b="1"/>
            </a:lvl3pPr>
            <a:lvl4pPr marL="1452029" indent="0">
              <a:buNone/>
              <a:defRPr sz="1700" b="1"/>
            </a:lvl4pPr>
            <a:lvl5pPr marL="1936039" indent="0">
              <a:buNone/>
              <a:defRPr sz="1700" b="1"/>
            </a:lvl5pPr>
            <a:lvl6pPr marL="2420048" indent="0">
              <a:buNone/>
              <a:defRPr sz="1700" b="1"/>
            </a:lvl6pPr>
            <a:lvl7pPr marL="2904058" indent="0">
              <a:buNone/>
              <a:defRPr sz="1700" b="1"/>
            </a:lvl7pPr>
            <a:lvl8pPr marL="3388067" indent="0">
              <a:buNone/>
              <a:defRPr sz="1700" b="1"/>
            </a:lvl8pPr>
            <a:lvl9pPr marL="3872077" indent="0">
              <a:buNone/>
              <a:defRPr sz="17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203168" y="4440311"/>
            <a:ext cx="4356259" cy="1847894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6802"/>
          <a:lstStyle>
            <a:lvl1pPr>
              <a:defRPr sz="1500"/>
            </a:lvl1pPr>
            <a:lvl2pPr>
              <a:defRPr sz="1500"/>
            </a:lvl2pPr>
            <a:lvl3pPr>
              <a:defRPr sz="1300"/>
            </a:lvl3pPr>
            <a:lvl4pPr>
              <a:defRPr sz="1200" baseline="0"/>
            </a:lvl4pPr>
            <a:lvl5pPr>
              <a:defRPr sz="1200" baseline="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253226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985764" y="1855893"/>
            <a:ext cx="1849218" cy="15775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5880" y="1516913"/>
            <a:ext cx="7652353" cy="4712547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5209318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9971" cy="16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9971" cy="16110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836961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7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7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9111" y="6450520"/>
            <a:ext cx="2329180" cy="370534"/>
          </a:xfrm>
          <a:prstGeom prst="rect">
            <a:avLst/>
          </a:prstGeom>
        </p:spPr>
        <p:txBody>
          <a:bodyPr lIns="96802" tIns="48402" rIns="96802" bIns="48402"/>
          <a:lstStyle/>
          <a:p>
            <a:fld id="{47CD3BC1-A2FE-477B-BC4B-91440EEA7D51}" type="datetimeFigureOut">
              <a:rPr lang="en-US" smtClean="0"/>
              <a:pPr/>
              <a:t>11/1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10586" y="6450520"/>
            <a:ext cx="3161030" cy="370534"/>
          </a:xfrm>
          <a:prstGeom prst="rect">
            <a:avLst/>
          </a:prstGeom>
        </p:spPr>
        <p:txBody>
          <a:bodyPr lIns="96802" tIns="48402" rIns="96802" bIns="48402"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153910" y="6450520"/>
            <a:ext cx="2329180" cy="370534"/>
          </a:xfrm>
          <a:prstGeom prst="rect">
            <a:avLst/>
          </a:prstGeom>
        </p:spPr>
        <p:txBody>
          <a:bodyPr lIns="96802" tIns="48402" rIns="96802" bIns="48402"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8090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3"/>
          <a:ext cx="148193" cy="146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48193" cy="14611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29785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3"/>
          <a:ext cx="148193" cy="146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48193" cy="14611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5880" y="1516913"/>
            <a:ext cx="9656320" cy="4712547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925067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5881" y="1516913"/>
            <a:ext cx="7416525" cy="4712547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406" y="1855893"/>
            <a:ext cx="2186818" cy="2041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8582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5882" y="1516913"/>
            <a:ext cx="7259308" cy="4712547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3797" y="1855894"/>
            <a:ext cx="2295906" cy="157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6552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5882" y="1516913"/>
            <a:ext cx="7160770" cy="4712547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6650" y="1855893"/>
            <a:ext cx="2495550" cy="1627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2792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5883" y="1516913"/>
            <a:ext cx="7518733" cy="4712547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0484" y="1517138"/>
            <a:ext cx="1788478" cy="1739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35984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5883" y="1516913"/>
            <a:ext cx="7518733" cy="4712547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6826" y="1855894"/>
            <a:ext cx="1996440" cy="1846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37950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6826" y="1855894"/>
            <a:ext cx="1996440" cy="1846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77629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5883" y="1516913"/>
            <a:ext cx="7518733" cy="4712547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8904042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59971" cy="161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9971" cy="16110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3" y="2"/>
            <a:ext cx="9982199" cy="1016981"/>
          </a:xfrm>
          <a:prstGeom prst="rect">
            <a:avLst/>
          </a:prstGeom>
        </p:spPr>
        <p:txBody>
          <a:bodyPr vert="horz" lIns="314994" tIns="35000" rIns="174997" bIns="35000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325880" y="1524230"/>
            <a:ext cx="9510726" cy="4705229"/>
          </a:xfrm>
          <a:prstGeom prst="rect">
            <a:avLst/>
          </a:prstGeom>
        </p:spPr>
        <p:txBody>
          <a:bodyPr vert="horz" lIns="114340" tIns="76226" rIns="76226" bIns="76226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9641513" y="676118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5" y="686424"/>
            <a:ext cx="9982199" cy="738909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105407" tIns="52704" rIns="105407" bIns="52704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793691" y="6721529"/>
            <a:ext cx="2681111" cy="18622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8110" tIns="38110" rIns="38110" bIns="38110" anchor="b" anchorCtr="0">
            <a:noAutofit/>
          </a:bodyPr>
          <a:lstStyle/>
          <a:p>
            <a:pPr marL="0" marR="0" lvl="0" indent="0" algn="r" defTabSz="1053878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5" y="6456962"/>
            <a:ext cx="99821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95256" y="6534422"/>
            <a:ext cx="1569927" cy="3500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72514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68014" rtl="0" eaLnBrk="1" latinLnBrk="0" hangingPunct="1">
        <a:lnSpc>
          <a:spcPct val="85000"/>
        </a:lnSpc>
        <a:spcBef>
          <a:spcPct val="0"/>
        </a:spcBef>
        <a:buNone/>
        <a:defRPr sz="3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5944" indent="-175944" algn="l" defTabSz="968014" rtl="0" eaLnBrk="1" latinLnBrk="0" hangingPunct="1">
        <a:lnSpc>
          <a:spcPct val="90000"/>
        </a:lnSpc>
        <a:spcBef>
          <a:spcPts val="0"/>
        </a:spcBef>
        <a:spcAft>
          <a:spcPts val="635"/>
        </a:spcAft>
        <a:buClr>
          <a:schemeClr val="accent5"/>
        </a:buClr>
        <a:buFont typeface="Wingdings" pitchFamily="2" charset="2"/>
        <a:buChar char="§"/>
        <a:defRPr sz="23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76474" indent="-191598" algn="l" defTabSz="968014" rtl="0" eaLnBrk="1" latinLnBrk="0" hangingPunct="1">
        <a:lnSpc>
          <a:spcPct val="90000"/>
        </a:lnSpc>
        <a:spcBef>
          <a:spcPts val="0"/>
        </a:spcBef>
        <a:spcAft>
          <a:spcPts val="635"/>
        </a:spcAft>
        <a:buClr>
          <a:schemeClr val="accent3"/>
        </a:buClr>
        <a:buFont typeface="Wingdings" pitchFamily="2" charset="2"/>
        <a:buChar char="§"/>
        <a:defRPr sz="19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68072" indent="-174791" algn="l" defTabSz="968014" rtl="0" eaLnBrk="1" latinLnBrk="0" hangingPunct="1">
        <a:lnSpc>
          <a:spcPct val="90000"/>
        </a:lnSpc>
        <a:spcBef>
          <a:spcPts val="0"/>
        </a:spcBef>
        <a:spcAft>
          <a:spcPts val="635"/>
        </a:spcAft>
        <a:buClr>
          <a:schemeClr val="accent2"/>
        </a:buClr>
        <a:buFont typeface="Arial" pitchFamily="34" charset="0"/>
        <a:buChar char="•"/>
        <a:tabLst/>
        <a:defRPr sz="17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52947" indent="-174791" algn="l" defTabSz="968014" rtl="0" eaLnBrk="1" latinLnBrk="0" hangingPunct="1">
        <a:lnSpc>
          <a:spcPct val="90000"/>
        </a:lnSpc>
        <a:spcBef>
          <a:spcPts val="0"/>
        </a:spcBef>
        <a:spcAft>
          <a:spcPts val="635"/>
        </a:spcAft>
        <a:buClr>
          <a:schemeClr val="bg2"/>
        </a:buClr>
        <a:buFont typeface="Arial" pitchFamily="34" charset="0"/>
        <a:buChar char="–"/>
        <a:tabLst/>
        <a:defRPr sz="15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704109" indent="-205031" algn="l" defTabSz="968014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800" kern="1200">
          <a:solidFill>
            <a:srgbClr val="494949"/>
          </a:solidFill>
          <a:latin typeface="+mn-lt"/>
          <a:ea typeface="+mn-ea"/>
          <a:cs typeface="+mn-cs"/>
        </a:defRPr>
      </a:lvl5pPr>
      <a:lvl6pPr marL="2662039" indent="-242004" algn="l" defTabSz="96801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46046" indent="-242004" algn="l" defTabSz="96801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30053" indent="-242004" algn="l" defTabSz="96801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14059" indent="-242004" algn="l" defTabSz="96801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6801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4007" algn="l" defTabSz="96801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8014" algn="l" defTabSz="96801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52021" algn="l" defTabSz="96801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36028" algn="l" defTabSz="96801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20035" algn="l" defTabSz="96801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04042" algn="l" defTabSz="96801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88050" algn="l" defTabSz="96801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72057" algn="l" defTabSz="96801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png"/><Relationship Id="rId18" Type="http://schemas.openxmlformats.org/officeDocument/2006/relationships/image" Target="../media/image43.png"/><Relationship Id="rId26" Type="http://schemas.openxmlformats.org/officeDocument/2006/relationships/image" Target="../media/image50.png"/><Relationship Id="rId39" Type="http://schemas.openxmlformats.org/officeDocument/2006/relationships/image" Target="../media/image81.png"/><Relationship Id="rId3" Type="http://schemas.openxmlformats.org/officeDocument/2006/relationships/image" Target="../media/image11.png"/><Relationship Id="rId21" Type="http://schemas.openxmlformats.org/officeDocument/2006/relationships/image" Target="../media/image46.png"/><Relationship Id="rId34" Type="http://schemas.openxmlformats.org/officeDocument/2006/relationships/image" Target="../media/image76.png"/><Relationship Id="rId42" Type="http://schemas.openxmlformats.org/officeDocument/2006/relationships/image" Target="../media/image53.png"/><Relationship Id="rId7" Type="http://schemas.openxmlformats.org/officeDocument/2006/relationships/image" Target="../media/image58.png"/><Relationship Id="rId12" Type="http://schemas.openxmlformats.org/officeDocument/2006/relationships/image" Target="../media/image63.png"/><Relationship Id="rId17" Type="http://schemas.openxmlformats.org/officeDocument/2006/relationships/image" Target="../media/image68.png"/><Relationship Id="rId25" Type="http://schemas.openxmlformats.org/officeDocument/2006/relationships/image" Target="../media/image38.png"/><Relationship Id="rId33" Type="http://schemas.openxmlformats.org/officeDocument/2006/relationships/image" Target="../media/image75.png"/><Relationship Id="rId38" Type="http://schemas.openxmlformats.org/officeDocument/2006/relationships/image" Target="../media/image80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67.png"/><Relationship Id="rId20" Type="http://schemas.openxmlformats.org/officeDocument/2006/relationships/image" Target="../media/image70.png"/><Relationship Id="rId29" Type="http://schemas.openxmlformats.org/officeDocument/2006/relationships/image" Target="../media/image55.png"/><Relationship Id="rId41" Type="http://schemas.openxmlformats.org/officeDocument/2006/relationships/image" Target="../media/image8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24" Type="http://schemas.openxmlformats.org/officeDocument/2006/relationships/image" Target="../media/image73.png"/><Relationship Id="rId32" Type="http://schemas.openxmlformats.org/officeDocument/2006/relationships/image" Target="../media/image74.png"/><Relationship Id="rId37" Type="http://schemas.openxmlformats.org/officeDocument/2006/relationships/image" Target="../media/image79.png"/><Relationship Id="rId40" Type="http://schemas.openxmlformats.org/officeDocument/2006/relationships/image" Target="../media/image82.png"/><Relationship Id="rId5" Type="http://schemas.openxmlformats.org/officeDocument/2006/relationships/image" Target="../media/image56.png"/><Relationship Id="rId15" Type="http://schemas.openxmlformats.org/officeDocument/2006/relationships/image" Target="../media/image66.png"/><Relationship Id="rId23" Type="http://schemas.openxmlformats.org/officeDocument/2006/relationships/image" Target="../media/image72.png"/><Relationship Id="rId28" Type="http://schemas.openxmlformats.org/officeDocument/2006/relationships/image" Target="../media/image54.png"/><Relationship Id="rId36" Type="http://schemas.openxmlformats.org/officeDocument/2006/relationships/image" Target="../media/image78.png"/><Relationship Id="rId10" Type="http://schemas.openxmlformats.org/officeDocument/2006/relationships/image" Target="../media/image61.png"/><Relationship Id="rId19" Type="http://schemas.openxmlformats.org/officeDocument/2006/relationships/image" Target="../media/image69.png"/><Relationship Id="rId31" Type="http://schemas.openxmlformats.org/officeDocument/2006/relationships/image" Target="../media/image49.png"/><Relationship Id="rId4" Type="http://schemas.openxmlformats.org/officeDocument/2006/relationships/image" Target="../media/image10.png"/><Relationship Id="rId9" Type="http://schemas.openxmlformats.org/officeDocument/2006/relationships/image" Target="../media/image60.png"/><Relationship Id="rId14" Type="http://schemas.openxmlformats.org/officeDocument/2006/relationships/image" Target="../media/image65.png"/><Relationship Id="rId22" Type="http://schemas.openxmlformats.org/officeDocument/2006/relationships/image" Target="../media/image71.png"/><Relationship Id="rId27" Type="http://schemas.openxmlformats.org/officeDocument/2006/relationships/image" Target="../media/image51.png"/><Relationship Id="rId30" Type="http://schemas.openxmlformats.org/officeDocument/2006/relationships/image" Target="../media/image48.png"/><Relationship Id="rId35" Type="http://schemas.openxmlformats.org/officeDocument/2006/relationships/image" Target="../media/image7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8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6.png"/><Relationship Id="rId18" Type="http://schemas.openxmlformats.org/officeDocument/2006/relationships/image" Target="../media/image101.png"/><Relationship Id="rId3" Type="http://schemas.openxmlformats.org/officeDocument/2006/relationships/image" Target="../media/image11.png"/><Relationship Id="rId7" Type="http://schemas.openxmlformats.org/officeDocument/2006/relationships/image" Target="../media/image90.png"/><Relationship Id="rId12" Type="http://schemas.openxmlformats.org/officeDocument/2006/relationships/image" Target="../media/image95.png"/><Relationship Id="rId17" Type="http://schemas.openxmlformats.org/officeDocument/2006/relationships/image" Target="../media/image100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99.png"/><Relationship Id="rId20" Type="http://schemas.openxmlformats.org/officeDocument/2006/relationships/image" Target="../media/image10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9.png"/><Relationship Id="rId11" Type="http://schemas.openxmlformats.org/officeDocument/2006/relationships/image" Target="../media/image94.png"/><Relationship Id="rId5" Type="http://schemas.openxmlformats.org/officeDocument/2006/relationships/image" Target="../media/image88.png"/><Relationship Id="rId15" Type="http://schemas.openxmlformats.org/officeDocument/2006/relationships/image" Target="../media/image98.png"/><Relationship Id="rId10" Type="http://schemas.openxmlformats.org/officeDocument/2006/relationships/image" Target="../media/image93.png"/><Relationship Id="rId19" Type="http://schemas.openxmlformats.org/officeDocument/2006/relationships/image" Target="../media/image102.png"/><Relationship Id="rId4" Type="http://schemas.openxmlformats.org/officeDocument/2006/relationships/image" Target="../media/image10.png"/><Relationship Id="rId9" Type="http://schemas.openxmlformats.org/officeDocument/2006/relationships/image" Target="../media/image92.png"/><Relationship Id="rId14" Type="http://schemas.openxmlformats.org/officeDocument/2006/relationships/image" Target="../media/image9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13" Type="http://schemas.openxmlformats.org/officeDocument/2006/relationships/image" Target="../media/image111.png"/><Relationship Id="rId18" Type="http://schemas.openxmlformats.org/officeDocument/2006/relationships/image" Target="../media/image116.png"/><Relationship Id="rId3" Type="http://schemas.openxmlformats.org/officeDocument/2006/relationships/image" Target="../media/image11.png"/><Relationship Id="rId7" Type="http://schemas.openxmlformats.org/officeDocument/2006/relationships/image" Target="../media/image106.png"/><Relationship Id="rId12" Type="http://schemas.openxmlformats.org/officeDocument/2006/relationships/image" Target="../media/image110.png"/><Relationship Id="rId17" Type="http://schemas.openxmlformats.org/officeDocument/2006/relationships/image" Target="../media/image115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1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5.png"/><Relationship Id="rId11" Type="http://schemas.openxmlformats.org/officeDocument/2006/relationships/image" Target="../media/image91.png"/><Relationship Id="rId5" Type="http://schemas.openxmlformats.org/officeDocument/2006/relationships/image" Target="../media/image104.png"/><Relationship Id="rId15" Type="http://schemas.openxmlformats.org/officeDocument/2006/relationships/image" Target="../media/image113.png"/><Relationship Id="rId10" Type="http://schemas.openxmlformats.org/officeDocument/2006/relationships/image" Target="../media/image109.png"/><Relationship Id="rId4" Type="http://schemas.openxmlformats.org/officeDocument/2006/relationships/image" Target="../media/image10.png"/><Relationship Id="rId9" Type="http://schemas.openxmlformats.org/officeDocument/2006/relationships/image" Target="../media/image108.png"/><Relationship Id="rId14" Type="http://schemas.openxmlformats.org/officeDocument/2006/relationships/image" Target="../media/image11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13" Type="http://schemas.openxmlformats.org/officeDocument/2006/relationships/image" Target="../media/image125.png"/><Relationship Id="rId18" Type="http://schemas.openxmlformats.org/officeDocument/2006/relationships/image" Target="../media/image130.png"/><Relationship Id="rId3" Type="http://schemas.openxmlformats.org/officeDocument/2006/relationships/image" Target="../media/image10.png"/><Relationship Id="rId7" Type="http://schemas.openxmlformats.org/officeDocument/2006/relationships/image" Target="../media/image91.png"/><Relationship Id="rId12" Type="http://schemas.openxmlformats.org/officeDocument/2006/relationships/image" Target="../media/image124.png"/><Relationship Id="rId17" Type="http://schemas.openxmlformats.org/officeDocument/2006/relationships/image" Target="../media/image129.pn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1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9.png"/><Relationship Id="rId11" Type="http://schemas.openxmlformats.org/officeDocument/2006/relationships/image" Target="../media/image123.png"/><Relationship Id="rId5" Type="http://schemas.openxmlformats.org/officeDocument/2006/relationships/image" Target="../media/image118.png"/><Relationship Id="rId15" Type="http://schemas.openxmlformats.org/officeDocument/2006/relationships/image" Target="../media/image127.png"/><Relationship Id="rId10" Type="http://schemas.openxmlformats.org/officeDocument/2006/relationships/image" Target="../media/image122.png"/><Relationship Id="rId19" Type="http://schemas.openxmlformats.org/officeDocument/2006/relationships/image" Target="../media/image131.png"/><Relationship Id="rId4" Type="http://schemas.openxmlformats.org/officeDocument/2006/relationships/image" Target="../media/image117.png"/><Relationship Id="rId9" Type="http://schemas.openxmlformats.org/officeDocument/2006/relationships/image" Target="../media/image121.png"/><Relationship Id="rId14" Type="http://schemas.openxmlformats.org/officeDocument/2006/relationships/image" Target="../media/image12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2.png"/><Relationship Id="rId4" Type="http://schemas.openxmlformats.org/officeDocument/2006/relationships/image" Target="../media/image1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32.png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1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0.png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image" Target="../media/image10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png"/><Relationship Id="rId18" Type="http://schemas.openxmlformats.org/officeDocument/2006/relationships/image" Target="../media/image45.png"/><Relationship Id="rId26" Type="http://schemas.openxmlformats.org/officeDocument/2006/relationships/image" Target="../media/image53.png"/><Relationship Id="rId3" Type="http://schemas.openxmlformats.org/officeDocument/2006/relationships/image" Target="../media/image10.png"/><Relationship Id="rId21" Type="http://schemas.openxmlformats.org/officeDocument/2006/relationships/image" Target="../media/image48.pn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17" Type="http://schemas.openxmlformats.org/officeDocument/2006/relationships/image" Target="../media/image44.png"/><Relationship Id="rId25" Type="http://schemas.openxmlformats.org/officeDocument/2006/relationships/image" Target="../media/image52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43.png"/><Relationship Id="rId20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24" Type="http://schemas.openxmlformats.org/officeDocument/2006/relationships/image" Target="../media/image51.png"/><Relationship Id="rId5" Type="http://schemas.openxmlformats.org/officeDocument/2006/relationships/image" Target="../media/image32.png"/><Relationship Id="rId15" Type="http://schemas.openxmlformats.org/officeDocument/2006/relationships/image" Target="../media/image42.png"/><Relationship Id="rId23" Type="http://schemas.openxmlformats.org/officeDocument/2006/relationships/image" Target="../media/image50.png"/><Relationship Id="rId28" Type="http://schemas.openxmlformats.org/officeDocument/2006/relationships/image" Target="../media/image55.png"/><Relationship Id="rId10" Type="http://schemas.openxmlformats.org/officeDocument/2006/relationships/image" Target="../media/image37.png"/><Relationship Id="rId19" Type="http://schemas.openxmlformats.org/officeDocument/2006/relationships/image" Target="../media/image46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Relationship Id="rId14" Type="http://schemas.openxmlformats.org/officeDocument/2006/relationships/image" Target="../media/image41.png"/><Relationship Id="rId22" Type="http://schemas.openxmlformats.org/officeDocument/2006/relationships/image" Target="../media/image49.png"/><Relationship Id="rId27" Type="http://schemas.openxmlformats.org/officeDocument/2006/relationships/image" Target="../media/image5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png"/><Relationship Id="rId18" Type="http://schemas.openxmlformats.org/officeDocument/2006/relationships/image" Target="../media/image45.png"/><Relationship Id="rId26" Type="http://schemas.openxmlformats.org/officeDocument/2006/relationships/image" Target="../media/image53.png"/><Relationship Id="rId3" Type="http://schemas.openxmlformats.org/officeDocument/2006/relationships/image" Target="../media/image10.png"/><Relationship Id="rId21" Type="http://schemas.openxmlformats.org/officeDocument/2006/relationships/image" Target="../media/image48.pn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17" Type="http://schemas.openxmlformats.org/officeDocument/2006/relationships/image" Target="../media/image44.png"/><Relationship Id="rId25" Type="http://schemas.openxmlformats.org/officeDocument/2006/relationships/image" Target="../media/image52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43.png"/><Relationship Id="rId20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24" Type="http://schemas.openxmlformats.org/officeDocument/2006/relationships/image" Target="../media/image51.png"/><Relationship Id="rId5" Type="http://schemas.openxmlformats.org/officeDocument/2006/relationships/image" Target="../media/image32.png"/><Relationship Id="rId15" Type="http://schemas.openxmlformats.org/officeDocument/2006/relationships/image" Target="../media/image42.png"/><Relationship Id="rId23" Type="http://schemas.openxmlformats.org/officeDocument/2006/relationships/image" Target="../media/image50.png"/><Relationship Id="rId28" Type="http://schemas.openxmlformats.org/officeDocument/2006/relationships/image" Target="../media/image55.png"/><Relationship Id="rId10" Type="http://schemas.openxmlformats.org/officeDocument/2006/relationships/image" Target="../media/image37.png"/><Relationship Id="rId19" Type="http://schemas.openxmlformats.org/officeDocument/2006/relationships/image" Target="../media/image46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Relationship Id="rId14" Type="http://schemas.openxmlformats.org/officeDocument/2006/relationships/image" Target="../media/image41.png"/><Relationship Id="rId22" Type="http://schemas.openxmlformats.org/officeDocument/2006/relationships/image" Target="../media/image49.png"/><Relationship Id="rId27" Type="http://schemas.openxmlformats.org/officeDocument/2006/relationships/image" Target="../media/image5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14"/>
          <p:cNvSpPr/>
          <p:nvPr/>
        </p:nvSpPr>
        <p:spPr>
          <a:xfrm>
            <a:off x="0" y="1326946"/>
            <a:ext cx="73196" cy="477700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Title 46"/>
          <p:cNvSpPr>
            <a:spLocks noGrp="1"/>
          </p:cNvSpPr>
          <p:nvPr>
            <p:ph type="ctrTitle"/>
          </p:nvPr>
        </p:nvSpPr>
        <p:spPr>
          <a:xfrm>
            <a:off x="1" y="3003777"/>
            <a:ext cx="5981698" cy="1114426"/>
          </a:xfrm>
        </p:spPr>
        <p:txBody>
          <a:bodyPr/>
          <a:lstStyle/>
          <a:p>
            <a:r>
              <a:rPr lang="en-US" dirty="0" smtClean="0"/>
              <a:t>Storing and Accessing Data row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48" name="Subtitle 4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Lesson 02: Primary Index Mechanics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19164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Title 16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cessing Via a Non Unique Primary Index </a:t>
            </a:r>
            <a:endParaRPr lang="en-US" dirty="0"/>
          </a:p>
        </p:txBody>
      </p:sp>
      <p:sp>
        <p:nvSpPr>
          <p:cNvPr id="156" name="object 156"/>
          <p:cNvSpPr/>
          <p:nvPr/>
        </p:nvSpPr>
        <p:spPr>
          <a:xfrm>
            <a:off x="1" y="649225"/>
            <a:ext cx="9906000" cy="8336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157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" name="object 158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" name="object 159"/>
          <p:cNvSpPr/>
          <p:nvPr/>
        </p:nvSpPr>
        <p:spPr>
          <a:xfrm>
            <a:off x="5622545" y="1285875"/>
            <a:ext cx="3872991" cy="0"/>
          </a:xfrm>
          <a:custGeom>
            <a:avLst/>
            <a:gdLst/>
            <a:ahLst/>
            <a:cxnLst/>
            <a:rect l="l" t="t" r="r" b="b"/>
            <a:pathLst>
              <a:path w="3872991">
                <a:moveTo>
                  <a:pt x="0" y="0"/>
                </a:moveTo>
                <a:lnTo>
                  <a:pt x="3872991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0" name="object 160"/>
          <p:cNvSpPr/>
          <p:nvPr/>
        </p:nvSpPr>
        <p:spPr>
          <a:xfrm>
            <a:off x="5656962" y="1448942"/>
            <a:ext cx="3872991" cy="0"/>
          </a:xfrm>
          <a:custGeom>
            <a:avLst/>
            <a:gdLst/>
            <a:ahLst/>
            <a:cxnLst/>
            <a:rect l="l" t="t" r="r" b="b"/>
            <a:pathLst>
              <a:path w="3872991">
                <a:moveTo>
                  <a:pt x="0" y="0"/>
                </a:moveTo>
                <a:lnTo>
                  <a:pt x="3872991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1" name="object 161"/>
          <p:cNvSpPr/>
          <p:nvPr/>
        </p:nvSpPr>
        <p:spPr>
          <a:xfrm>
            <a:off x="5622545" y="1588262"/>
            <a:ext cx="3872991" cy="0"/>
          </a:xfrm>
          <a:custGeom>
            <a:avLst/>
            <a:gdLst/>
            <a:ahLst/>
            <a:cxnLst/>
            <a:rect l="l" t="t" r="r" b="b"/>
            <a:pathLst>
              <a:path w="3872991">
                <a:moveTo>
                  <a:pt x="0" y="0"/>
                </a:moveTo>
                <a:lnTo>
                  <a:pt x="3872991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2" name="object 162"/>
          <p:cNvSpPr/>
          <p:nvPr/>
        </p:nvSpPr>
        <p:spPr>
          <a:xfrm>
            <a:off x="5624830" y="1740662"/>
            <a:ext cx="3866135" cy="0"/>
          </a:xfrm>
          <a:custGeom>
            <a:avLst/>
            <a:gdLst/>
            <a:ahLst/>
            <a:cxnLst/>
            <a:rect l="l" t="t" r="r" b="b"/>
            <a:pathLst>
              <a:path w="3866134">
                <a:moveTo>
                  <a:pt x="0" y="0"/>
                </a:moveTo>
                <a:lnTo>
                  <a:pt x="3866134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3" name="object 163"/>
          <p:cNvSpPr/>
          <p:nvPr/>
        </p:nvSpPr>
        <p:spPr>
          <a:xfrm>
            <a:off x="5601970" y="1288289"/>
            <a:ext cx="0" cy="2340737"/>
          </a:xfrm>
          <a:custGeom>
            <a:avLst/>
            <a:gdLst/>
            <a:ahLst/>
            <a:cxnLst/>
            <a:rect l="l" t="t" r="r" b="b"/>
            <a:pathLst>
              <a:path h="2340737">
                <a:moveTo>
                  <a:pt x="0" y="0"/>
                </a:moveTo>
                <a:lnTo>
                  <a:pt x="0" y="2340737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4" name="object 164"/>
          <p:cNvSpPr/>
          <p:nvPr/>
        </p:nvSpPr>
        <p:spPr>
          <a:xfrm>
            <a:off x="6769099" y="1545464"/>
            <a:ext cx="0" cy="2340737"/>
          </a:xfrm>
          <a:custGeom>
            <a:avLst/>
            <a:gdLst/>
            <a:ahLst/>
            <a:cxnLst/>
            <a:rect l="l" t="t" r="r" b="b"/>
            <a:pathLst>
              <a:path h="2340737">
                <a:moveTo>
                  <a:pt x="0" y="0"/>
                </a:moveTo>
                <a:lnTo>
                  <a:pt x="0" y="2340737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5" name="object 165"/>
          <p:cNvSpPr/>
          <p:nvPr/>
        </p:nvSpPr>
        <p:spPr>
          <a:xfrm>
            <a:off x="8202294" y="1277492"/>
            <a:ext cx="0" cy="2340864"/>
          </a:xfrm>
          <a:custGeom>
            <a:avLst/>
            <a:gdLst/>
            <a:ahLst/>
            <a:cxnLst/>
            <a:rect l="l" t="t" r="r" b="b"/>
            <a:pathLst>
              <a:path h="2340864">
                <a:moveTo>
                  <a:pt x="0" y="0"/>
                </a:moveTo>
                <a:lnTo>
                  <a:pt x="0" y="2340864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6" name="object 166"/>
          <p:cNvSpPr/>
          <p:nvPr/>
        </p:nvSpPr>
        <p:spPr>
          <a:xfrm>
            <a:off x="9523096" y="1277492"/>
            <a:ext cx="0" cy="2340864"/>
          </a:xfrm>
          <a:custGeom>
            <a:avLst/>
            <a:gdLst/>
            <a:ahLst/>
            <a:cxnLst/>
            <a:rect l="l" t="t" r="r" b="b"/>
            <a:pathLst>
              <a:path h="2340864">
                <a:moveTo>
                  <a:pt x="0" y="0"/>
                </a:moveTo>
                <a:lnTo>
                  <a:pt x="0" y="2340864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2" y="6362700"/>
            <a:ext cx="9905998" cy="0"/>
          </a:xfrm>
          <a:custGeom>
            <a:avLst/>
            <a:gdLst/>
            <a:ahLst/>
            <a:cxnLst/>
            <a:rect l="l" t="t" r="r" b="b"/>
            <a:pathLst>
              <a:path w="9905998">
                <a:moveTo>
                  <a:pt x="990599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3" name="object 83"/>
          <p:cNvSpPr/>
          <p:nvPr/>
        </p:nvSpPr>
        <p:spPr>
          <a:xfrm>
            <a:off x="7346950" y="5245736"/>
            <a:ext cx="2311399" cy="1231265"/>
          </a:xfrm>
          <a:custGeom>
            <a:avLst/>
            <a:gdLst/>
            <a:ahLst/>
            <a:cxnLst/>
            <a:rect l="l" t="t" r="r" b="b"/>
            <a:pathLst>
              <a:path w="2311400" h="1231264">
                <a:moveTo>
                  <a:pt x="546914" y="119210"/>
                </a:moveTo>
                <a:lnTo>
                  <a:pt x="473147" y="113166"/>
                </a:lnTo>
                <a:lnTo>
                  <a:pt x="403571" y="106469"/>
                </a:lnTo>
                <a:lnTo>
                  <a:pt x="338486" y="99155"/>
                </a:lnTo>
                <a:lnTo>
                  <a:pt x="278188" y="91260"/>
                </a:lnTo>
                <a:lnTo>
                  <a:pt x="222975" y="82820"/>
                </a:lnTo>
                <a:lnTo>
                  <a:pt x="173144" y="73871"/>
                </a:lnTo>
                <a:lnTo>
                  <a:pt x="128992" y="64449"/>
                </a:lnTo>
                <a:lnTo>
                  <a:pt x="90816" y="54590"/>
                </a:lnTo>
                <a:lnTo>
                  <a:pt x="58915" y="44330"/>
                </a:lnTo>
                <a:lnTo>
                  <a:pt x="33586" y="33705"/>
                </a:lnTo>
                <a:lnTo>
                  <a:pt x="15125" y="22751"/>
                </a:lnTo>
                <a:lnTo>
                  <a:pt x="0" y="0"/>
                </a:lnTo>
                <a:lnTo>
                  <a:pt x="0" y="1090980"/>
                </a:lnTo>
                <a:lnTo>
                  <a:pt x="33586" y="1124694"/>
                </a:lnTo>
                <a:lnTo>
                  <a:pt x="90816" y="1145588"/>
                </a:lnTo>
                <a:lnTo>
                  <a:pt x="128992" y="1155452"/>
                </a:lnTo>
                <a:lnTo>
                  <a:pt x="173144" y="1164879"/>
                </a:lnTo>
                <a:lnTo>
                  <a:pt x="222975" y="1173833"/>
                </a:lnTo>
                <a:lnTo>
                  <a:pt x="278188" y="1182278"/>
                </a:lnTo>
                <a:lnTo>
                  <a:pt x="338486" y="1190178"/>
                </a:lnTo>
                <a:lnTo>
                  <a:pt x="403571" y="1197498"/>
                </a:lnTo>
                <a:lnTo>
                  <a:pt x="473147" y="1204199"/>
                </a:lnTo>
                <a:lnTo>
                  <a:pt x="546914" y="1210248"/>
                </a:lnTo>
                <a:lnTo>
                  <a:pt x="624577" y="1215607"/>
                </a:lnTo>
                <a:lnTo>
                  <a:pt x="705838" y="1220241"/>
                </a:lnTo>
                <a:lnTo>
                  <a:pt x="790399" y="1224113"/>
                </a:lnTo>
                <a:lnTo>
                  <a:pt x="877963" y="1227188"/>
                </a:lnTo>
                <a:lnTo>
                  <a:pt x="968233" y="1229429"/>
                </a:lnTo>
                <a:lnTo>
                  <a:pt x="1060911" y="1230800"/>
                </a:lnTo>
                <a:lnTo>
                  <a:pt x="1155700" y="1231264"/>
                </a:lnTo>
                <a:lnTo>
                  <a:pt x="1250488" y="1230800"/>
                </a:lnTo>
                <a:lnTo>
                  <a:pt x="1343166" y="1229429"/>
                </a:lnTo>
                <a:lnTo>
                  <a:pt x="1433436" y="1227188"/>
                </a:lnTo>
                <a:lnTo>
                  <a:pt x="1521000" y="1224113"/>
                </a:lnTo>
                <a:lnTo>
                  <a:pt x="1605561" y="1220241"/>
                </a:lnTo>
                <a:lnTo>
                  <a:pt x="1686822" y="1215607"/>
                </a:lnTo>
                <a:lnTo>
                  <a:pt x="1764485" y="1210248"/>
                </a:lnTo>
                <a:lnTo>
                  <a:pt x="1838252" y="1204199"/>
                </a:lnTo>
                <a:lnTo>
                  <a:pt x="1907828" y="1197498"/>
                </a:lnTo>
                <a:lnTo>
                  <a:pt x="1972913" y="1190178"/>
                </a:lnTo>
                <a:lnTo>
                  <a:pt x="2033211" y="1182278"/>
                </a:lnTo>
                <a:lnTo>
                  <a:pt x="2088424" y="1173833"/>
                </a:lnTo>
                <a:lnTo>
                  <a:pt x="2138255" y="1164879"/>
                </a:lnTo>
                <a:lnTo>
                  <a:pt x="2182407" y="1155452"/>
                </a:lnTo>
                <a:lnTo>
                  <a:pt x="2220583" y="1145588"/>
                </a:lnTo>
                <a:lnTo>
                  <a:pt x="2277813" y="1124694"/>
                </a:lnTo>
                <a:lnTo>
                  <a:pt x="2311400" y="1090980"/>
                </a:lnTo>
                <a:lnTo>
                  <a:pt x="2311400" y="0"/>
                </a:lnTo>
                <a:lnTo>
                  <a:pt x="2307569" y="11504"/>
                </a:lnTo>
                <a:lnTo>
                  <a:pt x="2296274" y="22751"/>
                </a:lnTo>
                <a:lnTo>
                  <a:pt x="2252484" y="44330"/>
                </a:lnTo>
                <a:lnTo>
                  <a:pt x="2182407" y="64449"/>
                </a:lnTo>
                <a:lnTo>
                  <a:pt x="2138255" y="73871"/>
                </a:lnTo>
                <a:lnTo>
                  <a:pt x="2088424" y="82820"/>
                </a:lnTo>
                <a:lnTo>
                  <a:pt x="2033211" y="91260"/>
                </a:lnTo>
                <a:lnTo>
                  <a:pt x="1972913" y="99155"/>
                </a:lnTo>
                <a:lnTo>
                  <a:pt x="1907828" y="106469"/>
                </a:lnTo>
                <a:lnTo>
                  <a:pt x="1838252" y="113166"/>
                </a:lnTo>
                <a:lnTo>
                  <a:pt x="1764485" y="119210"/>
                </a:lnTo>
                <a:lnTo>
                  <a:pt x="1686822" y="124564"/>
                </a:lnTo>
                <a:lnTo>
                  <a:pt x="1605561" y="129194"/>
                </a:lnTo>
                <a:lnTo>
                  <a:pt x="1521000" y="133063"/>
                </a:lnTo>
                <a:lnTo>
                  <a:pt x="1433436" y="136135"/>
                </a:lnTo>
                <a:lnTo>
                  <a:pt x="1343166" y="138373"/>
                </a:lnTo>
                <a:lnTo>
                  <a:pt x="1250488" y="139743"/>
                </a:lnTo>
                <a:lnTo>
                  <a:pt x="1155700" y="140207"/>
                </a:lnTo>
                <a:lnTo>
                  <a:pt x="1060911" y="139743"/>
                </a:lnTo>
                <a:lnTo>
                  <a:pt x="968233" y="138373"/>
                </a:lnTo>
                <a:lnTo>
                  <a:pt x="877963" y="136135"/>
                </a:lnTo>
                <a:lnTo>
                  <a:pt x="790399" y="133063"/>
                </a:lnTo>
                <a:lnTo>
                  <a:pt x="705838" y="129194"/>
                </a:lnTo>
                <a:lnTo>
                  <a:pt x="624577" y="124564"/>
                </a:lnTo>
                <a:lnTo>
                  <a:pt x="546914" y="11921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7346950" y="5105401"/>
            <a:ext cx="2311399" cy="280543"/>
          </a:xfrm>
          <a:custGeom>
            <a:avLst/>
            <a:gdLst/>
            <a:ahLst/>
            <a:cxnLst/>
            <a:rect l="l" t="t" r="r" b="b"/>
            <a:pathLst>
              <a:path w="2311400" h="280543">
                <a:moveTo>
                  <a:pt x="0" y="140334"/>
                </a:moveTo>
                <a:lnTo>
                  <a:pt x="3830" y="151839"/>
                </a:lnTo>
                <a:lnTo>
                  <a:pt x="15125" y="163086"/>
                </a:lnTo>
                <a:lnTo>
                  <a:pt x="58915" y="184665"/>
                </a:lnTo>
                <a:lnTo>
                  <a:pt x="128992" y="204784"/>
                </a:lnTo>
                <a:lnTo>
                  <a:pt x="173144" y="214206"/>
                </a:lnTo>
                <a:lnTo>
                  <a:pt x="222975" y="223155"/>
                </a:lnTo>
                <a:lnTo>
                  <a:pt x="278188" y="231595"/>
                </a:lnTo>
                <a:lnTo>
                  <a:pt x="338486" y="239490"/>
                </a:lnTo>
                <a:lnTo>
                  <a:pt x="403571" y="246804"/>
                </a:lnTo>
                <a:lnTo>
                  <a:pt x="473147" y="253501"/>
                </a:lnTo>
                <a:lnTo>
                  <a:pt x="546914" y="259545"/>
                </a:lnTo>
                <a:lnTo>
                  <a:pt x="624577" y="264899"/>
                </a:lnTo>
                <a:lnTo>
                  <a:pt x="705838" y="269529"/>
                </a:lnTo>
                <a:lnTo>
                  <a:pt x="790399" y="273398"/>
                </a:lnTo>
                <a:lnTo>
                  <a:pt x="877963" y="276470"/>
                </a:lnTo>
                <a:lnTo>
                  <a:pt x="968233" y="278708"/>
                </a:lnTo>
                <a:lnTo>
                  <a:pt x="1060911" y="280078"/>
                </a:lnTo>
                <a:lnTo>
                  <a:pt x="1155700" y="280543"/>
                </a:lnTo>
                <a:lnTo>
                  <a:pt x="1250488" y="280078"/>
                </a:lnTo>
                <a:lnTo>
                  <a:pt x="1343166" y="278708"/>
                </a:lnTo>
                <a:lnTo>
                  <a:pt x="1433436" y="276470"/>
                </a:lnTo>
                <a:lnTo>
                  <a:pt x="1521000" y="273398"/>
                </a:lnTo>
                <a:lnTo>
                  <a:pt x="1605561" y="269529"/>
                </a:lnTo>
                <a:lnTo>
                  <a:pt x="1686822" y="264899"/>
                </a:lnTo>
                <a:lnTo>
                  <a:pt x="1764485" y="259545"/>
                </a:lnTo>
                <a:lnTo>
                  <a:pt x="1838252" y="253501"/>
                </a:lnTo>
                <a:lnTo>
                  <a:pt x="1907828" y="246804"/>
                </a:lnTo>
                <a:lnTo>
                  <a:pt x="1972913" y="239490"/>
                </a:lnTo>
                <a:lnTo>
                  <a:pt x="2033211" y="231595"/>
                </a:lnTo>
                <a:lnTo>
                  <a:pt x="2088424" y="223155"/>
                </a:lnTo>
                <a:lnTo>
                  <a:pt x="2138255" y="214206"/>
                </a:lnTo>
                <a:lnTo>
                  <a:pt x="2182407" y="204784"/>
                </a:lnTo>
                <a:lnTo>
                  <a:pt x="2220583" y="194925"/>
                </a:lnTo>
                <a:lnTo>
                  <a:pt x="2277813" y="174040"/>
                </a:lnTo>
                <a:lnTo>
                  <a:pt x="2311400" y="140334"/>
                </a:lnTo>
                <a:lnTo>
                  <a:pt x="2277813" y="106622"/>
                </a:lnTo>
                <a:lnTo>
                  <a:pt x="2220583" y="85724"/>
                </a:lnTo>
                <a:lnTo>
                  <a:pt x="2182407" y="75858"/>
                </a:lnTo>
                <a:lnTo>
                  <a:pt x="2138255" y="66427"/>
                </a:lnTo>
                <a:lnTo>
                  <a:pt x="2088424" y="57470"/>
                </a:lnTo>
                <a:lnTo>
                  <a:pt x="2033211" y="49020"/>
                </a:lnTo>
                <a:lnTo>
                  <a:pt x="1972913" y="41116"/>
                </a:lnTo>
                <a:lnTo>
                  <a:pt x="1907828" y="33792"/>
                </a:lnTo>
                <a:lnTo>
                  <a:pt x="1838252" y="27086"/>
                </a:lnTo>
                <a:lnTo>
                  <a:pt x="1764485" y="21033"/>
                </a:lnTo>
                <a:lnTo>
                  <a:pt x="1686822" y="15670"/>
                </a:lnTo>
                <a:lnTo>
                  <a:pt x="1605561" y="11033"/>
                </a:lnTo>
                <a:lnTo>
                  <a:pt x="1521000" y="7157"/>
                </a:lnTo>
                <a:lnTo>
                  <a:pt x="1433436" y="4080"/>
                </a:lnTo>
                <a:lnTo>
                  <a:pt x="1343166" y="1837"/>
                </a:lnTo>
                <a:lnTo>
                  <a:pt x="1250488" y="465"/>
                </a:lnTo>
                <a:lnTo>
                  <a:pt x="1155700" y="0"/>
                </a:lnTo>
                <a:lnTo>
                  <a:pt x="1060911" y="465"/>
                </a:lnTo>
                <a:lnTo>
                  <a:pt x="968233" y="1837"/>
                </a:lnTo>
                <a:lnTo>
                  <a:pt x="877963" y="4080"/>
                </a:lnTo>
                <a:lnTo>
                  <a:pt x="790399" y="7157"/>
                </a:lnTo>
                <a:lnTo>
                  <a:pt x="705838" y="11033"/>
                </a:lnTo>
                <a:lnTo>
                  <a:pt x="624577" y="15670"/>
                </a:lnTo>
                <a:lnTo>
                  <a:pt x="546914" y="21033"/>
                </a:lnTo>
                <a:lnTo>
                  <a:pt x="473147" y="27086"/>
                </a:lnTo>
                <a:lnTo>
                  <a:pt x="403571" y="33792"/>
                </a:lnTo>
                <a:lnTo>
                  <a:pt x="338486" y="41116"/>
                </a:lnTo>
                <a:lnTo>
                  <a:pt x="278188" y="49020"/>
                </a:lnTo>
                <a:lnTo>
                  <a:pt x="222975" y="57470"/>
                </a:lnTo>
                <a:lnTo>
                  <a:pt x="173144" y="66427"/>
                </a:lnTo>
                <a:lnTo>
                  <a:pt x="128992" y="75858"/>
                </a:lnTo>
                <a:lnTo>
                  <a:pt x="90816" y="85725"/>
                </a:lnTo>
                <a:lnTo>
                  <a:pt x="33586" y="106622"/>
                </a:lnTo>
                <a:lnTo>
                  <a:pt x="3830" y="128830"/>
                </a:lnTo>
                <a:lnTo>
                  <a:pt x="0" y="14033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5" name="object 85"/>
          <p:cNvSpPr/>
          <p:nvPr/>
        </p:nvSpPr>
        <p:spPr>
          <a:xfrm>
            <a:off x="7346950" y="5105401"/>
            <a:ext cx="2311399" cy="1371600"/>
          </a:xfrm>
          <a:custGeom>
            <a:avLst/>
            <a:gdLst/>
            <a:ahLst/>
            <a:cxnLst/>
            <a:rect l="l" t="t" r="r" b="b"/>
            <a:pathLst>
              <a:path w="2311400" h="1371600">
                <a:moveTo>
                  <a:pt x="2311400" y="140334"/>
                </a:moveTo>
                <a:lnTo>
                  <a:pt x="2277813" y="174040"/>
                </a:lnTo>
                <a:lnTo>
                  <a:pt x="2220583" y="194925"/>
                </a:lnTo>
                <a:lnTo>
                  <a:pt x="2182407" y="204784"/>
                </a:lnTo>
                <a:lnTo>
                  <a:pt x="2138255" y="214206"/>
                </a:lnTo>
                <a:lnTo>
                  <a:pt x="2088424" y="223155"/>
                </a:lnTo>
                <a:lnTo>
                  <a:pt x="2033211" y="231595"/>
                </a:lnTo>
                <a:lnTo>
                  <a:pt x="1972913" y="239490"/>
                </a:lnTo>
                <a:lnTo>
                  <a:pt x="1907828" y="246804"/>
                </a:lnTo>
                <a:lnTo>
                  <a:pt x="1838252" y="253501"/>
                </a:lnTo>
                <a:lnTo>
                  <a:pt x="1764485" y="259545"/>
                </a:lnTo>
                <a:lnTo>
                  <a:pt x="1686822" y="264899"/>
                </a:lnTo>
                <a:lnTo>
                  <a:pt x="1605561" y="269529"/>
                </a:lnTo>
                <a:lnTo>
                  <a:pt x="1521000" y="273398"/>
                </a:lnTo>
                <a:lnTo>
                  <a:pt x="1433436" y="276470"/>
                </a:lnTo>
                <a:lnTo>
                  <a:pt x="1343166" y="278708"/>
                </a:lnTo>
                <a:lnTo>
                  <a:pt x="1250488" y="280078"/>
                </a:lnTo>
                <a:lnTo>
                  <a:pt x="1155700" y="280543"/>
                </a:lnTo>
                <a:lnTo>
                  <a:pt x="1060911" y="280078"/>
                </a:lnTo>
                <a:lnTo>
                  <a:pt x="968233" y="278708"/>
                </a:lnTo>
                <a:lnTo>
                  <a:pt x="877963" y="276470"/>
                </a:lnTo>
                <a:lnTo>
                  <a:pt x="790399" y="273398"/>
                </a:lnTo>
                <a:lnTo>
                  <a:pt x="705838" y="269529"/>
                </a:lnTo>
                <a:lnTo>
                  <a:pt x="624577" y="264899"/>
                </a:lnTo>
                <a:lnTo>
                  <a:pt x="546914" y="259545"/>
                </a:lnTo>
                <a:lnTo>
                  <a:pt x="473147" y="253501"/>
                </a:lnTo>
                <a:lnTo>
                  <a:pt x="403571" y="246804"/>
                </a:lnTo>
                <a:lnTo>
                  <a:pt x="338486" y="239490"/>
                </a:lnTo>
                <a:lnTo>
                  <a:pt x="278188" y="231595"/>
                </a:lnTo>
                <a:lnTo>
                  <a:pt x="222975" y="223155"/>
                </a:lnTo>
                <a:lnTo>
                  <a:pt x="173144" y="214206"/>
                </a:lnTo>
                <a:lnTo>
                  <a:pt x="128992" y="204784"/>
                </a:lnTo>
                <a:lnTo>
                  <a:pt x="90816" y="194925"/>
                </a:lnTo>
                <a:lnTo>
                  <a:pt x="33586" y="174040"/>
                </a:lnTo>
                <a:lnTo>
                  <a:pt x="0" y="140334"/>
                </a:lnTo>
                <a:lnTo>
                  <a:pt x="3830" y="128830"/>
                </a:lnTo>
                <a:lnTo>
                  <a:pt x="15125" y="117580"/>
                </a:lnTo>
                <a:lnTo>
                  <a:pt x="58915" y="95991"/>
                </a:lnTo>
                <a:lnTo>
                  <a:pt x="128992" y="75858"/>
                </a:lnTo>
                <a:lnTo>
                  <a:pt x="173144" y="66427"/>
                </a:lnTo>
                <a:lnTo>
                  <a:pt x="222975" y="57470"/>
                </a:lnTo>
                <a:lnTo>
                  <a:pt x="278188" y="49020"/>
                </a:lnTo>
                <a:lnTo>
                  <a:pt x="338486" y="41116"/>
                </a:lnTo>
                <a:lnTo>
                  <a:pt x="403571" y="33792"/>
                </a:lnTo>
                <a:lnTo>
                  <a:pt x="473147" y="27086"/>
                </a:lnTo>
                <a:lnTo>
                  <a:pt x="546914" y="21033"/>
                </a:lnTo>
                <a:lnTo>
                  <a:pt x="624577" y="15670"/>
                </a:lnTo>
                <a:lnTo>
                  <a:pt x="705838" y="11033"/>
                </a:lnTo>
                <a:lnTo>
                  <a:pt x="790399" y="7157"/>
                </a:lnTo>
                <a:lnTo>
                  <a:pt x="877963" y="4080"/>
                </a:lnTo>
                <a:lnTo>
                  <a:pt x="968233" y="1837"/>
                </a:lnTo>
                <a:lnTo>
                  <a:pt x="1060911" y="465"/>
                </a:lnTo>
                <a:lnTo>
                  <a:pt x="1155700" y="0"/>
                </a:lnTo>
                <a:lnTo>
                  <a:pt x="1250488" y="465"/>
                </a:lnTo>
                <a:lnTo>
                  <a:pt x="1343166" y="1837"/>
                </a:lnTo>
                <a:lnTo>
                  <a:pt x="1433436" y="4080"/>
                </a:lnTo>
                <a:lnTo>
                  <a:pt x="1521000" y="7157"/>
                </a:lnTo>
                <a:lnTo>
                  <a:pt x="1605561" y="11033"/>
                </a:lnTo>
                <a:lnTo>
                  <a:pt x="1686822" y="15670"/>
                </a:lnTo>
                <a:lnTo>
                  <a:pt x="1764485" y="21033"/>
                </a:lnTo>
                <a:lnTo>
                  <a:pt x="1838252" y="27086"/>
                </a:lnTo>
                <a:lnTo>
                  <a:pt x="1907828" y="33792"/>
                </a:lnTo>
                <a:lnTo>
                  <a:pt x="1972913" y="41116"/>
                </a:lnTo>
                <a:lnTo>
                  <a:pt x="2033211" y="49020"/>
                </a:lnTo>
                <a:lnTo>
                  <a:pt x="2088424" y="57470"/>
                </a:lnTo>
                <a:lnTo>
                  <a:pt x="2138255" y="66427"/>
                </a:lnTo>
                <a:lnTo>
                  <a:pt x="2182407" y="75858"/>
                </a:lnTo>
                <a:lnTo>
                  <a:pt x="2220583" y="85724"/>
                </a:lnTo>
                <a:lnTo>
                  <a:pt x="2277813" y="106622"/>
                </a:lnTo>
                <a:lnTo>
                  <a:pt x="2311400" y="140334"/>
                </a:lnTo>
                <a:lnTo>
                  <a:pt x="2311400" y="1231315"/>
                </a:lnTo>
                <a:lnTo>
                  <a:pt x="2307569" y="1242822"/>
                </a:lnTo>
                <a:lnTo>
                  <a:pt x="2296274" y="1254072"/>
                </a:lnTo>
                <a:lnTo>
                  <a:pt x="2252484" y="1275658"/>
                </a:lnTo>
                <a:lnTo>
                  <a:pt x="2182407" y="1295787"/>
                </a:lnTo>
                <a:lnTo>
                  <a:pt x="2138255" y="1305214"/>
                </a:lnTo>
                <a:lnTo>
                  <a:pt x="2088424" y="1314168"/>
                </a:lnTo>
                <a:lnTo>
                  <a:pt x="2033211" y="1322613"/>
                </a:lnTo>
                <a:lnTo>
                  <a:pt x="1972913" y="1330513"/>
                </a:lnTo>
                <a:lnTo>
                  <a:pt x="1907828" y="1337833"/>
                </a:lnTo>
                <a:lnTo>
                  <a:pt x="1838252" y="1344534"/>
                </a:lnTo>
                <a:lnTo>
                  <a:pt x="1764485" y="1350583"/>
                </a:lnTo>
                <a:lnTo>
                  <a:pt x="1686822" y="1355942"/>
                </a:lnTo>
                <a:lnTo>
                  <a:pt x="1605561" y="1360576"/>
                </a:lnTo>
                <a:lnTo>
                  <a:pt x="1521000" y="1364448"/>
                </a:lnTo>
                <a:lnTo>
                  <a:pt x="1433436" y="1367523"/>
                </a:lnTo>
                <a:lnTo>
                  <a:pt x="1343166" y="1369764"/>
                </a:lnTo>
                <a:lnTo>
                  <a:pt x="1250488" y="1371135"/>
                </a:lnTo>
                <a:lnTo>
                  <a:pt x="1155700" y="1371600"/>
                </a:lnTo>
                <a:lnTo>
                  <a:pt x="1060911" y="1371135"/>
                </a:lnTo>
                <a:lnTo>
                  <a:pt x="968233" y="1369764"/>
                </a:lnTo>
                <a:lnTo>
                  <a:pt x="877963" y="1367523"/>
                </a:lnTo>
                <a:lnTo>
                  <a:pt x="790399" y="1364448"/>
                </a:lnTo>
                <a:lnTo>
                  <a:pt x="705838" y="1360576"/>
                </a:lnTo>
                <a:lnTo>
                  <a:pt x="624577" y="1355942"/>
                </a:lnTo>
                <a:lnTo>
                  <a:pt x="546914" y="1350583"/>
                </a:lnTo>
                <a:lnTo>
                  <a:pt x="473147" y="1344534"/>
                </a:lnTo>
                <a:lnTo>
                  <a:pt x="403571" y="1337833"/>
                </a:lnTo>
                <a:lnTo>
                  <a:pt x="338486" y="1330513"/>
                </a:lnTo>
                <a:lnTo>
                  <a:pt x="278188" y="1322613"/>
                </a:lnTo>
                <a:lnTo>
                  <a:pt x="222975" y="1314168"/>
                </a:lnTo>
                <a:lnTo>
                  <a:pt x="173144" y="1305214"/>
                </a:lnTo>
                <a:lnTo>
                  <a:pt x="128992" y="1295787"/>
                </a:lnTo>
                <a:lnTo>
                  <a:pt x="90816" y="1285923"/>
                </a:lnTo>
                <a:lnTo>
                  <a:pt x="33586" y="1265029"/>
                </a:lnTo>
                <a:lnTo>
                  <a:pt x="0" y="1231315"/>
                </a:lnTo>
                <a:lnTo>
                  <a:pt x="0" y="140334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7850126" y="5544312"/>
            <a:ext cx="603503" cy="34137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7" name="object 87"/>
          <p:cNvSpPr/>
          <p:nvPr/>
        </p:nvSpPr>
        <p:spPr>
          <a:xfrm>
            <a:off x="7871458" y="5556504"/>
            <a:ext cx="580645" cy="2758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7898257" y="5571173"/>
            <a:ext cx="507733" cy="24756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9" name="object 89"/>
          <p:cNvSpPr/>
          <p:nvPr/>
        </p:nvSpPr>
        <p:spPr>
          <a:xfrm>
            <a:off x="7898257" y="5571173"/>
            <a:ext cx="507733" cy="247561"/>
          </a:xfrm>
          <a:custGeom>
            <a:avLst/>
            <a:gdLst/>
            <a:ahLst/>
            <a:cxnLst/>
            <a:rect l="l" t="t" r="r" b="b"/>
            <a:pathLst>
              <a:path w="507733" h="247561">
                <a:moveTo>
                  <a:pt x="0" y="247561"/>
                </a:moveTo>
                <a:lnTo>
                  <a:pt x="507733" y="247561"/>
                </a:lnTo>
                <a:lnTo>
                  <a:pt x="507733" y="0"/>
                </a:lnTo>
                <a:lnTo>
                  <a:pt x="0" y="0"/>
                </a:lnTo>
                <a:lnTo>
                  <a:pt x="0" y="247561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0" name="object 90"/>
          <p:cNvSpPr/>
          <p:nvPr/>
        </p:nvSpPr>
        <p:spPr>
          <a:xfrm>
            <a:off x="8502396" y="5535168"/>
            <a:ext cx="816863" cy="34290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1" name="object 91"/>
          <p:cNvSpPr/>
          <p:nvPr/>
        </p:nvSpPr>
        <p:spPr>
          <a:xfrm>
            <a:off x="8522208" y="5547360"/>
            <a:ext cx="798576" cy="27584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2" name="object 92"/>
          <p:cNvSpPr/>
          <p:nvPr/>
        </p:nvSpPr>
        <p:spPr>
          <a:xfrm>
            <a:off x="8549514" y="5562588"/>
            <a:ext cx="722972" cy="24756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8549514" y="5562588"/>
            <a:ext cx="722972" cy="247561"/>
          </a:xfrm>
          <a:custGeom>
            <a:avLst/>
            <a:gdLst/>
            <a:ahLst/>
            <a:cxnLst/>
            <a:rect l="l" t="t" r="r" b="b"/>
            <a:pathLst>
              <a:path w="722972" h="247561">
                <a:moveTo>
                  <a:pt x="0" y="247561"/>
                </a:moveTo>
                <a:lnTo>
                  <a:pt x="722972" y="247561"/>
                </a:lnTo>
                <a:lnTo>
                  <a:pt x="722972" y="0"/>
                </a:lnTo>
                <a:lnTo>
                  <a:pt x="0" y="0"/>
                </a:lnTo>
                <a:lnTo>
                  <a:pt x="0" y="247561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4" name="object 94"/>
          <p:cNvSpPr/>
          <p:nvPr/>
        </p:nvSpPr>
        <p:spPr>
          <a:xfrm>
            <a:off x="7491983" y="5544312"/>
            <a:ext cx="423673" cy="341375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5" name="object 95"/>
          <p:cNvSpPr/>
          <p:nvPr/>
        </p:nvSpPr>
        <p:spPr>
          <a:xfrm>
            <a:off x="7513322" y="5556504"/>
            <a:ext cx="405382" cy="275844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6" name="object 96"/>
          <p:cNvSpPr/>
          <p:nvPr/>
        </p:nvSpPr>
        <p:spPr>
          <a:xfrm>
            <a:off x="7539609" y="5571173"/>
            <a:ext cx="328372" cy="247561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7" name="object 97"/>
          <p:cNvSpPr/>
          <p:nvPr/>
        </p:nvSpPr>
        <p:spPr>
          <a:xfrm>
            <a:off x="7539609" y="5571173"/>
            <a:ext cx="328372" cy="247561"/>
          </a:xfrm>
          <a:custGeom>
            <a:avLst/>
            <a:gdLst/>
            <a:ahLst/>
            <a:cxnLst/>
            <a:rect l="l" t="t" r="r" b="b"/>
            <a:pathLst>
              <a:path w="328371" h="247561">
                <a:moveTo>
                  <a:pt x="0" y="247561"/>
                </a:moveTo>
                <a:lnTo>
                  <a:pt x="328371" y="247561"/>
                </a:lnTo>
                <a:lnTo>
                  <a:pt x="328371" y="0"/>
                </a:lnTo>
                <a:lnTo>
                  <a:pt x="0" y="0"/>
                </a:lnTo>
                <a:lnTo>
                  <a:pt x="0" y="247561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8" name="object 98"/>
          <p:cNvSpPr/>
          <p:nvPr/>
        </p:nvSpPr>
        <p:spPr>
          <a:xfrm>
            <a:off x="7825740" y="6068568"/>
            <a:ext cx="665989" cy="356616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7837933" y="6077713"/>
            <a:ext cx="665987" cy="294131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0" name="object 100"/>
          <p:cNvSpPr/>
          <p:nvPr/>
        </p:nvSpPr>
        <p:spPr>
          <a:xfrm>
            <a:off x="7872858" y="6095911"/>
            <a:ext cx="571816" cy="262458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1" name="object 101"/>
          <p:cNvSpPr/>
          <p:nvPr/>
        </p:nvSpPr>
        <p:spPr>
          <a:xfrm>
            <a:off x="7872858" y="6095911"/>
            <a:ext cx="571816" cy="262458"/>
          </a:xfrm>
          <a:custGeom>
            <a:avLst/>
            <a:gdLst/>
            <a:ahLst/>
            <a:cxnLst/>
            <a:rect l="l" t="t" r="r" b="b"/>
            <a:pathLst>
              <a:path w="571817" h="262458">
                <a:moveTo>
                  <a:pt x="0" y="262458"/>
                </a:moveTo>
                <a:lnTo>
                  <a:pt x="571817" y="262458"/>
                </a:lnTo>
                <a:lnTo>
                  <a:pt x="571817" y="0"/>
                </a:lnTo>
                <a:lnTo>
                  <a:pt x="0" y="0"/>
                </a:lnTo>
                <a:lnTo>
                  <a:pt x="0" y="262458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2" name="object 102"/>
          <p:cNvSpPr/>
          <p:nvPr/>
        </p:nvSpPr>
        <p:spPr>
          <a:xfrm>
            <a:off x="8481061" y="6059424"/>
            <a:ext cx="877824" cy="356616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3" name="object 103"/>
          <p:cNvSpPr/>
          <p:nvPr/>
        </p:nvSpPr>
        <p:spPr>
          <a:xfrm>
            <a:off x="8493253" y="6068569"/>
            <a:ext cx="874776" cy="294131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4" name="object 104"/>
          <p:cNvSpPr/>
          <p:nvPr/>
        </p:nvSpPr>
        <p:spPr>
          <a:xfrm>
            <a:off x="8528051" y="6086475"/>
            <a:ext cx="782777" cy="262458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5" name="object 105"/>
          <p:cNvSpPr/>
          <p:nvPr/>
        </p:nvSpPr>
        <p:spPr>
          <a:xfrm>
            <a:off x="8528051" y="6086475"/>
            <a:ext cx="782777" cy="262458"/>
          </a:xfrm>
          <a:custGeom>
            <a:avLst/>
            <a:gdLst/>
            <a:ahLst/>
            <a:cxnLst/>
            <a:rect l="l" t="t" r="r" b="b"/>
            <a:pathLst>
              <a:path w="782777" h="262458">
                <a:moveTo>
                  <a:pt x="0" y="262458"/>
                </a:moveTo>
                <a:lnTo>
                  <a:pt x="782777" y="262458"/>
                </a:lnTo>
                <a:lnTo>
                  <a:pt x="782777" y="0"/>
                </a:lnTo>
                <a:lnTo>
                  <a:pt x="0" y="0"/>
                </a:lnTo>
                <a:lnTo>
                  <a:pt x="0" y="262458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6" name="object 106"/>
          <p:cNvSpPr/>
          <p:nvPr/>
        </p:nvSpPr>
        <p:spPr>
          <a:xfrm>
            <a:off x="7464554" y="6068568"/>
            <a:ext cx="438911" cy="356616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7" name="object 107"/>
          <p:cNvSpPr/>
          <p:nvPr/>
        </p:nvSpPr>
        <p:spPr>
          <a:xfrm>
            <a:off x="7478268" y="6077713"/>
            <a:ext cx="438912" cy="294131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8" name="object 108"/>
          <p:cNvSpPr/>
          <p:nvPr/>
        </p:nvSpPr>
        <p:spPr>
          <a:xfrm>
            <a:off x="7512051" y="6095911"/>
            <a:ext cx="344195" cy="262458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9" name="object 109"/>
          <p:cNvSpPr/>
          <p:nvPr/>
        </p:nvSpPr>
        <p:spPr>
          <a:xfrm>
            <a:off x="7512051" y="6095911"/>
            <a:ext cx="344195" cy="262458"/>
          </a:xfrm>
          <a:custGeom>
            <a:avLst/>
            <a:gdLst/>
            <a:ahLst/>
            <a:cxnLst/>
            <a:rect l="l" t="t" r="r" b="b"/>
            <a:pathLst>
              <a:path w="344195" h="262458">
                <a:moveTo>
                  <a:pt x="0" y="262458"/>
                </a:moveTo>
                <a:lnTo>
                  <a:pt x="344195" y="262458"/>
                </a:lnTo>
                <a:lnTo>
                  <a:pt x="344195" y="0"/>
                </a:lnTo>
                <a:lnTo>
                  <a:pt x="0" y="0"/>
                </a:lnTo>
                <a:lnTo>
                  <a:pt x="0" y="262458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4953001" y="5245736"/>
            <a:ext cx="2311399" cy="1231265"/>
          </a:xfrm>
          <a:custGeom>
            <a:avLst/>
            <a:gdLst/>
            <a:ahLst/>
            <a:cxnLst/>
            <a:rect l="l" t="t" r="r" b="b"/>
            <a:pathLst>
              <a:path w="2311400" h="1231264">
                <a:moveTo>
                  <a:pt x="0" y="0"/>
                </a:moveTo>
                <a:lnTo>
                  <a:pt x="0" y="1090980"/>
                </a:lnTo>
                <a:lnTo>
                  <a:pt x="3830" y="1102487"/>
                </a:lnTo>
                <a:lnTo>
                  <a:pt x="58915" y="1135323"/>
                </a:lnTo>
                <a:lnTo>
                  <a:pt x="128992" y="1155452"/>
                </a:lnTo>
                <a:lnTo>
                  <a:pt x="173144" y="1164879"/>
                </a:lnTo>
                <a:lnTo>
                  <a:pt x="222975" y="1173833"/>
                </a:lnTo>
                <a:lnTo>
                  <a:pt x="278188" y="1182278"/>
                </a:lnTo>
                <a:lnTo>
                  <a:pt x="338486" y="1190178"/>
                </a:lnTo>
                <a:lnTo>
                  <a:pt x="403571" y="1197498"/>
                </a:lnTo>
                <a:lnTo>
                  <a:pt x="473147" y="1204199"/>
                </a:lnTo>
                <a:lnTo>
                  <a:pt x="546914" y="1210248"/>
                </a:lnTo>
                <a:lnTo>
                  <a:pt x="624577" y="1215607"/>
                </a:lnTo>
                <a:lnTo>
                  <a:pt x="705838" y="1220241"/>
                </a:lnTo>
                <a:lnTo>
                  <a:pt x="790399" y="1224113"/>
                </a:lnTo>
                <a:lnTo>
                  <a:pt x="877963" y="1227188"/>
                </a:lnTo>
                <a:lnTo>
                  <a:pt x="968233" y="1229429"/>
                </a:lnTo>
                <a:lnTo>
                  <a:pt x="1060911" y="1230800"/>
                </a:lnTo>
                <a:lnTo>
                  <a:pt x="1155700" y="1231264"/>
                </a:lnTo>
                <a:lnTo>
                  <a:pt x="1250488" y="1230800"/>
                </a:lnTo>
                <a:lnTo>
                  <a:pt x="1343166" y="1229429"/>
                </a:lnTo>
                <a:lnTo>
                  <a:pt x="1433436" y="1227188"/>
                </a:lnTo>
                <a:lnTo>
                  <a:pt x="1521000" y="1224113"/>
                </a:lnTo>
                <a:lnTo>
                  <a:pt x="1605561" y="1220241"/>
                </a:lnTo>
                <a:lnTo>
                  <a:pt x="1686822" y="1215607"/>
                </a:lnTo>
                <a:lnTo>
                  <a:pt x="1764485" y="1210248"/>
                </a:lnTo>
                <a:lnTo>
                  <a:pt x="1838252" y="1204199"/>
                </a:lnTo>
                <a:lnTo>
                  <a:pt x="1907828" y="1197498"/>
                </a:lnTo>
                <a:lnTo>
                  <a:pt x="1972913" y="1190178"/>
                </a:lnTo>
                <a:lnTo>
                  <a:pt x="2033211" y="1182278"/>
                </a:lnTo>
                <a:lnTo>
                  <a:pt x="2088424" y="1173833"/>
                </a:lnTo>
                <a:lnTo>
                  <a:pt x="2138255" y="1164879"/>
                </a:lnTo>
                <a:lnTo>
                  <a:pt x="2182407" y="1155452"/>
                </a:lnTo>
                <a:lnTo>
                  <a:pt x="2220583" y="1145588"/>
                </a:lnTo>
                <a:lnTo>
                  <a:pt x="2277813" y="1124694"/>
                </a:lnTo>
                <a:lnTo>
                  <a:pt x="2311400" y="1090980"/>
                </a:lnTo>
                <a:lnTo>
                  <a:pt x="2311400" y="0"/>
                </a:lnTo>
                <a:lnTo>
                  <a:pt x="2307569" y="11504"/>
                </a:lnTo>
                <a:lnTo>
                  <a:pt x="2296274" y="22751"/>
                </a:lnTo>
                <a:lnTo>
                  <a:pt x="2252484" y="44330"/>
                </a:lnTo>
                <a:lnTo>
                  <a:pt x="2182407" y="64449"/>
                </a:lnTo>
                <a:lnTo>
                  <a:pt x="2138255" y="73871"/>
                </a:lnTo>
                <a:lnTo>
                  <a:pt x="2088424" y="82820"/>
                </a:lnTo>
                <a:lnTo>
                  <a:pt x="2033211" y="91260"/>
                </a:lnTo>
                <a:lnTo>
                  <a:pt x="1972913" y="99155"/>
                </a:lnTo>
                <a:lnTo>
                  <a:pt x="1907828" y="106469"/>
                </a:lnTo>
                <a:lnTo>
                  <a:pt x="1838252" y="113166"/>
                </a:lnTo>
                <a:lnTo>
                  <a:pt x="1764485" y="119210"/>
                </a:lnTo>
                <a:lnTo>
                  <a:pt x="1686822" y="124564"/>
                </a:lnTo>
                <a:lnTo>
                  <a:pt x="1605561" y="129194"/>
                </a:lnTo>
                <a:lnTo>
                  <a:pt x="1521000" y="133063"/>
                </a:lnTo>
                <a:lnTo>
                  <a:pt x="1433436" y="136135"/>
                </a:lnTo>
                <a:lnTo>
                  <a:pt x="1343166" y="138373"/>
                </a:lnTo>
                <a:lnTo>
                  <a:pt x="1250488" y="139743"/>
                </a:lnTo>
                <a:lnTo>
                  <a:pt x="1155700" y="140207"/>
                </a:lnTo>
                <a:lnTo>
                  <a:pt x="1060911" y="139743"/>
                </a:lnTo>
                <a:lnTo>
                  <a:pt x="968233" y="138373"/>
                </a:lnTo>
                <a:lnTo>
                  <a:pt x="877963" y="136135"/>
                </a:lnTo>
                <a:lnTo>
                  <a:pt x="790399" y="133063"/>
                </a:lnTo>
                <a:lnTo>
                  <a:pt x="705838" y="129194"/>
                </a:lnTo>
                <a:lnTo>
                  <a:pt x="624577" y="124564"/>
                </a:lnTo>
                <a:lnTo>
                  <a:pt x="546914" y="119210"/>
                </a:lnTo>
                <a:lnTo>
                  <a:pt x="473147" y="113166"/>
                </a:lnTo>
                <a:lnTo>
                  <a:pt x="403571" y="106469"/>
                </a:lnTo>
                <a:lnTo>
                  <a:pt x="338486" y="99155"/>
                </a:lnTo>
                <a:lnTo>
                  <a:pt x="278188" y="91260"/>
                </a:lnTo>
                <a:lnTo>
                  <a:pt x="222975" y="82820"/>
                </a:lnTo>
                <a:lnTo>
                  <a:pt x="173144" y="73871"/>
                </a:lnTo>
                <a:lnTo>
                  <a:pt x="128992" y="64449"/>
                </a:lnTo>
                <a:lnTo>
                  <a:pt x="90816" y="54590"/>
                </a:lnTo>
                <a:lnTo>
                  <a:pt x="33586" y="33705"/>
                </a:lnTo>
                <a:lnTo>
                  <a:pt x="3830" y="1150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1" name="object 111"/>
          <p:cNvSpPr/>
          <p:nvPr/>
        </p:nvSpPr>
        <p:spPr>
          <a:xfrm>
            <a:off x="4953001" y="5105401"/>
            <a:ext cx="2311399" cy="280543"/>
          </a:xfrm>
          <a:custGeom>
            <a:avLst/>
            <a:gdLst/>
            <a:ahLst/>
            <a:cxnLst/>
            <a:rect l="l" t="t" r="r" b="b"/>
            <a:pathLst>
              <a:path w="2311400" h="280543">
                <a:moveTo>
                  <a:pt x="0" y="140334"/>
                </a:moveTo>
                <a:lnTo>
                  <a:pt x="3830" y="151839"/>
                </a:lnTo>
                <a:lnTo>
                  <a:pt x="15125" y="163086"/>
                </a:lnTo>
                <a:lnTo>
                  <a:pt x="58915" y="184665"/>
                </a:lnTo>
                <a:lnTo>
                  <a:pt x="128992" y="204784"/>
                </a:lnTo>
                <a:lnTo>
                  <a:pt x="173144" y="214206"/>
                </a:lnTo>
                <a:lnTo>
                  <a:pt x="222975" y="223155"/>
                </a:lnTo>
                <a:lnTo>
                  <a:pt x="278188" y="231595"/>
                </a:lnTo>
                <a:lnTo>
                  <a:pt x="338486" y="239490"/>
                </a:lnTo>
                <a:lnTo>
                  <a:pt x="403571" y="246804"/>
                </a:lnTo>
                <a:lnTo>
                  <a:pt x="473147" y="253501"/>
                </a:lnTo>
                <a:lnTo>
                  <a:pt x="546914" y="259545"/>
                </a:lnTo>
                <a:lnTo>
                  <a:pt x="624577" y="264899"/>
                </a:lnTo>
                <a:lnTo>
                  <a:pt x="705838" y="269529"/>
                </a:lnTo>
                <a:lnTo>
                  <a:pt x="790399" y="273398"/>
                </a:lnTo>
                <a:lnTo>
                  <a:pt x="877963" y="276470"/>
                </a:lnTo>
                <a:lnTo>
                  <a:pt x="968233" y="278708"/>
                </a:lnTo>
                <a:lnTo>
                  <a:pt x="1060911" y="280078"/>
                </a:lnTo>
                <a:lnTo>
                  <a:pt x="1155700" y="280543"/>
                </a:lnTo>
                <a:lnTo>
                  <a:pt x="1250488" y="280078"/>
                </a:lnTo>
                <a:lnTo>
                  <a:pt x="1343166" y="278708"/>
                </a:lnTo>
                <a:lnTo>
                  <a:pt x="1433436" y="276470"/>
                </a:lnTo>
                <a:lnTo>
                  <a:pt x="1521000" y="273398"/>
                </a:lnTo>
                <a:lnTo>
                  <a:pt x="1605561" y="269529"/>
                </a:lnTo>
                <a:lnTo>
                  <a:pt x="1686822" y="264899"/>
                </a:lnTo>
                <a:lnTo>
                  <a:pt x="1764485" y="259545"/>
                </a:lnTo>
                <a:lnTo>
                  <a:pt x="1838252" y="253501"/>
                </a:lnTo>
                <a:lnTo>
                  <a:pt x="1907828" y="246804"/>
                </a:lnTo>
                <a:lnTo>
                  <a:pt x="1972913" y="239490"/>
                </a:lnTo>
                <a:lnTo>
                  <a:pt x="2033211" y="231595"/>
                </a:lnTo>
                <a:lnTo>
                  <a:pt x="2088424" y="223155"/>
                </a:lnTo>
                <a:lnTo>
                  <a:pt x="2138255" y="214206"/>
                </a:lnTo>
                <a:lnTo>
                  <a:pt x="2182407" y="204784"/>
                </a:lnTo>
                <a:lnTo>
                  <a:pt x="2220583" y="194925"/>
                </a:lnTo>
                <a:lnTo>
                  <a:pt x="2277813" y="174040"/>
                </a:lnTo>
                <a:lnTo>
                  <a:pt x="2311400" y="140334"/>
                </a:lnTo>
                <a:lnTo>
                  <a:pt x="2277813" y="106622"/>
                </a:lnTo>
                <a:lnTo>
                  <a:pt x="2220583" y="85724"/>
                </a:lnTo>
                <a:lnTo>
                  <a:pt x="2182407" y="75858"/>
                </a:lnTo>
                <a:lnTo>
                  <a:pt x="2138255" y="66427"/>
                </a:lnTo>
                <a:lnTo>
                  <a:pt x="2088424" y="57470"/>
                </a:lnTo>
                <a:lnTo>
                  <a:pt x="2033211" y="49020"/>
                </a:lnTo>
                <a:lnTo>
                  <a:pt x="1972913" y="41116"/>
                </a:lnTo>
                <a:lnTo>
                  <a:pt x="1907828" y="33792"/>
                </a:lnTo>
                <a:lnTo>
                  <a:pt x="1838252" y="27086"/>
                </a:lnTo>
                <a:lnTo>
                  <a:pt x="1764485" y="21033"/>
                </a:lnTo>
                <a:lnTo>
                  <a:pt x="1686822" y="15670"/>
                </a:lnTo>
                <a:lnTo>
                  <a:pt x="1605561" y="11033"/>
                </a:lnTo>
                <a:lnTo>
                  <a:pt x="1521000" y="7157"/>
                </a:lnTo>
                <a:lnTo>
                  <a:pt x="1433436" y="4080"/>
                </a:lnTo>
                <a:lnTo>
                  <a:pt x="1343166" y="1837"/>
                </a:lnTo>
                <a:lnTo>
                  <a:pt x="1250488" y="465"/>
                </a:lnTo>
                <a:lnTo>
                  <a:pt x="1155700" y="0"/>
                </a:lnTo>
                <a:lnTo>
                  <a:pt x="1060911" y="465"/>
                </a:lnTo>
                <a:lnTo>
                  <a:pt x="968233" y="1837"/>
                </a:lnTo>
                <a:lnTo>
                  <a:pt x="877963" y="4080"/>
                </a:lnTo>
                <a:lnTo>
                  <a:pt x="790399" y="7157"/>
                </a:lnTo>
                <a:lnTo>
                  <a:pt x="705838" y="11033"/>
                </a:lnTo>
                <a:lnTo>
                  <a:pt x="624577" y="15670"/>
                </a:lnTo>
                <a:lnTo>
                  <a:pt x="546914" y="21033"/>
                </a:lnTo>
                <a:lnTo>
                  <a:pt x="473147" y="27086"/>
                </a:lnTo>
                <a:lnTo>
                  <a:pt x="403571" y="33792"/>
                </a:lnTo>
                <a:lnTo>
                  <a:pt x="338486" y="41116"/>
                </a:lnTo>
                <a:lnTo>
                  <a:pt x="278188" y="49020"/>
                </a:lnTo>
                <a:lnTo>
                  <a:pt x="222975" y="57470"/>
                </a:lnTo>
                <a:lnTo>
                  <a:pt x="173144" y="66427"/>
                </a:lnTo>
                <a:lnTo>
                  <a:pt x="128992" y="75858"/>
                </a:lnTo>
                <a:lnTo>
                  <a:pt x="90816" y="85725"/>
                </a:lnTo>
                <a:lnTo>
                  <a:pt x="33586" y="106622"/>
                </a:lnTo>
                <a:lnTo>
                  <a:pt x="3830" y="128830"/>
                </a:lnTo>
                <a:lnTo>
                  <a:pt x="0" y="14033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2" name="object 112"/>
          <p:cNvSpPr/>
          <p:nvPr/>
        </p:nvSpPr>
        <p:spPr>
          <a:xfrm>
            <a:off x="4953001" y="5105401"/>
            <a:ext cx="2311399" cy="1371600"/>
          </a:xfrm>
          <a:custGeom>
            <a:avLst/>
            <a:gdLst/>
            <a:ahLst/>
            <a:cxnLst/>
            <a:rect l="l" t="t" r="r" b="b"/>
            <a:pathLst>
              <a:path w="2311400" h="1371600">
                <a:moveTo>
                  <a:pt x="2311400" y="140334"/>
                </a:moveTo>
                <a:lnTo>
                  <a:pt x="2277813" y="174040"/>
                </a:lnTo>
                <a:lnTo>
                  <a:pt x="2220583" y="194925"/>
                </a:lnTo>
                <a:lnTo>
                  <a:pt x="2182407" y="204784"/>
                </a:lnTo>
                <a:lnTo>
                  <a:pt x="2138255" y="214206"/>
                </a:lnTo>
                <a:lnTo>
                  <a:pt x="2088424" y="223155"/>
                </a:lnTo>
                <a:lnTo>
                  <a:pt x="2033211" y="231595"/>
                </a:lnTo>
                <a:lnTo>
                  <a:pt x="1972913" y="239490"/>
                </a:lnTo>
                <a:lnTo>
                  <a:pt x="1907828" y="246804"/>
                </a:lnTo>
                <a:lnTo>
                  <a:pt x="1838252" y="253501"/>
                </a:lnTo>
                <a:lnTo>
                  <a:pt x="1764485" y="259545"/>
                </a:lnTo>
                <a:lnTo>
                  <a:pt x="1686822" y="264899"/>
                </a:lnTo>
                <a:lnTo>
                  <a:pt x="1605561" y="269529"/>
                </a:lnTo>
                <a:lnTo>
                  <a:pt x="1521000" y="273398"/>
                </a:lnTo>
                <a:lnTo>
                  <a:pt x="1433436" y="276470"/>
                </a:lnTo>
                <a:lnTo>
                  <a:pt x="1343166" y="278708"/>
                </a:lnTo>
                <a:lnTo>
                  <a:pt x="1250488" y="280078"/>
                </a:lnTo>
                <a:lnTo>
                  <a:pt x="1155700" y="280543"/>
                </a:lnTo>
                <a:lnTo>
                  <a:pt x="1060911" y="280078"/>
                </a:lnTo>
                <a:lnTo>
                  <a:pt x="968233" y="278708"/>
                </a:lnTo>
                <a:lnTo>
                  <a:pt x="877963" y="276470"/>
                </a:lnTo>
                <a:lnTo>
                  <a:pt x="790399" y="273398"/>
                </a:lnTo>
                <a:lnTo>
                  <a:pt x="705838" y="269529"/>
                </a:lnTo>
                <a:lnTo>
                  <a:pt x="624577" y="264899"/>
                </a:lnTo>
                <a:lnTo>
                  <a:pt x="546914" y="259545"/>
                </a:lnTo>
                <a:lnTo>
                  <a:pt x="473147" y="253501"/>
                </a:lnTo>
                <a:lnTo>
                  <a:pt x="403571" y="246804"/>
                </a:lnTo>
                <a:lnTo>
                  <a:pt x="338486" y="239490"/>
                </a:lnTo>
                <a:lnTo>
                  <a:pt x="278188" y="231595"/>
                </a:lnTo>
                <a:lnTo>
                  <a:pt x="222975" y="223155"/>
                </a:lnTo>
                <a:lnTo>
                  <a:pt x="173144" y="214206"/>
                </a:lnTo>
                <a:lnTo>
                  <a:pt x="128992" y="204784"/>
                </a:lnTo>
                <a:lnTo>
                  <a:pt x="90816" y="194925"/>
                </a:lnTo>
                <a:lnTo>
                  <a:pt x="33586" y="174040"/>
                </a:lnTo>
                <a:lnTo>
                  <a:pt x="0" y="140334"/>
                </a:lnTo>
                <a:lnTo>
                  <a:pt x="3830" y="128830"/>
                </a:lnTo>
                <a:lnTo>
                  <a:pt x="15125" y="117580"/>
                </a:lnTo>
                <a:lnTo>
                  <a:pt x="58915" y="95991"/>
                </a:lnTo>
                <a:lnTo>
                  <a:pt x="128992" y="75858"/>
                </a:lnTo>
                <a:lnTo>
                  <a:pt x="173144" y="66427"/>
                </a:lnTo>
                <a:lnTo>
                  <a:pt x="222975" y="57470"/>
                </a:lnTo>
                <a:lnTo>
                  <a:pt x="278188" y="49020"/>
                </a:lnTo>
                <a:lnTo>
                  <a:pt x="338486" y="41116"/>
                </a:lnTo>
                <a:lnTo>
                  <a:pt x="403571" y="33792"/>
                </a:lnTo>
                <a:lnTo>
                  <a:pt x="473147" y="27086"/>
                </a:lnTo>
                <a:lnTo>
                  <a:pt x="546914" y="21033"/>
                </a:lnTo>
                <a:lnTo>
                  <a:pt x="624577" y="15670"/>
                </a:lnTo>
                <a:lnTo>
                  <a:pt x="705838" y="11033"/>
                </a:lnTo>
                <a:lnTo>
                  <a:pt x="790399" y="7157"/>
                </a:lnTo>
                <a:lnTo>
                  <a:pt x="877963" y="4080"/>
                </a:lnTo>
                <a:lnTo>
                  <a:pt x="968233" y="1837"/>
                </a:lnTo>
                <a:lnTo>
                  <a:pt x="1060911" y="465"/>
                </a:lnTo>
                <a:lnTo>
                  <a:pt x="1155700" y="0"/>
                </a:lnTo>
                <a:lnTo>
                  <a:pt x="1250488" y="465"/>
                </a:lnTo>
                <a:lnTo>
                  <a:pt x="1343166" y="1837"/>
                </a:lnTo>
                <a:lnTo>
                  <a:pt x="1433436" y="4080"/>
                </a:lnTo>
                <a:lnTo>
                  <a:pt x="1521000" y="7157"/>
                </a:lnTo>
                <a:lnTo>
                  <a:pt x="1605561" y="11033"/>
                </a:lnTo>
                <a:lnTo>
                  <a:pt x="1686822" y="15670"/>
                </a:lnTo>
                <a:lnTo>
                  <a:pt x="1764485" y="21033"/>
                </a:lnTo>
                <a:lnTo>
                  <a:pt x="1838252" y="27086"/>
                </a:lnTo>
                <a:lnTo>
                  <a:pt x="1907828" y="33792"/>
                </a:lnTo>
                <a:lnTo>
                  <a:pt x="1972913" y="41116"/>
                </a:lnTo>
                <a:lnTo>
                  <a:pt x="2033211" y="49020"/>
                </a:lnTo>
                <a:lnTo>
                  <a:pt x="2088424" y="57470"/>
                </a:lnTo>
                <a:lnTo>
                  <a:pt x="2138255" y="66427"/>
                </a:lnTo>
                <a:lnTo>
                  <a:pt x="2182407" y="75858"/>
                </a:lnTo>
                <a:lnTo>
                  <a:pt x="2220583" y="85724"/>
                </a:lnTo>
                <a:lnTo>
                  <a:pt x="2277813" y="106622"/>
                </a:lnTo>
                <a:lnTo>
                  <a:pt x="2311400" y="140334"/>
                </a:lnTo>
                <a:lnTo>
                  <a:pt x="2311400" y="1231315"/>
                </a:lnTo>
                <a:lnTo>
                  <a:pt x="2307569" y="1242822"/>
                </a:lnTo>
                <a:lnTo>
                  <a:pt x="2296274" y="1254072"/>
                </a:lnTo>
                <a:lnTo>
                  <a:pt x="2252484" y="1275658"/>
                </a:lnTo>
                <a:lnTo>
                  <a:pt x="2182407" y="1295787"/>
                </a:lnTo>
                <a:lnTo>
                  <a:pt x="2138255" y="1305214"/>
                </a:lnTo>
                <a:lnTo>
                  <a:pt x="2088424" y="1314168"/>
                </a:lnTo>
                <a:lnTo>
                  <a:pt x="2033211" y="1322613"/>
                </a:lnTo>
                <a:lnTo>
                  <a:pt x="1972913" y="1330513"/>
                </a:lnTo>
                <a:lnTo>
                  <a:pt x="1907828" y="1337833"/>
                </a:lnTo>
                <a:lnTo>
                  <a:pt x="1838252" y="1344534"/>
                </a:lnTo>
                <a:lnTo>
                  <a:pt x="1764485" y="1350583"/>
                </a:lnTo>
                <a:lnTo>
                  <a:pt x="1686822" y="1355942"/>
                </a:lnTo>
                <a:lnTo>
                  <a:pt x="1605561" y="1360576"/>
                </a:lnTo>
                <a:lnTo>
                  <a:pt x="1521000" y="1364448"/>
                </a:lnTo>
                <a:lnTo>
                  <a:pt x="1433436" y="1367523"/>
                </a:lnTo>
                <a:lnTo>
                  <a:pt x="1343166" y="1369764"/>
                </a:lnTo>
                <a:lnTo>
                  <a:pt x="1250488" y="1371135"/>
                </a:lnTo>
                <a:lnTo>
                  <a:pt x="1155700" y="1371600"/>
                </a:lnTo>
                <a:lnTo>
                  <a:pt x="1060911" y="1371135"/>
                </a:lnTo>
                <a:lnTo>
                  <a:pt x="968233" y="1369764"/>
                </a:lnTo>
                <a:lnTo>
                  <a:pt x="877963" y="1367523"/>
                </a:lnTo>
                <a:lnTo>
                  <a:pt x="790399" y="1364448"/>
                </a:lnTo>
                <a:lnTo>
                  <a:pt x="705838" y="1360576"/>
                </a:lnTo>
                <a:lnTo>
                  <a:pt x="624577" y="1355942"/>
                </a:lnTo>
                <a:lnTo>
                  <a:pt x="546914" y="1350583"/>
                </a:lnTo>
                <a:lnTo>
                  <a:pt x="473147" y="1344534"/>
                </a:lnTo>
                <a:lnTo>
                  <a:pt x="403571" y="1337833"/>
                </a:lnTo>
                <a:lnTo>
                  <a:pt x="338486" y="1330513"/>
                </a:lnTo>
                <a:lnTo>
                  <a:pt x="278188" y="1322613"/>
                </a:lnTo>
                <a:lnTo>
                  <a:pt x="222975" y="1314168"/>
                </a:lnTo>
                <a:lnTo>
                  <a:pt x="173144" y="1305214"/>
                </a:lnTo>
                <a:lnTo>
                  <a:pt x="128992" y="1295787"/>
                </a:lnTo>
                <a:lnTo>
                  <a:pt x="90816" y="1285923"/>
                </a:lnTo>
                <a:lnTo>
                  <a:pt x="33586" y="1265029"/>
                </a:lnTo>
                <a:lnTo>
                  <a:pt x="0" y="1231315"/>
                </a:lnTo>
                <a:lnTo>
                  <a:pt x="0" y="140334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3" name="object 113"/>
          <p:cNvSpPr/>
          <p:nvPr/>
        </p:nvSpPr>
        <p:spPr>
          <a:xfrm>
            <a:off x="2559050" y="5245736"/>
            <a:ext cx="2311399" cy="1231265"/>
          </a:xfrm>
          <a:custGeom>
            <a:avLst/>
            <a:gdLst/>
            <a:ahLst/>
            <a:cxnLst/>
            <a:rect l="l" t="t" r="r" b="b"/>
            <a:pathLst>
              <a:path w="2311400" h="1231264">
                <a:moveTo>
                  <a:pt x="3830" y="1102487"/>
                </a:moveTo>
                <a:lnTo>
                  <a:pt x="58915" y="1135323"/>
                </a:lnTo>
                <a:lnTo>
                  <a:pt x="128992" y="1155452"/>
                </a:lnTo>
                <a:lnTo>
                  <a:pt x="173144" y="1164879"/>
                </a:lnTo>
                <a:lnTo>
                  <a:pt x="222975" y="1173833"/>
                </a:lnTo>
                <a:lnTo>
                  <a:pt x="278188" y="1182278"/>
                </a:lnTo>
                <a:lnTo>
                  <a:pt x="338486" y="1190178"/>
                </a:lnTo>
                <a:lnTo>
                  <a:pt x="403571" y="1197498"/>
                </a:lnTo>
                <a:lnTo>
                  <a:pt x="473147" y="1204199"/>
                </a:lnTo>
                <a:lnTo>
                  <a:pt x="546914" y="1210248"/>
                </a:lnTo>
                <a:lnTo>
                  <a:pt x="624577" y="1215607"/>
                </a:lnTo>
                <a:lnTo>
                  <a:pt x="705838" y="1220241"/>
                </a:lnTo>
                <a:lnTo>
                  <a:pt x="790399" y="1224113"/>
                </a:lnTo>
                <a:lnTo>
                  <a:pt x="877963" y="1227188"/>
                </a:lnTo>
                <a:lnTo>
                  <a:pt x="968233" y="1229429"/>
                </a:lnTo>
                <a:lnTo>
                  <a:pt x="1060911" y="1230800"/>
                </a:lnTo>
                <a:lnTo>
                  <a:pt x="1155700" y="1231264"/>
                </a:lnTo>
                <a:lnTo>
                  <a:pt x="1250488" y="1230800"/>
                </a:lnTo>
                <a:lnTo>
                  <a:pt x="1343166" y="1229429"/>
                </a:lnTo>
                <a:lnTo>
                  <a:pt x="1433436" y="1227188"/>
                </a:lnTo>
                <a:lnTo>
                  <a:pt x="1521000" y="1224113"/>
                </a:lnTo>
                <a:lnTo>
                  <a:pt x="1605561" y="1220241"/>
                </a:lnTo>
                <a:lnTo>
                  <a:pt x="1686822" y="1215607"/>
                </a:lnTo>
                <a:lnTo>
                  <a:pt x="1764485" y="1210248"/>
                </a:lnTo>
                <a:lnTo>
                  <a:pt x="1838252" y="1204199"/>
                </a:lnTo>
                <a:lnTo>
                  <a:pt x="1907828" y="1197498"/>
                </a:lnTo>
                <a:lnTo>
                  <a:pt x="1972913" y="1190178"/>
                </a:lnTo>
                <a:lnTo>
                  <a:pt x="2033211" y="1182278"/>
                </a:lnTo>
                <a:lnTo>
                  <a:pt x="2088424" y="1173833"/>
                </a:lnTo>
                <a:lnTo>
                  <a:pt x="2138255" y="1164879"/>
                </a:lnTo>
                <a:lnTo>
                  <a:pt x="2182407" y="1155452"/>
                </a:lnTo>
                <a:lnTo>
                  <a:pt x="2220583" y="1145588"/>
                </a:lnTo>
                <a:lnTo>
                  <a:pt x="2277813" y="1124694"/>
                </a:lnTo>
                <a:lnTo>
                  <a:pt x="2311400" y="1090980"/>
                </a:lnTo>
                <a:lnTo>
                  <a:pt x="2311400" y="0"/>
                </a:lnTo>
                <a:lnTo>
                  <a:pt x="2307569" y="11504"/>
                </a:lnTo>
                <a:lnTo>
                  <a:pt x="2296274" y="22751"/>
                </a:lnTo>
                <a:lnTo>
                  <a:pt x="2252484" y="44330"/>
                </a:lnTo>
                <a:lnTo>
                  <a:pt x="2182407" y="64449"/>
                </a:lnTo>
                <a:lnTo>
                  <a:pt x="2138255" y="73871"/>
                </a:lnTo>
                <a:lnTo>
                  <a:pt x="2088424" y="82820"/>
                </a:lnTo>
                <a:lnTo>
                  <a:pt x="2033211" y="91260"/>
                </a:lnTo>
                <a:lnTo>
                  <a:pt x="1972913" y="99155"/>
                </a:lnTo>
                <a:lnTo>
                  <a:pt x="1907828" y="106469"/>
                </a:lnTo>
                <a:lnTo>
                  <a:pt x="1838252" y="113166"/>
                </a:lnTo>
                <a:lnTo>
                  <a:pt x="1764485" y="119210"/>
                </a:lnTo>
                <a:lnTo>
                  <a:pt x="1686822" y="124564"/>
                </a:lnTo>
                <a:lnTo>
                  <a:pt x="1605561" y="129194"/>
                </a:lnTo>
                <a:lnTo>
                  <a:pt x="1521000" y="133063"/>
                </a:lnTo>
                <a:lnTo>
                  <a:pt x="1433436" y="136135"/>
                </a:lnTo>
                <a:lnTo>
                  <a:pt x="1343166" y="138373"/>
                </a:lnTo>
                <a:lnTo>
                  <a:pt x="1250488" y="139743"/>
                </a:lnTo>
                <a:lnTo>
                  <a:pt x="1155700" y="140207"/>
                </a:lnTo>
                <a:lnTo>
                  <a:pt x="1060911" y="139743"/>
                </a:lnTo>
                <a:lnTo>
                  <a:pt x="968233" y="138373"/>
                </a:lnTo>
                <a:lnTo>
                  <a:pt x="877963" y="136135"/>
                </a:lnTo>
                <a:lnTo>
                  <a:pt x="790399" y="133063"/>
                </a:lnTo>
                <a:lnTo>
                  <a:pt x="705838" y="129194"/>
                </a:lnTo>
                <a:lnTo>
                  <a:pt x="624577" y="124564"/>
                </a:lnTo>
                <a:lnTo>
                  <a:pt x="546914" y="119210"/>
                </a:lnTo>
                <a:lnTo>
                  <a:pt x="473147" y="113166"/>
                </a:lnTo>
                <a:lnTo>
                  <a:pt x="403571" y="106469"/>
                </a:lnTo>
                <a:lnTo>
                  <a:pt x="338486" y="99155"/>
                </a:lnTo>
                <a:lnTo>
                  <a:pt x="278188" y="91260"/>
                </a:lnTo>
                <a:lnTo>
                  <a:pt x="222975" y="82820"/>
                </a:lnTo>
                <a:lnTo>
                  <a:pt x="173144" y="73871"/>
                </a:lnTo>
                <a:lnTo>
                  <a:pt x="128992" y="64449"/>
                </a:lnTo>
                <a:lnTo>
                  <a:pt x="90816" y="54590"/>
                </a:lnTo>
                <a:lnTo>
                  <a:pt x="33586" y="33705"/>
                </a:lnTo>
                <a:lnTo>
                  <a:pt x="0" y="0"/>
                </a:lnTo>
                <a:lnTo>
                  <a:pt x="0" y="1090980"/>
                </a:lnTo>
                <a:lnTo>
                  <a:pt x="3830" y="110248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4" name="object 114"/>
          <p:cNvSpPr/>
          <p:nvPr/>
        </p:nvSpPr>
        <p:spPr>
          <a:xfrm>
            <a:off x="2559050" y="5105401"/>
            <a:ext cx="2311399" cy="280543"/>
          </a:xfrm>
          <a:custGeom>
            <a:avLst/>
            <a:gdLst/>
            <a:ahLst/>
            <a:cxnLst/>
            <a:rect l="l" t="t" r="r" b="b"/>
            <a:pathLst>
              <a:path w="2311400" h="280543">
                <a:moveTo>
                  <a:pt x="0" y="140334"/>
                </a:moveTo>
                <a:lnTo>
                  <a:pt x="3830" y="151839"/>
                </a:lnTo>
                <a:lnTo>
                  <a:pt x="15125" y="163086"/>
                </a:lnTo>
                <a:lnTo>
                  <a:pt x="58915" y="184665"/>
                </a:lnTo>
                <a:lnTo>
                  <a:pt x="128992" y="204784"/>
                </a:lnTo>
                <a:lnTo>
                  <a:pt x="173144" y="214206"/>
                </a:lnTo>
                <a:lnTo>
                  <a:pt x="222975" y="223155"/>
                </a:lnTo>
                <a:lnTo>
                  <a:pt x="278188" y="231595"/>
                </a:lnTo>
                <a:lnTo>
                  <a:pt x="338486" y="239490"/>
                </a:lnTo>
                <a:lnTo>
                  <a:pt x="403571" y="246804"/>
                </a:lnTo>
                <a:lnTo>
                  <a:pt x="473147" y="253501"/>
                </a:lnTo>
                <a:lnTo>
                  <a:pt x="546914" y="259545"/>
                </a:lnTo>
                <a:lnTo>
                  <a:pt x="624577" y="264899"/>
                </a:lnTo>
                <a:lnTo>
                  <a:pt x="705838" y="269529"/>
                </a:lnTo>
                <a:lnTo>
                  <a:pt x="790399" y="273398"/>
                </a:lnTo>
                <a:lnTo>
                  <a:pt x="877963" y="276470"/>
                </a:lnTo>
                <a:lnTo>
                  <a:pt x="968233" y="278708"/>
                </a:lnTo>
                <a:lnTo>
                  <a:pt x="1060911" y="280078"/>
                </a:lnTo>
                <a:lnTo>
                  <a:pt x="1155700" y="280543"/>
                </a:lnTo>
                <a:lnTo>
                  <a:pt x="1250488" y="280078"/>
                </a:lnTo>
                <a:lnTo>
                  <a:pt x="1343166" y="278708"/>
                </a:lnTo>
                <a:lnTo>
                  <a:pt x="1433436" y="276470"/>
                </a:lnTo>
                <a:lnTo>
                  <a:pt x="1521000" y="273398"/>
                </a:lnTo>
                <a:lnTo>
                  <a:pt x="1605561" y="269529"/>
                </a:lnTo>
                <a:lnTo>
                  <a:pt x="1686822" y="264899"/>
                </a:lnTo>
                <a:lnTo>
                  <a:pt x="1764485" y="259545"/>
                </a:lnTo>
                <a:lnTo>
                  <a:pt x="1838252" y="253501"/>
                </a:lnTo>
                <a:lnTo>
                  <a:pt x="1907828" y="246804"/>
                </a:lnTo>
                <a:lnTo>
                  <a:pt x="1972913" y="239490"/>
                </a:lnTo>
                <a:lnTo>
                  <a:pt x="2033211" y="231595"/>
                </a:lnTo>
                <a:lnTo>
                  <a:pt x="2088424" y="223155"/>
                </a:lnTo>
                <a:lnTo>
                  <a:pt x="2138255" y="214206"/>
                </a:lnTo>
                <a:lnTo>
                  <a:pt x="2182407" y="204784"/>
                </a:lnTo>
                <a:lnTo>
                  <a:pt x="2220583" y="194925"/>
                </a:lnTo>
                <a:lnTo>
                  <a:pt x="2277813" y="174040"/>
                </a:lnTo>
                <a:lnTo>
                  <a:pt x="2311400" y="140334"/>
                </a:lnTo>
                <a:lnTo>
                  <a:pt x="2277813" y="106622"/>
                </a:lnTo>
                <a:lnTo>
                  <a:pt x="2220583" y="85724"/>
                </a:lnTo>
                <a:lnTo>
                  <a:pt x="2182407" y="75858"/>
                </a:lnTo>
                <a:lnTo>
                  <a:pt x="2138255" y="66427"/>
                </a:lnTo>
                <a:lnTo>
                  <a:pt x="2088424" y="57470"/>
                </a:lnTo>
                <a:lnTo>
                  <a:pt x="2033211" y="49020"/>
                </a:lnTo>
                <a:lnTo>
                  <a:pt x="1972913" y="41116"/>
                </a:lnTo>
                <a:lnTo>
                  <a:pt x="1907828" y="33792"/>
                </a:lnTo>
                <a:lnTo>
                  <a:pt x="1838252" y="27086"/>
                </a:lnTo>
                <a:lnTo>
                  <a:pt x="1764485" y="21033"/>
                </a:lnTo>
                <a:lnTo>
                  <a:pt x="1686822" y="15670"/>
                </a:lnTo>
                <a:lnTo>
                  <a:pt x="1605561" y="11033"/>
                </a:lnTo>
                <a:lnTo>
                  <a:pt x="1521000" y="7157"/>
                </a:lnTo>
                <a:lnTo>
                  <a:pt x="1433436" y="4080"/>
                </a:lnTo>
                <a:lnTo>
                  <a:pt x="1343166" y="1837"/>
                </a:lnTo>
                <a:lnTo>
                  <a:pt x="1250488" y="465"/>
                </a:lnTo>
                <a:lnTo>
                  <a:pt x="1155700" y="0"/>
                </a:lnTo>
                <a:lnTo>
                  <a:pt x="1060911" y="465"/>
                </a:lnTo>
                <a:lnTo>
                  <a:pt x="968233" y="1837"/>
                </a:lnTo>
                <a:lnTo>
                  <a:pt x="877963" y="4080"/>
                </a:lnTo>
                <a:lnTo>
                  <a:pt x="790399" y="7157"/>
                </a:lnTo>
                <a:lnTo>
                  <a:pt x="705838" y="11033"/>
                </a:lnTo>
                <a:lnTo>
                  <a:pt x="624577" y="15670"/>
                </a:lnTo>
                <a:lnTo>
                  <a:pt x="546914" y="21033"/>
                </a:lnTo>
                <a:lnTo>
                  <a:pt x="473147" y="27086"/>
                </a:lnTo>
                <a:lnTo>
                  <a:pt x="403571" y="33792"/>
                </a:lnTo>
                <a:lnTo>
                  <a:pt x="338486" y="41116"/>
                </a:lnTo>
                <a:lnTo>
                  <a:pt x="278188" y="49020"/>
                </a:lnTo>
                <a:lnTo>
                  <a:pt x="222975" y="57470"/>
                </a:lnTo>
                <a:lnTo>
                  <a:pt x="173144" y="66427"/>
                </a:lnTo>
                <a:lnTo>
                  <a:pt x="128992" y="75858"/>
                </a:lnTo>
                <a:lnTo>
                  <a:pt x="90816" y="85725"/>
                </a:lnTo>
                <a:lnTo>
                  <a:pt x="33586" y="106622"/>
                </a:lnTo>
                <a:lnTo>
                  <a:pt x="3830" y="128830"/>
                </a:lnTo>
                <a:lnTo>
                  <a:pt x="0" y="14033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5" name="object 115"/>
          <p:cNvSpPr/>
          <p:nvPr/>
        </p:nvSpPr>
        <p:spPr>
          <a:xfrm>
            <a:off x="2559050" y="5105401"/>
            <a:ext cx="2311399" cy="1371600"/>
          </a:xfrm>
          <a:custGeom>
            <a:avLst/>
            <a:gdLst/>
            <a:ahLst/>
            <a:cxnLst/>
            <a:rect l="l" t="t" r="r" b="b"/>
            <a:pathLst>
              <a:path w="2311400" h="1371600">
                <a:moveTo>
                  <a:pt x="2311400" y="140334"/>
                </a:moveTo>
                <a:lnTo>
                  <a:pt x="2277813" y="174040"/>
                </a:lnTo>
                <a:lnTo>
                  <a:pt x="2220583" y="194925"/>
                </a:lnTo>
                <a:lnTo>
                  <a:pt x="2182407" y="204784"/>
                </a:lnTo>
                <a:lnTo>
                  <a:pt x="2138255" y="214206"/>
                </a:lnTo>
                <a:lnTo>
                  <a:pt x="2088424" y="223155"/>
                </a:lnTo>
                <a:lnTo>
                  <a:pt x="2033211" y="231595"/>
                </a:lnTo>
                <a:lnTo>
                  <a:pt x="1972913" y="239490"/>
                </a:lnTo>
                <a:lnTo>
                  <a:pt x="1907828" y="246804"/>
                </a:lnTo>
                <a:lnTo>
                  <a:pt x="1838252" y="253501"/>
                </a:lnTo>
                <a:lnTo>
                  <a:pt x="1764485" y="259545"/>
                </a:lnTo>
                <a:lnTo>
                  <a:pt x="1686822" y="264899"/>
                </a:lnTo>
                <a:lnTo>
                  <a:pt x="1605561" y="269529"/>
                </a:lnTo>
                <a:lnTo>
                  <a:pt x="1521000" y="273398"/>
                </a:lnTo>
                <a:lnTo>
                  <a:pt x="1433436" y="276470"/>
                </a:lnTo>
                <a:lnTo>
                  <a:pt x="1343166" y="278708"/>
                </a:lnTo>
                <a:lnTo>
                  <a:pt x="1250488" y="280078"/>
                </a:lnTo>
                <a:lnTo>
                  <a:pt x="1155700" y="280543"/>
                </a:lnTo>
                <a:lnTo>
                  <a:pt x="1060911" y="280078"/>
                </a:lnTo>
                <a:lnTo>
                  <a:pt x="968233" y="278708"/>
                </a:lnTo>
                <a:lnTo>
                  <a:pt x="877963" y="276470"/>
                </a:lnTo>
                <a:lnTo>
                  <a:pt x="790399" y="273398"/>
                </a:lnTo>
                <a:lnTo>
                  <a:pt x="705838" y="269529"/>
                </a:lnTo>
                <a:lnTo>
                  <a:pt x="624577" y="264899"/>
                </a:lnTo>
                <a:lnTo>
                  <a:pt x="546914" y="259545"/>
                </a:lnTo>
                <a:lnTo>
                  <a:pt x="473147" y="253501"/>
                </a:lnTo>
                <a:lnTo>
                  <a:pt x="403571" y="246804"/>
                </a:lnTo>
                <a:lnTo>
                  <a:pt x="338486" y="239490"/>
                </a:lnTo>
                <a:lnTo>
                  <a:pt x="278188" y="231595"/>
                </a:lnTo>
                <a:lnTo>
                  <a:pt x="222975" y="223155"/>
                </a:lnTo>
                <a:lnTo>
                  <a:pt x="173144" y="214206"/>
                </a:lnTo>
                <a:lnTo>
                  <a:pt x="128992" y="204784"/>
                </a:lnTo>
                <a:lnTo>
                  <a:pt x="90816" y="194925"/>
                </a:lnTo>
                <a:lnTo>
                  <a:pt x="33586" y="174040"/>
                </a:lnTo>
                <a:lnTo>
                  <a:pt x="0" y="140334"/>
                </a:lnTo>
                <a:lnTo>
                  <a:pt x="3830" y="128830"/>
                </a:lnTo>
                <a:lnTo>
                  <a:pt x="15125" y="117580"/>
                </a:lnTo>
                <a:lnTo>
                  <a:pt x="58915" y="95991"/>
                </a:lnTo>
                <a:lnTo>
                  <a:pt x="128992" y="75858"/>
                </a:lnTo>
                <a:lnTo>
                  <a:pt x="173144" y="66427"/>
                </a:lnTo>
                <a:lnTo>
                  <a:pt x="222975" y="57470"/>
                </a:lnTo>
                <a:lnTo>
                  <a:pt x="278188" y="49020"/>
                </a:lnTo>
                <a:lnTo>
                  <a:pt x="338486" y="41116"/>
                </a:lnTo>
                <a:lnTo>
                  <a:pt x="403571" y="33792"/>
                </a:lnTo>
                <a:lnTo>
                  <a:pt x="473147" y="27086"/>
                </a:lnTo>
                <a:lnTo>
                  <a:pt x="546914" y="21033"/>
                </a:lnTo>
                <a:lnTo>
                  <a:pt x="624577" y="15670"/>
                </a:lnTo>
                <a:lnTo>
                  <a:pt x="705838" y="11033"/>
                </a:lnTo>
                <a:lnTo>
                  <a:pt x="790399" y="7157"/>
                </a:lnTo>
                <a:lnTo>
                  <a:pt x="877963" y="4080"/>
                </a:lnTo>
                <a:lnTo>
                  <a:pt x="968233" y="1837"/>
                </a:lnTo>
                <a:lnTo>
                  <a:pt x="1060911" y="465"/>
                </a:lnTo>
                <a:lnTo>
                  <a:pt x="1155700" y="0"/>
                </a:lnTo>
                <a:lnTo>
                  <a:pt x="1250488" y="465"/>
                </a:lnTo>
                <a:lnTo>
                  <a:pt x="1343166" y="1837"/>
                </a:lnTo>
                <a:lnTo>
                  <a:pt x="1433436" y="4080"/>
                </a:lnTo>
                <a:lnTo>
                  <a:pt x="1521000" y="7157"/>
                </a:lnTo>
                <a:lnTo>
                  <a:pt x="1605561" y="11033"/>
                </a:lnTo>
                <a:lnTo>
                  <a:pt x="1686822" y="15670"/>
                </a:lnTo>
                <a:lnTo>
                  <a:pt x="1764485" y="21033"/>
                </a:lnTo>
                <a:lnTo>
                  <a:pt x="1838252" y="27086"/>
                </a:lnTo>
                <a:lnTo>
                  <a:pt x="1907828" y="33792"/>
                </a:lnTo>
                <a:lnTo>
                  <a:pt x="1972913" y="41116"/>
                </a:lnTo>
                <a:lnTo>
                  <a:pt x="2033211" y="49020"/>
                </a:lnTo>
                <a:lnTo>
                  <a:pt x="2088424" y="57470"/>
                </a:lnTo>
                <a:lnTo>
                  <a:pt x="2138255" y="66427"/>
                </a:lnTo>
                <a:lnTo>
                  <a:pt x="2182407" y="75858"/>
                </a:lnTo>
                <a:lnTo>
                  <a:pt x="2220583" y="85724"/>
                </a:lnTo>
                <a:lnTo>
                  <a:pt x="2277813" y="106622"/>
                </a:lnTo>
                <a:lnTo>
                  <a:pt x="2311400" y="140334"/>
                </a:lnTo>
                <a:lnTo>
                  <a:pt x="2311400" y="1231315"/>
                </a:lnTo>
                <a:lnTo>
                  <a:pt x="2307569" y="1242822"/>
                </a:lnTo>
                <a:lnTo>
                  <a:pt x="2296274" y="1254072"/>
                </a:lnTo>
                <a:lnTo>
                  <a:pt x="2252484" y="1275658"/>
                </a:lnTo>
                <a:lnTo>
                  <a:pt x="2182407" y="1295787"/>
                </a:lnTo>
                <a:lnTo>
                  <a:pt x="2138255" y="1305214"/>
                </a:lnTo>
                <a:lnTo>
                  <a:pt x="2088424" y="1314168"/>
                </a:lnTo>
                <a:lnTo>
                  <a:pt x="2033211" y="1322613"/>
                </a:lnTo>
                <a:lnTo>
                  <a:pt x="1972913" y="1330513"/>
                </a:lnTo>
                <a:lnTo>
                  <a:pt x="1907828" y="1337833"/>
                </a:lnTo>
                <a:lnTo>
                  <a:pt x="1838252" y="1344534"/>
                </a:lnTo>
                <a:lnTo>
                  <a:pt x="1764485" y="1350583"/>
                </a:lnTo>
                <a:lnTo>
                  <a:pt x="1686822" y="1355942"/>
                </a:lnTo>
                <a:lnTo>
                  <a:pt x="1605561" y="1360576"/>
                </a:lnTo>
                <a:lnTo>
                  <a:pt x="1521000" y="1364448"/>
                </a:lnTo>
                <a:lnTo>
                  <a:pt x="1433436" y="1367523"/>
                </a:lnTo>
                <a:lnTo>
                  <a:pt x="1343166" y="1369764"/>
                </a:lnTo>
                <a:lnTo>
                  <a:pt x="1250488" y="1371135"/>
                </a:lnTo>
                <a:lnTo>
                  <a:pt x="1155700" y="1371600"/>
                </a:lnTo>
                <a:lnTo>
                  <a:pt x="1060911" y="1371135"/>
                </a:lnTo>
                <a:lnTo>
                  <a:pt x="968233" y="1369764"/>
                </a:lnTo>
                <a:lnTo>
                  <a:pt x="877963" y="1367523"/>
                </a:lnTo>
                <a:lnTo>
                  <a:pt x="790399" y="1364448"/>
                </a:lnTo>
                <a:lnTo>
                  <a:pt x="705838" y="1360576"/>
                </a:lnTo>
                <a:lnTo>
                  <a:pt x="624577" y="1355942"/>
                </a:lnTo>
                <a:lnTo>
                  <a:pt x="546914" y="1350583"/>
                </a:lnTo>
                <a:lnTo>
                  <a:pt x="473147" y="1344534"/>
                </a:lnTo>
                <a:lnTo>
                  <a:pt x="403571" y="1337833"/>
                </a:lnTo>
                <a:lnTo>
                  <a:pt x="338486" y="1330513"/>
                </a:lnTo>
                <a:lnTo>
                  <a:pt x="278188" y="1322613"/>
                </a:lnTo>
                <a:lnTo>
                  <a:pt x="222975" y="1314168"/>
                </a:lnTo>
                <a:lnTo>
                  <a:pt x="173144" y="1305214"/>
                </a:lnTo>
                <a:lnTo>
                  <a:pt x="128992" y="1295787"/>
                </a:lnTo>
                <a:lnTo>
                  <a:pt x="90816" y="1285923"/>
                </a:lnTo>
                <a:lnTo>
                  <a:pt x="33586" y="1265029"/>
                </a:lnTo>
                <a:lnTo>
                  <a:pt x="0" y="1231315"/>
                </a:lnTo>
                <a:lnTo>
                  <a:pt x="0" y="140334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6" name="object 116"/>
          <p:cNvSpPr/>
          <p:nvPr/>
        </p:nvSpPr>
        <p:spPr>
          <a:xfrm>
            <a:off x="165100" y="5245736"/>
            <a:ext cx="2311399" cy="1231265"/>
          </a:xfrm>
          <a:custGeom>
            <a:avLst/>
            <a:gdLst/>
            <a:ahLst/>
            <a:cxnLst/>
            <a:rect l="l" t="t" r="r" b="b"/>
            <a:pathLst>
              <a:path w="2311400" h="1231264">
                <a:moveTo>
                  <a:pt x="3831" y="11504"/>
                </a:moveTo>
                <a:lnTo>
                  <a:pt x="0" y="0"/>
                </a:lnTo>
                <a:lnTo>
                  <a:pt x="0" y="1090980"/>
                </a:lnTo>
                <a:lnTo>
                  <a:pt x="33587" y="1124694"/>
                </a:lnTo>
                <a:lnTo>
                  <a:pt x="90820" y="1145588"/>
                </a:lnTo>
                <a:lnTo>
                  <a:pt x="128996" y="1155452"/>
                </a:lnTo>
                <a:lnTo>
                  <a:pt x="173150" y="1164879"/>
                </a:lnTo>
                <a:lnTo>
                  <a:pt x="222982" y="1173833"/>
                </a:lnTo>
                <a:lnTo>
                  <a:pt x="278197" y="1182278"/>
                </a:lnTo>
                <a:lnTo>
                  <a:pt x="338496" y="1190178"/>
                </a:lnTo>
                <a:lnTo>
                  <a:pt x="403582" y="1197498"/>
                </a:lnTo>
                <a:lnTo>
                  <a:pt x="473158" y="1204199"/>
                </a:lnTo>
                <a:lnTo>
                  <a:pt x="546926" y="1210248"/>
                </a:lnTo>
                <a:lnTo>
                  <a:pt x="624588" y="1215607"/>
                </a:lnTo>
                <a:lnTo>
                  <a:pt x="705848" y="1220241"/>
                </a:lnTo>
                <a:lnTo>
                  <a:pt x="790408" y="1224113"/>
                </a:lnTo>
                <a:lnTo>
                  <a:pt x="877971" y="1227188"/>
                </a:lnTo>
                <a:lnTo>
                  <a:pt x="968239" y="1229429"/>
                </a:lnTo>
                <a:lnTo>
                  <a:pt x="1060914" y="1230800"/>
                </a:lnTo>
                <a:lnTo>
                  <a:pt x="1155700" y="1231264"/>
                </a:lnTo>
                <a:lnTo>
                  <a:pt x="1250488" y="1230800"/>
                </a:lnTo>
                <a:lnTo>
                  <a:pt x="1343166" y="1229429"/>
                </a:lnTo>
                <a:lnTo>
                  <a:pt x="1433436" y="1227188"/>
                </a:lnTo>
                <a:lnTo>
                  <a:pt x="1521000" y="1224113"/>
                </a:lnTo>
                <a:lnTo>
                  <a:pt x="1605561" y="1220241"/>
                </a:lnTo>
                <a:lnTo>
                  <a:pt x="1686822" y="1215607"/>
                </a:lnTo>
                <a:lnTo>
                  <a:pt x="1764485" y="1210248"/>
                </a:lnTo>
                <a:lnTo>
                  <a:pt x="1838252" y="1204199"/>
                </a:lnTo>
                <a:lnTo>
                  <a:pt x="1907828" y="1197498"/>
                </a:lnTo>
                <a:lnTo>
                  <a:pt x="1972913" y="1190178"/>
                </a:lnTo>
                <a:lnTo>
                  <a:pt x="2033211" y="1182278"/>
                </a:lnTo>
                <a:lnTo>
                  <a:pt x="2088424" y="1173833"/>
                </a:lnTo>
                <a:lnTo>
                  <a:pt x="2138255" y="1164879"/>
                </a:lnTo>
                <a:lnTo>
                  <a:pt x="2182407" y="1155452"/>
                </a:lnTo>
                <a:lnTo>
                  <a:pt x="2220583" y="1145588"/>
                </a:lnTo>
                <a:lnTo>
                  <a:pt x="2277813" y="1124694"/>
                </a:lnTo>
                <a:lnTo>
                  <a:pt x="2311400" y="1090980"/>
                </a:lnTo>
                <a:lnTo>
                  <a:pt x="2311400" y="0"/>
                </a:lnTo>
                <a:lnTo>
                  <a:pt x="2307569" y="11504"/>
                </a:lnTo>
                <a:lnTo>
                  <a:pt x="2296274" y="22751"/>
                </a:lnTo>
                <a:lnTo>
                  <a:pt x="2252484" y="44330"/>
                </a:lnTo>
                <a:lnTo>
                  <a:pt x="2182407" y="64449"/>
                </a:lnTo>
                <a:lnTo>
                  <a:pt x="2138255" y="73871"/>
                </a:lnTo>
                <a:lnTo>
                  <a:pt x="2088424" y="82820"/>
                </a:lnTo>
                <a:lnTo>
                  <a:pt x="2033211" y="91260"/>
                </a:lnTo>
                <a:lnTo>
                  <a:pt x="1972913" y="99155"/>
                </a:lnTo>
                <a:lnTo>
                  <a:pt x="1907828" y="106469"/>
                </a:lnTo>
                <a:lnTo>
                  <a:pt x="1838252" y="113166"/>
                </a:lnTo>
                <a:lnTo>
                  <a:pt x="1764485" y="119210"/>
                </a:lnTo>
                <a:lnTo>
                  <a:pt x="1686822" y="124564"/>
                </a:lnTo>
                <a:lnTo>
                  <a:pt x="1605561" y="129194"/>
                </a:lnTo>
                <a:lnTo>
                  <a:pt x="1521000" y="133063"/>
                </a:lnTo>
                <a:lnTo>
                  <a:pt x="1433436" y="136135"/>
                </a:lnTo>
                <a:lnTo>
                  <a:pt x="1343166" y="138373"/>
                </a:lnTo>
                <a:lnTo>
                  <a:pt x="1250488" y="139743"/>
                </a:lnTo>
                <a:lnTo>
                  <a:pt x="1155700" y="140207"/>
                </a:lnTo>
                <a:lnTo>
                  <a:pt x="1060912" y="139743"/>
                </a:lnTo>
                <a:lnTo>
                  <a:pt x="968236" y="138373"/>
                </a:lnTo>
                <a:lnTo>
                  <a:pt x="877967" y="136135"/>
                </a:lnTo>
                <a:lnTo>
                  <a:pt x="790404" y="133063"/>
                </a:lnTo>
                <a:lnTo>
                  <a:pt x="705843" y="129194"/>
                </a:lnTo>
                <a:lnTo>
                  <a:pt x="624583" y="124564"/>
                </a:lnTo>
                <a:lnTo>
                  <a:pt x="546920" y="119210"/>
                </a:lnTo>
                <a:lnTo>
                  <a:pt x="473152" y="113166"/>
                </a:lnTo>
                <a:lnTo>
                  <a:pt x="403577" y="106469"/>
                </a:lnTo>
                <a:lnTo>
                  <a:pt x="338491" y="99155"/>
                </a:lnTo>
                <a:lnTo>
                  <a:pt x="278193" y="91260"/>
                </a:lnTo>
                <a:lnTo>
                  <a:pt x="222979" y="82820"/>
                </a:lnTo>
                <a:lnTo>
                  <a:pt x="173147" y="73871"/>
                </a:lnTo>
                <a:lnTo>
                  <a:pt x="128994" y="64449"/>
                </a:lnTo>
                <a:lnTo>
                  <a:pt x="90818" y="54590"/>
                </a:lnTo>
                <a:lnTo>
                  <a:pt x="33586" y="33705"/>
                </a:lnTo>
                <a:lnTo>
                  <a:pt x="15125" y="22751"/>
                </a:lnTo>
                <a:lnTo>
                  <a:pt x="3831" y="1150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7" name="object 117"/>
          <p:cNvSpPr/>
          <p:nvPr/>
        </p:nvSpPr>
        <p:spPr>
          <a:xfrm>
            <a:off x="165100" y="5105401"/>
            <a:ext cx="2311399" cy="280543"/>
          </a:xfrm>
          <a:custGeom>
            <a:avLst/>
            <a:gdLst/>
            <a:ahLst/>
            <a:cxnLst/>
            <a:rect l="l" t="t" r="r" b="b"/>
            <a:pathLst>
              <a:path w="2311400" h="280543">
                <a:moveTo>
                  <a:pt x="0" y="140334"/>
                </a:moveTo>
                <a:lnTo>
                  <a:pt x="3831" y="151839"/>
                </a:lnTo>
                <a:lnTo>
                  <a:pt x="15126" y="163086"/>
                </a:lnTo>
                <a:lnTo>
                  <a:pt x="58918" y="184665"/>
                </a:lnTo>
                <a:lnTo>
                  <a:pt x="128996" y="204784"/>
                </a:lnTo>
                <a:lnTo>
                  <a:pt x="173150" y="214206"/>
                </a:lnTo>
                <a:lnTo>
                  <a:pt x="222982" y="223155"/>
                </a:lnTo>
                <a:lnTo>
                  <a:pt x="278197" y="231595"/>
                </a:lnTo>
                <a:lnTo>
                  <a:pt x="338496" y="239490"/>
                </a:lnTo>
                <a:lnTo>
                  <a:pt x="403582" y="246804"/>
                </a:lnTo>
                <a:lnTo>
                  <a:pt x="473158" y="253501"/>
                </a:lnTo>
                <a:lnTo>
                  <a:pt x="546926" y="259545"/>
                </a:lnTo>
                <a:lnTo>
                  <a:pt x="624588" y="264899"/>
                </a:lnTo>
                <a:lnTo>
                  <a:pt x="705848" y="269529"/>
                </a:lnTo>
                <a:lnTo>
                  <a:pt x="790408" y="273398"/>
                </a:lnTo>
                <a:lnTo>
                  <a:pt x="877971" y="276470"/>
                </a:lnTo>
                <a:lnTo>
                  <a:pt x="968239" y="278708"/>
                </a:lnTo>
                <a:lnTo>
                  <a:pt x="1060914" y="280078"/>
                </a:lnTo>
                <a:lnTo>
                  <a:pt x="1155700" y="280543"/>
                </a:lnTo>
                <a:lnTo>
                  <a:pt x="1250488" y="280078"/>
                </a:lnTo>
                <a:lnTo>
                  <a:pt x="1343166" y="278708"/>
                </a:lnTo>
                <a:lnTo>
                  <a:pt x="1433436" y="276470"/>
                </a:lnTo>
                <a:lnTo>
                  <a:pt x="1521000" y="273398"/>
                </a:lnTo>
                <a:lnTo>
                  <a:pt x="1605561" y="269529"/>
                </a:lnTo>
                <a:lnTo>
                  <a:pt x="1686822" y="264899"/>
                </a:lnTo>
                <a:lnTo>
                  <a:pt x="1764485" y="259545"/>
                </a:lnTo>
                <a:lnTo>
                  <a:pt x="1838252" y="253501"/>
                </a:lnTo>
                <a:lnTo>
                  <a:pt x="1907828" y="246804"/>
                </a:lnTo>
                <a:lnTo>
                  <a:pt x="1972913" y="239490"/>
                </a:lnTo>
                <a:lnTo>
                  <a:pt x="2033211" y="231595"/>
                </a:lnTo>
                <a:lnTo>
                  <a:pt x="2088424" y="223155"/>
                </a:lnTo>
                <a:lnTo>
                  <a:pt x="2138255" y="214206"/>
                </a:lnTo>
                <a:lnTo>
                  <a:pt x="2182407" y="204784"/>
                </a:lnTo>
                <a:lnTo>
                  <a:pt x="2220583" y="194925"/>
                </a:lnTo>
                <a:lnTo>
                  <a:pt x="2277813" y="174040"/>
                </a:lnTo>
                <a:lnTo>
                  <a:pt x="2311400" y="140334"/>
                </a:lnTo>
                <a:lnTo>
                  <a:pt x="2277813" y="106622"/>
                </a:lnTo>
                <a:lnTo>
                  <a:pt x="2220583" y="85724"/>
                </a:lnTo>
                <a:lnTo>
                  <a:pt x="2182407" y="75858"/>
                </a:lnTo>
                <a:lnTo>
                  <a:pt x="2138255" y="66427"/>
                </a:lnTo>
                <a:lnTo>
                  <a:pt x="2088424" y="57470"/>
                </a:lnTo>
                <a:lnTo>
                  <a:pt x="2033211" y="49020"/>
                </a:lnTo>
                <a:lnTo>
                  <a:pt x="1972913" y="41116"/>
                </a:lnTo>
                <a:lnTo>
                  <a:pt x="1907828" y="33792"/>
                </a:lnTo>
                <a:lnTo>
                  <a:pt x="1838252" y="27086"/>
                </a:lnTo>
                <a:lnTo>
                  <a:pt x="1764485" y="21033"/>
                </a:lnTo>
                <a:lnTo>
                  <a:pt x="1686822" y="15670"/>
                </a:lnTo>
                <a:lnTo>
                  <a:pt x="1605561" y="11033"/>
                </a:lnTo>
                <a:lnTo>
                  <a:pt x="1521000" y="7157"/>
                </a:lnTo>
                <a:lnTo>
                  <a:pt x="1433436" y="4080"/>
                </a:lnTo>
                <a:lnTo>
                  <a:pt x="1343166" y="1837"/>
                </a:lnTo>
                <a:lnTo>
                  <a:pt x="1250488" y="465"/>
                </a:lnTo>
                <a:lnTo>
                  <a:pt x="1155700" y="0"/>
                </a:lnTo>
                <a:lnTo>
                  <a:pt x="1060916" y="465"/>
                </a:lnTo>
                <a:lnTo>
                  <a:pt x="968242" y="1837"/>
                </a:lnTo>
                <a:lnTo>
                  <a:pt x="877975" y="4080"/>
                </a:lnTo>
                <a:lnTo>
                  <a:pt x="790413" y="7157"/>
                </a:lnTo>
                <a:lnTo>
                  <a:pt x="705854" y="11033"/>
                </a:lnTo>
                <a:lnTo>
                  <a:pt x="624594" y="15670"/>
                </a:lnTo>
                <a:lnTo>
                  <a:pt x="546931" y="21033"/>
                </a:lnTo>
                <a:lnTo>
                  <a:pt x="473163" y="27086"/>
                </a:lnTo>
                <a:lnTo>
                  <a:pt x="403587" y="33792"/>
                </a:lnTo>
                <a:lnTo>
                  <a:pt x="338501" y="41116"/>
                </a:lnTo>
                <a:lnTo>
                  <a:pt x="278201" y="49020"/>
                </a:lnTo>
                <a:lnTo>
                  <a:pt x="222986" y="57470"/>
                </a:lnTo>
                <a:lnTo>
                  <a:pt x="173153" y="66427"/>
                </a:lnTo>
                <a:lnTo>
                  <a:pt x="128999" y="75858"/>
                </a:lnTo>
                <a:lnTo>
                  <a:pt x="90822" y="85725"/>
                </a:lnTo>
                <a:lnTo>
                  <a:pt x="33588" y="106622"/>
                </a:lnTo>
                <a:lnTo>
                  <a:pt x="3831" y="128830"/>
                </a:lnTo>
                <a:lnTo>
                  <a:pt x="0" y="14033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8" name="object 118"/>
          <p:cNvSpPr/>
          <p:nvPr/>
        </p:nvSpPr>
        <p:spPr>
          <a:xfrm>
            <a:off x="165100" y="5105401"/>
            <a:ext cx="2311399" cy="1371600"/>
          </a:xfrm>
          <a:custGeom>
            <a:avLst/>
            <a:gdLst/>
            <a:ahLst/>
            <a:cxnLst/>
            <a:rect l="l" t="t" r="r" b="b"/>
            <a:pathLst>
              <a:path w="2311400" h="1371600">
                <a:moveTo>
                  <a:pt x="2311400" y="140334"/>
                </a:moveTo>
                <a:lnTo>
                  <a:pt x="2277813" y="174040"/>
                </a:lnTo>
                <a:lnTo>
                  <a:pt x="2220583" y="194925"/>
                </a:lnTo>
                <a:lnTo>
                  <a:pt x="2182407" y="204784"/>
                </a:lnTo>
                <a:lnTo>
                  <a:pt x="2138255" y="214206"/>
                </a:lnTo>
                <a:lnTo>
                  <a:pt x="2088424" y="223155"/>
                </a:lnTo>
                <a:lnTo>
                  <a:pt x="2033211" y="231595"/>
                </a:lnTo>
                <a:lnTo>
                  <a:pt x="1972913" y="239490"/>
                </a:lnTo>
                <a:lnTo>
                  <a:pt x="1907828" y="246804"/>
                </a:lnTo>
                <a:lnTo>
                  <a:pt x="1838252" y="253501"/>
                </a:lnTo>
                <a:lnTo>
                  <a:pt x="1764485" y="259545"/>
                </a:lnTo>
                <a:lnTo>
                  <a:pt x="1686822" y="264899"/>
                </a:lnTo>
                <a:lnTo>
                  <a:pt x="1605561" y="269529"/>
                </a:lnTo>
                <a:lnTo>
                  <a:pt x="1521000" y="273398"/>
                </a:lnTo>
                <a:lnTo>
                  <a:pt x="1433436" y="276470"/>
                </a:lnTo>
                <a:lnTo>
                  <a:pt x="1343166" y="278708"/>
                </a:lnTo>
                <a:lnTo>
                  <a:pt x="1250488" y="280078"/>
                </a:lnTo>
                <a:lnTo>
                  <a:pt x="1155700" y="280543"/>
                </a:lnTo>
                <a:lnTo>
                  <a:pt x="1060914" y="280078"/>
                </a:lnTo>
                <a:lnTo>
                  <a:pt x="968239" y="278708"/>
                </a:lnTo>
                <a:lnTo>
                  <a:pt x="877971" y="276470"/>
                </a:lnTo>
                <a:lnTo>
                  <a:pt x="790408" y="273398"/>
                </a:lnTo>
                <a:lnTo>
                  <a:pt x="705848" y="269529"/>
                </a:lnTo>
                <a:lnTo>
                  <a:pt x="624588" y="264899"/>
                </a:lnTo>
                <a:lnTo>
                  <a:pt x="546926" y="259545"/>
                </a:lnTo>
                <a:lnTo>
                  <a:pt x="473158" y="253501"/>
                </a:lnTo>
                <a:lnTo>
                  <a:pt x="403582" y="246804"/>
                </a:lnTo>
                <a:lnTo>
                  <a:pt x="338496" y="239490"/>
                </a:lnTo>
                <a:lnTo>
                  <a:pt x="278197" y="231595"/>
                </a:lnTo>
                <a:lnTo>
                  <a:pt x="222982" y="223155"/>
                </a:lnTo>
                <a:lnTo>
                  <a:pt x="173150" y="214206"/>
                </a:lnTo>
                <a:lnTo>
                  <a:pt x="128996" y="204784"/>
                </a:lnTo>
                <a:lnTo>
                  <a:pt x="90820" y="194925"/>
                </a:lnTo>
                <a:lnTo>
                  <a:pt x="33587" y="174040"/>
                </a:lnTo>
                <a:lnTo>
                  <a:pt x="0" y="140334"/>
                </a:lnTo>
                <a:lnTo>
                  <a:pt x="3831" y="128830"/>
                </a:lnTo>
                <a:lnTo>
                  <a:pt x="15126" y="117580"/>
                </a:lnTo>
                <a:lnTo>
                  <a:pt x="58919" y="95991"/>
                </a:lnTo>
                <a:lnTo>
                  <a:pt x="128999" y="75858"/>
                </a:lnTo>
                <a:lnTo>
                  <a:pt x="173153" y="66427"/>
                </a:lnTo>
                <a:lnTo>
                  <a:pt x="222986" y="57470"/>
                </a:lnTo>
                <a:lnTo>
                  <a:pt x="278201" y="49020"/>
                </a:lnTo>
                <a:lnTo>
                  <a:pt x="338501" y="41116"/>
                </a:lnTo>
                <a:lnTo>
                  <a:pt x="403587" y="33792"/>
                </a:lnTo>
                <a:lnTo>
                  <a:pt x="473163" y="27086"/>
                </a:lnTo>
                <a:lnTo>
                  <a:pt x="546931" y="21033"/>
                </a:lnTo>
                <a:lnTo>
                  <a:pt x="624594" y="15670"/>
                </a:lnTo>
                <a:lnTo>
                  <a:pt x="705854" y="11033"/>
                </a:lnTo>
                <a:lnTo>
                  <a:pt x="790413" y="7157"/>
                </a:lnTo>
                <a:lnTo>
                  <a:pt x="877975" y="4080"/>
                </a:lnTo>
                <a:lnTo>
                  <a:pt x="968242" y="1837"/>
                </a:lnTo>
                <a:lnTo>
                  <a:pt x="1060916" y="465"/>
                </a:lnTo>
                <a:lnTo>
                  <a:pt x="1155700" y="0"/>
                </a:lnTo>
                <a:lnTo>
                  <a:pt x="1250488" y="465"/>
                </a:lnTo>
                <a:lnTo>
                  <a:pt x="1343166" y="1837"/>
                </a:lnTo>
                <a:lnTo>
                  <a:pt x="1433436" y="4080"/>
                </a:lnTo>
                <a:lnTo>
                  <a:pt x="1521000" y="7157"/>
                </a:lnTo>
                <a:lnTo>
                  <a:pt x="1605561" y="11033"/>
                </a:lnTo>
                <a:lnTo>
                  <a:pt x="1686822" y="15670"/>
                </a:lnTo>
                <a:lnTo>
                  <a:pt x="1764485" y="21033"/>
                </a:lnTo>
                <a:lnTo>
                  <a:pt x="1838252" y="27086"/>
                </a:lnTo>
                <a:lnTo>
                  <a:pt x="1907828" y="33792"/>
                </a:lnTo>
                <a:lnTo>
                  <a:pt x="1972913" y="41116"/>
                </a:lnTo>
                <a:lnTo>
                  <a:pt x="2033211" y="49020"/>
                </a:lnTo>
                <a:lnTo>
                  <a:pt x="2088424" y="57470"/>
                </a:lnTo>
                <a:lnTo>
                  <a:pt x="2138255" y="66427"/>
                </a:lnTo>
                <a:lnTo>
                  <a:pt x="2182407" y="75858"/>
                </a:lnTo>
                <a:lnTo>
                  <a:pt x="2220583" y="85724"/>
                </a:lnTo>
                <a:lnTo>
                  <a:pt x="2277813" y="106622"/>
                </a:lnTo>
                <a:lnTo>
                  <a:pt x="2311400" y="140334"/>
                </a:lnTo>
                <a:lnTo>
                  <a:pt x="2311400" y="1231315"/>
                </a:lnTo>
                <a:lnTo>
                  <a:pt x="2307569" y="1242822"/>
                </a:lnTo>
                <a:lnTo>
                  <a:pt x="2296274" y="1254072"/>
                </a:lnTo>
                <a:lnTo>
                  <a:pt x="2252484" y="1275658"/>
                </a:lnTo>
                <a:lnTo>
                  <a:pt x="2182407" y="1295787"/>
                </a:lnTo>
                <a:lnTo>
                  <a:pt x="2138255" y="1305214"/>
                </a:lnTo>
                <a:lnTo>
                  <a:pt x="2088424" y="1314168"/>
                </a:lnTo>
                <a:lnTo>
                  <a:pt x="2033211" y="1322613"/>
                </a:lnTo>
                <a:lnTo>
                  <a:pt x="1972913" y="1330513"/>
                </a:lnTo>
                <a:lnTo>
                  <a:pt x="1907828" y="1337833"/>
                </a:lnTo>
                <a:lnTo>
                  <a:pt x="1838252" y="1344534"/>
                </a:lnTo>
                <a:lnTo>
                  <a:pt x="1764485" y="1350583"/>
                </a:lnTo>
                <a:lnTo>
                  <a:pt x="1686822" y="1355942"/>
                </a:lnTo>
                <a:lnTo>
                  <a:pt x="1605561" y="1360576"/>
                </a:lnTo>
                <a:lnTo>
                  <a:pt x="1521000" y="1364448"/>
                </a:lnTo>
                <a:lnTo>
                  <a:pt x="1433436" y="1367523"/>
                </a:lnTo>
                <a:lnTo>
                  <a:pt x="1343166" y="1369764"/>
                </a:lnTo>
                <a:lnTo>
                  <a:pt x="1250488" y="1371135"/>
                </a:lnTo>
                <a:lnTo>
                  <a:pt x="1155700" y="1371600"/>
                </a:lnTo>
                <a:lnTo>
                  <a:pt x="1060914" y="1371135"/>
                </a:lnTo>
                <a:lnTo>
                  <a:pt x="968239" y="1369764"/>
                </a:lnTo>
                <a:lnTo>
                  <a:pt x="877971" y="1367523"/>
                </a:lnTo>
                <a:lnTo>
                  <a:pt x="790408" y="1364448"/>
                </a:lnTo>
                <a:lnTo>
                  <a:pt x="705848" y="1360576"/>
                </a:lnTo>
                <a:lnTo>
                  <a:pt x="624588" y="1355942"/>
                </a:lnTo>
                <a:lnTo>
                  <a:pt x="546926" y="1350583"/>
                </a:lnTo>
                <a:lnTo>
                  <a:pt x="473158" y="1344534"/>
                </a:lnTo>
                <a:lnTo>
                  <a:pt x="403582" y="1337833"/>
                </a:lnTo>
                <a:lnTo>
                  <a:pt x="338496" y="1330513"/>
                </a:lnTo>
                <a:lnTo>
                  <a:pt x="278197" y="1322613"/>
                </a:lnTo>
                <a:lnTo>
                  <a:pt x="222982" y="1314168"/>
                </a:lnTo>
                <a:lnTo>
                  <a:pt x="173150" y="1305214"/>
                </a:lnTo>
                <a:lnTo>
                  <a:pt x="128996" y="1295787"/>
                </a:lnTo>
                <a:lnTo>
                  <a:pt x="90820" y="1285923"/>
                </a:lnTo>
                <a:lnTo>
                  <a:pt x="33587" y="1265029"/>
                </a:lnTo>
                <a:lnTo>
                  <a:pt x="0" y="1231315"/>
                </a:lnTo>
                <a:lnTo>
                  <a:pt x="0" y="140334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9" name="object 119"/>
          <p:cNvSpPr/>
          <p:nvPr/>
        </p:nvSpPr>
        <p:spPr>
          <a:xfrm>
            <a:off x="8046719" y="4209289"/>
            <a:ext cx="365760" cy="541019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0" name="object 120"/>
          <p:cNvSpPr/>
          <p:nvPr/>
        </p:nvSpPr>
        <p:spPr>
          <a:xfrm>
            <a:off x="8122032" y="4250564"/>
            <a:ext cx="215519" cy="397637"/>
          </a:xfrm>
          <a:custGeom>
            <a:avLst/>
            <a:gdLst/>
            <a:ahLst/>
            <a:cxnLst/>
            <a:rect l="l" t="t" r="r" b="b"/>
            <a:pathLst>
              <a:path w="215519" h="397637">
                <a:moveTo>
                  <a:pt x="107696" y="397637"/>
                </a:moveTo>
                <a:lnTo>
                  <a:pt x="215519" y="205994"/>
                </a:lnTo>
                <a:lnTo>
                  <a:pt x="161671" y="205994"/>
                </a:lnTo>
                <a:lnTo>
                  <a:pt x="161671" y="0"/>
                </a:lnTo>
                <a:lnTo>
                  <a:pt x="53848" y="0"/>
                </a:lnTo>
                <a:lnTo>
                  <a:pt x="53848" y="205994"/>
                </a:lnTo>
                <a:lnTo>
                  <a:pt x="0" y="205994"/>
                </a:lnTo>
                <a:lnTo>
                  <a:pt x="107696" y="397637"/>
                </a:lnTo>
                <a:close/>
              </a:path>
            </a:pathLst>
          </a:custGeom>
          <a:solidFill>
            <a:srgbClr val="B7BD1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1" name="object 121"/>
          <p:cNvSpPr/>
          <p:nvPr/>
        </p:nvSpPr>
        <p:spPr>
          <a:xfrm>
            <a:off x="8122032" y="4250564"/>
            <a:ext cx="215519" cy="397637"/>
          </a:xfrm>
          <a:custGeom>
            <a:avLst/>
            <a:gdLst/>
            <a:ahLst/>
            <a:cxnLst/>
            <a:rect l="l" t="t" r="r" b="b"/>
            <a:pathLst>
              <a:path w="215519" h="397637">
                <a:moveTo>
                  <a:pt x="0" y="205994"/>
                </a:moveTo>
                <a:lnTo>
                  <a:pt x="53848" y="205994"/>
                </a:lnTo>
                <a:lnTo>
                  <a:pt x="53848" y="0"/>
                </a:lnTo>
                <a:lnTo>
                  <a:pt x="161671" y="0"/>
                </a:lnTo>
                <a:lnTo>
                  <a:pt x="161671" y="205994"/>
                </a:lnTo>
                <a:lnTo>
                  <a:pt x="215519" y="205994"/>
                </a:lnTo>
                <a:lnTo>
                  <a:pt x="107696" y="397637"/>
                </a:lnTo>
                <a:lnTo>
                  <a:pt x="0" y="205994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2" name="object 122"/>
          <p:cNvSpPr/>
          <p:nvPr/>
        </p:nvSpPr>
        <p:spPr>
          <a:xfrm>
            <a:off x="7254241" y="4623817"/>
            <a:ext cx="1975103" cy="432816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3" name="object 123"/>
          <p:cNvSpPr/>
          <p:nvPr/>
        </p:nvSpPr>
        <p:spPr>
          <a:xfrm>
            <a:off x="7301104" y="4648137"/>
            <a:ext cx="1880362" cy="338137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4" name="object 124"/>
          <p:cNvSpPr/>
          <p:nvPr/>
        </p:nvSpPr>
        <p:spPr>
          <a:xfrm>
            <a:off x="7301104" y="4648137"/>
            <a:ext cx="1880362" cy="338137"/>
          </a:xfrm>
          <a:custGeom>
            <a:avLst/>
            <a:gdLst/>
            <a:ahLst/>
            <a:cxnLst/>
            <a:rect l="l" t="t" r="r" b="b"/>
            <a:pathLst>
              <a:path w="1880362" h="338137">
                <a:moveTo>
                  <a:pt x="0" y="338137"/>
                </a:moveTo>
                <a:lnTo>
                  <a:pt x="1880362" y="338137"/>
                </a:lnTo>
                <a:lnTo>
                  <a:pt x="1880362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5" name="object 125"/>
          <p:cNvSpPr/>
          <p:nvPr/>
        </p:nvSpPr>
        <p:spPr>
          <a:xfrm>
            <a:off x="2653284" y="4663441"/>
            <a:ext cx="1975105" cy="432816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6" name="object 126"/>
          <p:cNvSpPr/>
          <p:nvPr/>
        </p:nvSpPr>
        <p:spPr>
          <a:xfrm>
            <a:off x="2701163" y="4691063"/>
            <a:ext cx="1880362" cy="338137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7" name="object 127"/>
          <p:cNvSpPr/>
          <p:nvPr/>
        </p:nvSpPr>
        <p:spPr>
          <a:xfrm>
            <a:off x="2701163" y="4691063"/>
            <a:ext cx="1880362" cy="338137"/>
          </a:xfrm>
          <a:custGeom>
            <a:avLst/>
            <a:gdLst/>
            <a:ahLst/>
            <a:cxnLst/>
            <a:rect l="l" t="t" r="r" b="b"/>
            <a:pathLst>
              <a:path w="1880362" h="338137">
                <a:moveTo>
                  <a:pt x="0" y="338137"/>
                </a:moveTo>
                <a:lnTo>
                  <a:pt x="1880362" y="338137"/>
                </a:lnTo>
                <a:lnTo>
                  <a:pt x="1880362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8" name="object 128"/>
          <p:cNvSpPr/>
          <p:nvPr/>
        </p:nvSpPr>
        <p:spPr>
          <a:xfrm>
            <a:off x="4953001" y="4620768"/>
            <a:ext cx="1976626" cy="432816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9" name="object 129"/>
          <p:cNvSpPr/>
          <p:nvPr/>
        </p:nvSpPr>
        <p:spPr>
          <a:xfrm>
            <a:off x="5001133" y="4648137"/>
            <a:ext cx="1880362" cy="338137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0" name="object 130"/>
          <p:cNvSpPr/>
          <p:nvPr/>
        </p:nvSpPr>
        <p:spPr>
          <a:xfrm>
            <a:off x="5001133" y="4648137"/>
            <a:ext cx="1880362" cy="338137"/>
          </a:xfrm>
          <a:custGeom>
            <a:avLst/>
            <a:gdLst/>
            <a:ahLst/>
            <a:cxnLst/>
            <a:rect l="l" t="t" r="r" b="b"/>
            <a:pathLst>
              <a:path w="1880362" h="338137">
                <a:moveTo>
                  <a:pt x="0" y="338137"/>
                </a:moveTo>
                <a:lnTo>
                  <a:pt x="1880362" y="338137"/>
                </a:lnTo>
                <a:lnTo>
                  <a:pt x="1880362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1" name="object 131"/>
          <p:cNvSpPr/>
          <p:nvPr/>
        </p:nvSpPr>
        <p:spPr>
          <a:xfrm>
            <a:off x="744119" y="5799772"/>
            <a:ext cx="724065" cy="261874"/>
          </a:xfrm>
          <a:custGeom>
            <a:avLst/>
            <a:gdLst/>
            <a:ahLst/>
            <a:cxnLst/>
            <a:rect l="l" t="t" r="r" b="b"/>
            <a:pathLst>
              <a:path w="724065" h="261874">
                <a:moveTo>
                  <a:pt x="0" y="261873"/>
                </a:moveTo>
                <a:lnTo>
                  <a:pt x="724065" y="261873"/>
                </a:lnTo>
                <a:lnTo>
                  <a:pt x="724065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2" name="object 132"/>
          <p:cNvSpPr/>
          <p:nvPr/>
        </p:nvSpPr>
        <p:spPr>
          <a:xfrm>
            <a:off x="744119" y="5799772"/>
            <a:ext cx="724065" cy="261874"/>
          </a:xfrm>
          <a:custGeom>
            <a:avLst/>
            <a:gdLst/>
            <a:ahLst/>
            <a:cxnLst/>
            <a:rect l="l" t="t" r="r" b="b"/>
            <a:pathLst>
              <a:path w="724065" h="261874">
                <a:moveTo>
                  <a:pt x="0" y="261873"/>
                </a:moveTo>
                <a:lnTo>
                  <a:pt x="724065" y="261873"/>
                </a:lnTo>
                <a:lnTo>
                  <a:pt x="724065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ln w="25400">
            <a:solidFill>
              <a:srgbClr val="AC2B3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3" name="object 133"/>
          <p:cNvSpPr/>
          <p:nvPr/>
        </p:nvSpPr>
        <p:spPr>
          <a:xfrm>
            <a:off x="1486915" y="5791187"/>
            <a:ext cx="909104" cy="261874"/>
          </a:xfrm>
          <a:custGeom>
            <a:avLst/>
            <a:gdLst/>
            <a:ahLst/>
            <a:cxnLst/>
            <a:rect l="l" t="t" r="r" b="b"/>
            <a:pathLst>
              <a:path w="909104" h="261874">
                <a:moveTo>
                  <a:pt x="0" y="261873"/>
                </a:moveTo>
                <a:lnTo>
                  <a:pt x="909104" y="261873"/>
                </a:lnTo>
                <a:lnTo>
                  <a:pt x="909104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4" name="object 134"/>
          <p:cNvSpPr/>
          <p:nvPr/>
        </p:nvSpPr>
        <p:spPr>
          <a:xfrm>
            <a:off x="1486915" y="5791187"/>
            <a:ext cx="909104" cy="261874"/>
          </a:xfrm>
          <a:custGeom>
            <a:avLst/>
            <a:gdLst/>
            <a:ahLst/>
            <a:cxnLst/>
            <a:rect l="l" t="t" r="r" b="b"/>
            <a:pathLst>
              <a:path w="909104" h="261874">
                <a:moveTo>
                  <a:pt x="0" y="261873"/>
                </a:moveTo>
                <a:lnTo>
                  <a:pt x="909104" y="261873"/>
                </a:lnTo>
                <a:lnTo>
                  <a:pt x="909104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ln w="25400">
            <a:solidFill>
              <a:srgbClr val="AC2B3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5" name="object 135"/>
          <p:cNvSpPr/>
          <p:nvPr/>
        </p:nvSpPr>
        <p:spPr>
          <a:xfrm>
            <a:off x="331127" y="5799772"/>
            <a:ext cx="343255" cy="261874"/>
          </a:xfrm>
          <a:custGeom>
            <a:avLst/>
            <a:gdLst/>
            <a:ahLst/>
            <a:cxnLst/>
            <a:rect l="l" t="t" r="r" b="b"/>
            <a:pathLst>
              <a:path w="343255" h="261874">
                <a:moveTo>
                  <a:pt x="0" y="261873"/>
                </a:moveTo>
                <a:lnTo>
                  <a:pt x="343255" y="261873"/>
                </a:lnTo>
                <a:lnTo>
                  <a:pt x="343255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6" name="object 136"/>
          <p:cNvSpPr/>
          <p:nvPr/>
        </p:nvSpPr>
        <p:spPr>
          <a:xfrm>
            <a:off x="331127" y="5799772"/>
            <a:ext cx="343255" cy="261874"/>
          </a:xfrm>
          <a:custGeom>
            <a:avLst/>
            <a:gdLst/>
            <a:ahLst/>
            <a:cxnLst/>
            <a:rect l="l" t="t" r="r" b="b"/>
            <a:pathLst>
              <a:path w="343255" h="261874">
                <a:moveTo>
                  <a:pt x="0" y="261873"/>
                </a:moveTo>
                <a:lnTo>
                  <a:pt x="343255" y="261873"/>
                </a:lnTo>
                <a:lnTo>
                  <a:pt x="343255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ln w="25400">
            <a:solidFill>
              <a:srgbClr val="AC2B3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7" name="object 137"/>
          <p:cNvSpPr/>
          <p:nvPr/>
        </p:nvSpPr>
        <p:spPr>
          <a:xfrm>
            <a:off x="365759" y="4087368"/>
            <a:ext cx="8674609" cy="399288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8" name="object 138"/>
          <p:cNvSpPr/>
          <p:nvPr/>
        </p:nvSpPr>
        <p:spPr>
          <a:xfrm>
            <a:off x="412751" y="4114800"/>
            <a:ext cx="8580629" cy="304800"/>
          </a:xfrm>
          <a:prstGeom prst="rect">
            <a:avLst/>
          </a:prstGeom>
          <a:blipFill>
            <a:blip r:embed="rId3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9" name="object 139"/>
          <p:cNvSpPr/>
          <p:nvPr/>
        </p:nvSpPr>
        <p:spPr>
          <a:xfrm>
            <a:off x="412751" y="4114800"/>
            <a:ext cx="8580629" cy="304800"/>
          </a:xfrm>
          <a:custGeom>
            <a:avLst/>
            <a:gdLst/>
            <a:ahLst/>
            <a:cxnLst/>
            <a:rect l="l" t="t" r="r" b="b"/>
            <a:pathLst>
              <a:path w="8580628" h="304800">
                <a:moveTo>
                  <a:pt x="0" y="304800"/>
                </a:moveTo>
                <a:lnTo>
                  <a:pt x="8580628" y="304800"/>
                </a:lnTo>
                <a:lnTo>
                  <a:pt x="8580628" y="0"/>
                </a:lnTo>
                <a:lnTo>
                  <a:pt x="0" y="0"/>
                </a:lnTo>
                <a:lnTo>
                  <a:pt x="0" y="304800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0" name="object 140"/>
          <p:cNvSpPr/>
          <p:nvPr/>
        </p:nvSpPr>
        <p:spPr>
          <a:xfrm>
            <a:off x="1962912" y="2500884"/>
            <a:ext cx="1551432" cy="461772"/>
          </a:xfrm>
          <a:prstGeom prst="rect">
            <a:avLst/>
          </a:prstGeom>
          <a:blipFill>
            <a:blip r:embed="rId3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1" name="object 141"/>
          <p:cNvSpPr/>
          <p:nvPr/>
        </p:nvSpPr>
        <p:spPr>
          <a:xfrm>
            <a:off x="1953770" y="2529841"/>
            <a:ext cx="1505711" cy="352043"/>
          </a:xfrm>
          <a:prstGeom prst="rect">
            <a:avLst/>
          </a:prstGeom>
          <a:blipFill>
            <a:blip r:embed="rId3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2" name="object 142"/>
          <p:cNvSpPr/>
          <p:nvPr/>
        </p:nvSpPr>
        <p:spPr>
          <a:xfrm>
            <a:off x="2011046" y="2528887"/>
            <a:ext cx="1456055" cy="366712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3" name="object 143"/>
          <p:cNvSpPr/>
          <p:nvPr/>
        </p:nvSpPr>
        <p:spPr>
          <a:xfrm>
            <a:off x="2011046" y="2528887"/>
            <a:ext cx="1456055" cy="366712"/>
          </a:xfrm>
          <a:custGeom>
            <a:avLst/>
            <a:gdLst/>
            <a:ahLst/>
            <a:cxnLst/>
            <a:rect l="l" t="t" r="r" b="b"/>
            <a:pathLst>
              <a:path w="1456055" h="366712">
                <a:moveTo>
                  <a:pt x="0" y="366712"/>
                </a:moveTo>
                <a:lnTo>
                  <a:pt x="1456055" y="366712"/>
                </a:lnTo>
                <a:lnTo>
                  <a:pt x="1456055" y="0"/>
                </a:lnTo>
                <a:lnTo>
                  <a:pt x="0" y="0"/>
                </a:lnTo>
                <a:lnTo>
                  <a:pt x="0" y="366712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4" name="object 144"/>
          <p:cNvSpPr/>
          <p:nvPr/>
        </p:nvSpPr>
        <p:spPr>
          <a:xfrm>
            <a:off x="1604772" y="3176016"/>
            <a:ext cx="2241804" cy="551687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5" name="object 145"/>
          <p:cNvSpPr/>
          <p:nvPr/>
        </p:nvSpPr>
        <p:spPr>
          <a:xfrm>
            <a:off x="1652652" y="3200401"/>
            <a:ext cx="2146808" cy="457200"/>
          </a:xfrm>
          <a:prstGeom prst="rect">
            <a:avLst/>
          </a:prstGeom>
          <a:blipFill>
            <a:blip r:embed="rId3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6" name="object 146"/>
          <p:cNvSpPr/>
          <p:nvPr/>
        </p:nvSpPr>
        <p:spPr>
          <a:xfrm>
            <a:off x="1652652" y="3200401"/>
            <a:ext cx="2146808" cy="457200"/>
          </a:xfrm>
          <a:custGeom>
            <a:avLst/>
            <a:gdLst/>
            <a:ahLst/>
            <a:cxnLst/>
            <a:rect l="l" t="t" r="r" b="b"/>
            <a:pathLst>
              <a:path w="2146808" h="457200">
                <a:moveTo>
                  <a:pt x="0" y="228600"/>
                </a:moveTo>
                <a:lnTo>
                  <a:pt x="14048" y="191523"/>
                </a:lnTo>
                <a:lnTo>
                  <a:pt x="54721" y="156350"/>
                </a:lnTo>
                <a:lnTo>
                  <a:pt x="119809" y="123551"/>
                </a:lnTo>
                <a:lnTo>
                  <a:pt x="160817" y="108189"/>
                </a:lnTo>
                <a:lnTo>
                  <a:pt x="207101" y="93597"/>
                </a:lnTo>
                <a:lnTo>
                  <a:pt x="258383" y="79835"/>
                </a:lnTo>
                <a:lnTo>
                  <a:pt x="314388" y="66960"/>
                </a:lnTo>
                <a:lnTo>
                  <a:pt x="374839" y="55032"/>
                </a:lnTo>
                <a:lnTo>
                  <a:pt x="439460" y="44110"/>
                </a:lnTo>
                <a:lnTo>
                  <a:pt x="507975" y="34252"/>
                </a:lnTo>
                <a:lnTo>
                  <a:pt x="580108" y="25518"/>
                </a:lnTo>
                <a:lnTo>
                  <a:pt x="655581" y="17966"/>
                </a:lnTo>
                <a:lnTo>
                  <a:pt x="734120" y="11655"/>
                </a:lnTo>
                <a:lnTo>
                  <a:pt x="815448" y="6644"/>
                </a:lnTo>
                <a:lnTo>
                  <a:pt x="899289" y="2992"/>
                </a:lnTo>
                <a:lnTo>
                  <a:pt x="985366" y="757"/>
                </a:lnTo>
                <a:lnTo>
                  <a:pt x="1073404" y="0"/>
                </a:lnTo>
                <a:lnTo>
                  <a:pt x="1161441" y="757"/>
                </a:lnTo>
                <a:lnTo>
                  <a:pt x="1247518" y="2992"/>
                </a:lnTo>
                <a:lnTo>
                  <a:pt x="1331359" y="6644"/>
                </a:lnTo>
                <a:lnTo>
                  <a:pt x="1412687" y="11655"/>
                </a:lnTo>
                <a:lnTo>
                  <a:pt x="1491226" y="17966"/>
                </a:lnTo>
                <a:lnTo>
                  <a:pt x="1566699" y="25518"/>
                </a:lnTo>
                <a:lnTo>
                  <a:pt x="1638832" y="34252"/>
                </a:lnTo>
                <a:lnTo>
                  <a:pt x="1707347" y="44110"/>
                </a:lnTo>
                <a:lnTo>
                  <a:pt x="1771968" y="55032"/>
                </a:lnTo>
                <a:lnTo>
                  <a:pt x="1832419" y="66960"/>
                </a:lnTo>
                <a:lnTo>
                  <a:pt x="1888424" y="79835"/>
                </a:lnTo>
                <a:lnTo>
                  <a:pt x="1939706" y="93597"/>
                </a:lnTo>
                <a:lnTo>
                  <a:pt x="1985990" y="108189"/>
                </a:lnTo>
                <a:lnTo>
                  <a:pt x="2026998" y="123551"/>
                </a:lnTo>
                <a:lnTo>
                  <a:pt x="2062456" y="139624"/>
                </a:lnTo>
                <a:lnTo>
                  <a:pt x="2115612" y="173669"/>
                </a:lnTo>
                <a:lnTo>
                  <a:pt x="2143249" y="209853"/>
                </a:lnTo>
                <a:lnTo>
                  <a:pt x="2146808" y="228600"/>
                </a:lnTo>
                <a:lnTo>
                  <a:pt x="2143249" y="247346"/>
                </a:lnTo>
                <a:lnTo>
                  <a:pt x="2132759" y="265676"/>
                </a:lnTo>
                <a:lnTo>
                  <a:pt x="2092086" y="300849"/>
                </a:lnTo>
                <a:lnTo>
                  <a:pt x="2026998" y="333648"/>
                </a:lnTo>
                <a:lnTo>
                  <a:pt x="1985990" y="349010"/>
                </a:lnTo>
                <a:lnTo>
                  <a:pt x="1939706" y="363602"/>
                </a:lnTo>
                <a:lnTo>
                  <a:pt x="1888424" y="377364"/>
                </a:lnTo>
                <a:lnTo>
                  <a:pt x="1832419" y="390239"/>
                </a:lnTo>
                <a:lnTo>
                  <a:pt x="1771968" y="402167"/>
                </a:lnTo>
                <a:lnTo>
                  <a:pt x="1707347" y="413089"/>
                </a:lnTo>
                <a:lnTo>
                  <a:pt x="1638832" y="422947"/>
                </a:lnTo>
                <a:lnTo>
                  <a:pt x="1566699" y="431681"/>
                </a:lnTo>
                <a:lnTo>
                  <a:pt x="1491226" y="439233"/>
                </a:lnTo>
                <a:lnTo>
                  <a:pt x="1412687" y="445544"/>
                </a:lnTo>
                <a:lnTo>
                  <a:pt x="1331359" y="450555"/>
                </a:lnTo>
                <a:lnTo>
                  <a:pt x="1247518" y="454207"/>
                </a:lnTo>
                <a:lnTo>
                  <a:pt x="1161441" y="456442"/>
                </a:lnTo>
                <a:lnTo>
                  <a:pt x="1073404" y="457200"/>
                </a:lnTo>
                <a:lnTo>
                  <a:pt x="985366" y="456442"/>
                </a:lnTo>
                <a:lnTo>
                  <a:pt x="899289" y="454207"/>
                </a:lnTo>
                <a:lnTo>
                  <a:pt x="815448" y="450555"/>
                </a:lnTo>
                <a:lnTo>
                  <a:pt x="734120" y="445544"/>
                </a:lnTo>
                <a:lnTo>
                  <a:pt x="655581" y="439233"/>
                </a:lnTo>
                <a:lnTo>
                  <a:pt x="580108" y="431681"/>
                </a:lnTo>
                <a:lnTo>
                  <a:pt x="507975" y="422947"/>
                </a:lnTo>
                <a:lnTo>
                  <a:pt x="439460" y="413089"/>
                </a:lnTo>
                <a:lnTo>
                  <a:pt x="374839" y="402167"/>
                </a:lnTo>
                <a:lnTo>
                  <a:pt x="314388" y="390239"/>
                </a:lnTo>
                <a:lnTo>
                  <a:pt x="258383" y="377364"/>
                </a:lnTo>
                <a:lnTo>
                  <a:pt x="207101" y="363602"/>
                </a:lnTo>
                <a:lnTo>
                  <a:pt x="160817" y="349010"/>
                </a:lnTo>
                <a:lnTo>
                  <a:pt x="119809" y="333648"/>
                </a:lnTo>
                <a:lnTo>
                  <a:pt x="84351" y="317575"/>
                </a:lnTo>
                <a:lnTo>
                  <a:pt x="54721" y="300849"/>
                </a:lnTo>
                <a:lnTo>
                  <a:pt x="14048" y="265676"/>
                </a:lnTo>
                <a:lnTo>
                  <a:pt x="0" y="228600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7" name="object 147"/>
          <p:cNvSpPr/>
          <p:nvPr/>
        </p:nvSpPr>
        <p:spPr>
          <a:xfrm>
            <a:off x="1720596" y="3256788"/>
            <a:ext cx="2028444" cy="362712"/>
          </a:xfrm>
          <a:prstGeom prst="rect">
            <a:avLst/>
          </a:prstGeom>
          <a:blipFill>
            <a:blip r:embed="rId3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8" name="object 148"/>
          <p:cNvSpPr/>
          <p:nvPr/>
        </p:nvSpPr>
        <p:spPr>
          <a:xfrm>
            <a:off x="1988821" y="3256789"/>
            <a:ext cx="1523999" cy="313943"/>
          </a:xfrm>
          <a:prstGeom prst="rect">
            <a:avLst/>
          </a:prstGeom>
          <a:blipFill>
            <a:blip r:embed="rId3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9" name="object 149"/>
          <p:cNvSpPr/>
          <p:nvPr/>
        </p:nvSpPr>
        <p:spPr>
          <a:xfrm>
            <a:off x="1265770" y="2362200"/>
            <a:ext cx="2696591" cy="1447800"/>
          </a:xfrm>
          <a:custGeom>
            <a:avLst/>
            <a:gdLst/>
            <a:ahLst/>
            <a:cxnLst/>
            <a:rect l="l" t="t" r="r" b="b"/>
            <a:pathLst>
              <a:path w="2696591" h="1447800">
                <a:moveTo>
                  <a:pt x="0" y="1447800"/>
                </a:moveTo>
                <a:lnTo>
                  <a:pt x="2696591" y="1447800"/>
                </a:lnTo>
                <a:lnTo>
                  <a:pt x="2696591" y="0"/>
                </a:lnTo>
                <a:lnTo>
                  <a:pt x="0" y="0"/>
                </a:lnTo>
                <a:lnTo>
                  <a:pt x="0" y="1447800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0" name="object 150"/>
          <p:cNvSpPr/>
          <p:nvPr/>
        </p:nvSpPr>
        <p:spPr>
          <a:xfrm>
            <a:off x="2566417" y="3768853"/>
            <a:ext cx="397763" cy="464819"/>
          </a:xfrm>
          <a:prstGeom prst="rect">
            <a:avLst/>
          </a:prstGeom>
          <a:blipFill>
            <a:blip r:embed="rId3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1" name="object 151"/>
          <p:cNvSpPr/>
          <p:nvPr/>
        </p:nvSpPr>
        <p:spPr>
          <a:xfrm>
            <a:off x="2641600" y="3810001"/>
            <a:ext cx="247650" cy="321437"/>
          </a:xfrm>
          <a:custGeom>
            <a:avLst/>
            <a:gdLst/>
            <a:ahLst/>
            <a:cxnLst/>
            <a:rect l="l" t="t" r="r" b="b"/>
            <a:pathLst>
              <a:path w="247650" h="321437">
                <a:moveTo>
                  <a:pt x="123825" y="321437"/>
                </a:moveTo>
                <a:lnTo>
                  <a:pt x="247650" y="101345"/>
                </a:lnTo>
                <a:lnTo>
                  <a:pt x="185800" y="101345"/>
                </a:lnTo>
                <a:lnTo>
                  <a:pt x="185800" y="0"/>
                </a:lnTo>
                <a:lnTo>
                  <a:pt x="61975" y="0"/>
                </a:lnTo>
                <a:lnTo>
                  <a:pt x="61975" y="101345"/>
                </a:lnTo>
                <a:lnTo>
                  <a:pt x="0" y="101345"/>
                </a:lnTo>
                <a:lnTo>
                  <a:pt x="123825" y="321437"/>
                </a:lnTo>
                <a:close/>
              </a:path>
            </a:pathLst>
          </a:custGeom>
          <a:solidFill>
            <a:srgbClr val="B7BD1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2" name="object 152"/>
          <p:cNvSpPr/>
          <p:nvPr/>
        </p:nvSpPr>
        <p:spPr>
          <a:xfrm>
            <a:off x="2641600" y="3810001"/>
            <a:ext cx="247650" cy="321437"/>
          </a:xfrm>
          <a:custGeom>
            <a:avLst/>
            <a:gdLst/>
            <a:ahLst/>
            <a:cxnLst/>
            <a:rect l="l" t="t" r="r" b="b"/>
            <a:pathLst>
              <a:path w="247650" h="321437">
                <a:moveTo>
                  <a:pt x="0" y="101345"/>
                </a:moveTo>
                <a:lnTo>
                  <a:pt x="61975" y="101345"/>
                </a:lnTo>
                <a:lnTo>
                  <a:pt x="61975" y="0"/>
                </a:lnTo>
                <a:lnTo>
                  <a:pt x="185800" y="0"/>
                </a:lnTo>
                <a:lnTo>
                  <a:pt x="185800" y="101345"/>
                </a:lnTo>
                <a:lnTo>
                  <a:pt x="247650" y="101345"/>
                </a:lnTo>
                <a:lnTo>
                  <a:pt x="123825" y="321437"/>
                </a:lnTo>
                <a:lnTo>
                  <a:pt x="0" y="101345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3" name="object 153"/>
          <p:cNvSpPr/>
          <p:nvPr/>
        </p:nvSpPr>
        <p:spPr>
          <a:xfrm>
            <a:off x="2566417" y="2913888"/>
            <a:ext cx="397763" cy="387096"/>
          </a:xfrm>
          <a:prstGeom prst="rect">
            <a:avLst/>
          </a:prstGeom>
          <a:blipFill>
            <a:blip r:embed="rId4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4" name="object 154"/>
          <p:cNvSpPr/>
          <p:nvPr/>
        </p:nvSpPr>
        <p:spPr>
          <a:xfrm>
            <a:off x="2641600" y="2955164"/>
            <a:ext cx="247650" cy="245237"/>
          </a:xfrm>
          <a:custGeom>
            <a:avLst/>
            <a:gdLst/>
            <a:ahLst/>
            <a:cxnLst/>
            <a:rect l="l" t="t" r="r" b="b"/>
            <a:pathLst>
              <a:path w="247650" h="245237">
                <a:moveTo>
                  <a:pt x="123825" y="245237"/>
                </a:moveTo>
                <a:lnTo>
                  <a:pt x="247650" y="27177"/>
                </a:lnTo>
                <a:lnTo>
                  <a:pt x="185800" y="27177"/>
                </a:lnTo>
                <a:lnTo>
                  <a:pt x="185800" y="0"/>
                </a:lnTo>
                <a:lnTo>
                  <a:pt x="61975" y="0"/>
                </a:lnTo>
                <a:lnTo>
                  <a:pt x="61975" y="27177"/>
                </a:lnTo>
                <a:lnTo>
                  <a:pt x="0" y="27177"/>
                </a:lnTo>
                <a:lnTo>
                  <a:pt x="123825" y="245237"/>
                </a:lnTo>
                <a:close/>
              </a:path>
            </a:pathLst>
          </a:custGeom>
          <a:solidFill>
            <a:srgbClr val="B7BD1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5" name="object 155"/>
          <p:cNvSpPr/>
          <p:nvPr/>
        </p:nvSpPr>
        <p:spPr>
          <a:xfrm>
            <a:off x="2641600" y="2955164"/>
            <a:ext cx="247650" cy="245237"/>
          </a:xfrm>
          <a:custGeom>
            <a:avLst/>
            <a:gdLst/>
            <a:ahLst/>
            <a:cxnLst/>
            <a:rect l="l" t="t" r="r" b="b"/>
            <a:pathLst>
              <a:path w="247650" h="245237">
                <a:moveTo>
                  <a:pt x="0" y="27177"/>
                </a:moveTo>
                <a:lnTo>
                  <a:pt x="61975" y="27177"/>
                </a:lnTo>
                <a:lnTo>
                  <a:pt x="61975" y="0"/>
                </a:lnTo>
                <a:lnTo>
                  <a:pt x="185800" y="0"/>
                </a:lnTo>
                <a:lnTo>
                  <a:pt x="185800" y="27177"/>
                </a:lnTo>
                <a:lnTo>
                  <a:pt x="247650" y="27177"/>
                </a:lnTo>
                <a:lnTo>
                  <a:pt x="123825" y="245237"/>
                </a:lnTo>
                <a:lnTo>
                  <a:pt x="0" y="27177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463295" y="4620768"/>
            <a:ext cx="1978153" cy="432816"/>
          </a:xfrm>
          <a:prstGeom prst="rect">
            <a:avLst/>
          </a:prstGeom>
          <a:blipFill>
            <a:blip r:embed="rId4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511352" y="4648137"/>
            <a:ext cx="1882648" cy="338137"/>
          </a:xfrm>
          <a:prstGeom prst="rect">
            <a:avLst/>
          </a:prstGeom>
          <a:blipFill>
            <a:blip r:embed="rId4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511352" y="4648137"/>
            <a:ext cx="1882648" cy="338137"/>
          </a:xfrm>
          <a:custGeom>
            <a:avLst/>
            <a:gdLst/>
            <a:ahLst/>
            <a:cxnLst/>
            <a:rect l="l" t="t" r="r" b="b"/>
            <a:pathLst>
              <a:path w="1882648" h="338137">
                <a:moveTo>
                  <a:pt x="0" y="338137"/>
                </a:moveTo>
                <a:lnTo>
                  <a:pt x="1882648" y="338137"/>
                </a:lnTo>
                <a:lnTo>
                  <a:pt x="1882648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6058027" y="1046996"/>
            <a:ext cx="1349145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CU</a:t>
            </a:r>
            <a:r>
              <a:rPr sz="1400" spc="-9" dirty="0" smtClean="0">
                <a:latin typeface="+mj-lt"/>
                <a:cs typeface="Cambria"/>
              </a:rPr>
              <a:t>S</a:t>
            </a:r>
            <a:r>
              <a:rPr sz="1400" spc="-29" dirty="0" smtClean="0">
                <a:latin typeface="+mj-lt"/>
                <a:cs typeface="Cambria"/>
              </a:rPr>
              <a:t>T</a:t>
            </a:r>
            <a:r>
              <a:rPr sz="1400" spc="-4" dirty="0" smtClean="0">
                <a:latin typeface="+mj-lt"/>
                <a:cs typeface="Cambria"/>
              </a:rPr>
              <a:t>OM</a:t>
            </a:r>
            <a:r>
              <a:rPr sz="1400" spc="0" dirty="0" smtClean="0">
                <a:latin typeface="+mj-lt"/>
                <a:cs typeface="Cambria"/>
              </a:rPr>
              <a:t>ER</a:t>
            </a:r>
            <a:r>
              <a:rPr sz="1400" spc="-19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able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409753" y="1099109"/>
            <a:ext cx="3617036" cy="11943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806094" marR="22860">
              <a:lnSpc>
                <a:spcPts val="1340"/>
              </a:lnSpc>
              <a:spcBef>
                <a:spcPts val="67"/>
              </a:spcBef>
            </a:pPr>
            <a:r>
              <a:rPr sz="1200" spc="-4" dirty="0" smtClean="0">
                <a:latin typeface="+mj-lt"/>
                <a:cs typeface="Cambria"/>
              </a:rPr>
              <a:t>C</a:t>
            </a:r>
            <a:r>
              <a:rPr sz="1200" spc="0" dirty="0" smtClean="0">
                <a:latin typeface="+mj-lt"/>
                <a:cs typeface="Cambria"/>
              </a:rPr>
              <a:t>R</a:t>
            </a:r>
            <a:r>
              <a:rPr sz="1200" spc="-9" dirty="0" smtClean="0">
                <a:latin typeface="+mj-lt"/>
                <a:cs typeface="Cambria"/>
              </a:rPr>
              <a:t>E</a:t>
            </a:r>
            <a:r>
              <a:rPr sz="1200" spc="-75" dirty="0" smtClean="0">
                <a:latin typeface="+mj-lt"/>
                <a:cs typeface="Cambria"/>
              </a:rPr>
              <a:t>A</a:t>
            </a:r>
            <a:r>
              <a:rPr sz="1200" spc="-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-100" dirty="0" smtClean="0">
                <a:latin typeface="+mj-lt"/>
                <a:cs typeface="Cambria"/>
              </a:rPr>
              <a:t>T</a:t>
            </a:r>
            <a:r>
              <a:rPr sz="1200" spc="-4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BLE</a:t>
            </a:r>
            <a:r>
              <a:rPr sz="1200" spc="19" dirty="0" smtClean="0">
                <a:latin typeface="+mj-lt"/>
                <a:cs typeface="Cambria"/>
              </a:rPr>
              <a:t> </a:t>
            </a:r>
            <a:r>
              <a:rPr sz="1200" spc="-14" dirty="0" smtClean="0">
                <a:latin typeface="+mj-lt"/>
                <a:cs typeface="Cambria"/>
              </a:rPr>
              <a:t>C</a:t>
            </a:r>
            <a:r>
              <a:rPr sz="1200" spc="0" dirty="0" smtClean="0">
                <a:latin typeface="+mj-lt"/>
                <a:cs typeface="Cambria"/>
              </a:rPr>
              <a:t>us</a:t>
            </a:r>
            <a:r>
              <a:rPr sz="1200" spc="-9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4" dirty="0" smtClean="0">
                <a:latin typeface="+mj-lt"/>
                <a:cs typeface="Cambria"/>
              </a:rPr>
              <a:t>m</a:t>
            </a:r>
            <a:r>
              <a:rPr sz="1200" spc="0" dirty="0" smtClean="0">
                <a:latin typeface="+mj-lt"/>
                <a:cs typeface="Cambria"/>
              </a:rPr>
              <a:t>er</a:t>
            </a:r>
            <a:endParaRPr sz="1200">
              <a:latin typeface="+mj-lt"/>
              <a:cs typeface="Cambria"/>
            </a:endParaRPr>
          </a:p>
          <a:p>
            <a:pPr marL="806094" marR="22860">
              <a:lnSpc>
                <a:spcPct val="97696"/>
              </a:lnSpc>
            </a:pPr>
            <a:r>
              <a:rPr sz="1200" spc="0" dirty="0" smtClean="0">
                <a:latin typeface="+mj-lt"/>
                <a:cs typeface="Cambria"/>
              </a:rPr>
              <a:t>(</a:t>
            </a:r>
            <a:r>
              <a:rPr sz="1200" spc="-14" dirty="0" smtClean="0">
                <a:latin typeface="+mj-lt"/>
                <a:cs typeface="Cambria"/>
              </a:rPr>
              <a:t>C</a:t>
            </a:r>
            <a:r>
              <a:rPr sz="1200" spc="0" dirty="0" smtClean="0">
                <a:latin typeface="+mj-lt"/>
                <a:cs typeface="Cambria"/>
              </a:rPr>
              <a:t>ust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-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NT</a:t>
            </a:r>
            <a:endParaRPr sz="1200">
              <a:latin typeface="+mj-lt"/>
              <a:cs typeface="Cambria"/>
            </a:endParaRPr>
          </a:p>
          <a:p>
            <a:pPr marL="806094" marR="22860">
              <a:lnSpc>
                <a:spcPct val="97696"/>
              </a:lnSpc>
              <a:spcBef>
                <a:spcPts val="30"/>
              </a:spcBef>
            </a:pPr>
            <a:r>
              <a:rPr sz="1200" spc="4" dirty="0" smtClean="0">
                <a:latin typeface="+mj-lt"/>
                <a:cs typeface="Cambria"/>
              </a:rPr>
              <a:t>,</a:t>
            </a:r>
            <a:r>
              <a:rPr sz="1200" spc="0" dirty="0" smtClean="0">
                <a:latin typeface="+mj-lt"/>
                <a:cs typeface="Cambria"/>
              </a:rPr>
              <a:t>Nam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-4" dirty="0" smtClean="0">
                <a:latin typeface="+mj-lt"/>
                <a:cs typeface="Cambria"/>
              </a:rPr>
              <a:t>C</a:t>
            </a:r>
            <a:r>
              <a:rPr sz="1200" spc="4" dirty="0" smtClean="0">
                <a:latin typeface="+mj-lt"/>
                <a:cs typeface="Cambria"/>
              </a:rPr>
              <a:t>H</a:t>
            </a:r>
            <a:r>
              <a:rPr sz="1200" spc="-4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R</a:t>
            </a:r>
            <a:r>
              <a:rPr sz="1200" spc="-4" dirty="0" smtClean="0">
                <a:latin typeface="+mj-lt"/>
                <a:cs typeface="Cambria"/>
              </a:rPr>
              <a:t>(10</a:t>
            </a:r>
            <a:r>
              <a:rPr sz="1200" spc="0" dirty="0" smtClean="0">
                <a:latin typeface="+mj-lt"/>
                <a:cs typeface="Cambria"/>
              </a:rPr>
              <a:t>)</a:t>
            </a:r>
            <a:endParaRPr sz="1200">
              <a:latin typeface="+mj-lt"/>
              <a:cs typeface="Cambria"/>
            </a:endParaRPr>
          </a:p>
          <a:p>
            <a:pPr marL="806094" marR="1096977">
              <a:lnSpc>
                <a:spcPct val="100041"/>
              </a:lnSpc>
              <a:spcBef>
                <a:spcPts val="30"/>
              </a:spcBef>
            </a:pPr>
            <a:r>
              <a:rPr sz="1200" spc="4" dirty="0" smtClean="0">
                <a:latin typeface="+mj-lt"/>
                <a:cs typeface="Cambria"/>
              </a:rPr>
              <a:t>,</a:t>
            </a:r>
            <a:r>
              <a:rPr sz="1200" spc="0" dirty="0" smtClean="0">
                <a:latin typeface="+mj-lt"/>
                <a:cs typeface="Cambria"/>
              </a:rPr>
              <a:t>Phone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-4" dirty="0" smtClean="0">
                <a:latin typeface="+mj-lt"/>
                <a:cs typeface="Cambria"/>
              </a:rPr>
              <a:t>C</a:t>
            </a:r>
            <a:r>
              <a:rPr sz="1200" spc="4" dirty="0" smtClean="0">
                <a:latin typeface="+mj-lt"/>
                <a:cs typeface="Cambria"/>
              </a:rPr>
              <a:t>H</a:t>
            </a:r>
            <a:r>
              <a:rPr sz="1200" spc="-4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R</a:t>
            </a:r>
            <a:r>
              <a:rPr sz="1200" spc="-4" dirty="0" smtClean="0">
                <a:latin typeface="+mj-lt"/>
                <a:cs typeface="Cambria"/>
              </a:rPr>
              <a:t>(8</a:t>
            </a:r>
            <a:r>
              <a:rPr sz="1200" spc="0" dirty="0" smtClean="0">
                <a:latin typeface="+mj-lt"/>
                <a:cs typeface="Cambria"/>
              </a:rPr>
              <a:t>)</a:t>
            </a:r>
            <a:r>
              <a:rPr sz="1200" spc="1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) PR</a:t>
            </a:r>
            <a:r>
              <a:rPr sz="1200" spc="-4" dirty="0" smtClean="0">
                <a:latin typeface="+mj-lt"/>
                <a:cs typeface="Cambria"/>
              </a:rPr>
              <a:t>I</a:t>
            </a:r>
            <a:r>
              <a:rPr sz="1200" spc="4" dirty="0" smtClean="0">
                <a:latin typeface="+mj-lt"/>
                <a:cs typeface="Cambria"/>
              </a:rPr>
              <a:t>M</a:t>
            </a:r>
            <a:r>
              <a:rPr sz="1200" spc="-4" dirty="0" smtClean="0">
                <a:latin typeface="+mj-lt"/>
                <a:cs typeface="Cambria"/>
              </a:rPr>
              <a:t>A</a:t>
            </a:r>
            <a:r>
              <a:rPr sz="1200" spc="-59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9" dirty="0" smtClean="0">
                <a:latin typeface="+mj-lt"/>
                <a:cs typeface="Cambria"/>
              </a:rPr>
              <a:t> </a:t>
            </a:r>
            <a:r>
              <a:rPr sz="1200" spc="-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NDEX (Phone);</a:t>
            </a:r>
            <a:endParaRPr sz="120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  <a:spcBef>
                <a:spcPts val="803"/>
              </a:spcBef>
            </a:pPr>
            <a:r>
              <a:rPr sz="1200" spc="4" dirty="0" smtClean="0">
                <a:latin typeface="+mj-lt"/>
                <a:cs typeface="Cambria"/>
              </a:rPr>
              <a:t>SE</a:t>
            </a:r>
            <a:r>
              <a:rPr sz="1200" spc="0" dirty="0" smtClean="0">
                <a:latin typeface="+mj-lt"/>
                <a:cs typeface="Cambria"/>
              </a:rPr>
              <a:t>L</a:t>
            </a:r>
            <a:r>
              <a:rPr sz="1200" spc="4" dirty="0" smtClean="0">
                <a:latin typeface="+mj-lt"/>
                <a:cs typeface="Cambria"/>
              </a:rPr>
              <a:t>E</a:t>
            </a:r>
            <a:r>
              <a:rPr sz="1200" spc="-4" dirty="0" smtClean="0">
                <a:latin typeface="+mj-lt"/>
                <a:cs typeface="Cambria"/>
              </a:rPr>
              <a:t>C</a:t>
            </a:r>
            <a:r>
              <a:rPr sz="1200" spc="0" dirty="0" smtClean="0">
                <a:latin typeface="+mj-lt"/>
                <a:cs typeface="Cambria"/>
              </a:rPr>
              <a:t>T</a:t>
            </a:r>
            <a:r>
              <a:rPr sz="1200" spc="-2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* F</a:t>
            </a:r>
            <a:r>
              <a:rPr sz="1200" spc="-25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OM cus</a:t>
            </a:r>
            <a:r>
              <a:rPr sz="1200" spc="-9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4" dirty="0" smtClean="0">
                <a:latin typeface="+mj-lt"/>
                <a:cs typeface="Cambria"/>
              </a:rPr>
              <a:t>m</a:t>
            </a:r>
            <a:r>
              <a:rPr sz="1200" spc="0" dirty="0" smtClean="0">
                <a:latin typeface="+mj-lt"/>
                <a:cs typeface="Cambria"/>
              </a:rPr>
              <a:t>er </a:t>
            </a:r>
            <a:r>
              <a:rPr sz="1200" spc="-4" dirty="0" smtClean="0">
                <a:latin typeface="+mj-lt"/>
                <a:cs typeface="Cambria"/>
              </a:rPr>
              <a:t>W</a:t>
            </a:r>
            <a:r>
              <a:rPr sz="1200" spc="0" dirty="0" smtClean="0">
                <a:latin typeface="+mj-lt"/>
                <a:cs typeface="Cambria"/>
              </a:rPr>
              <a:t>H</a:t>
            </a:r>
            <a:r>
              <a:rPr sz="1200" spc="4" dirty="0" smtClean="0">
                <a:latin typeface="+mj-lt"/>
                <a:cs typeface="Cambria"/>
              </a:rPr>
              <a:t>E</a:t>
            </a:r>
            <a:r>
              <a:rPr sz="1200" spc="0" dirty="0" smtClean="0">
                <a:latin typeface="+mj-lt"/>
                <a:cs typeface="Cambria"/>
              </a:rPr>
              <a:t>R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p</a:t>
            </a:r>
            <a:r>
              <a:rPr sz="1200" spc="0" dirty="0" smtClean="0">
                <a:latin typeface="+mj-lt"/>
                <a:cs typeface="Cambria"/>
              </a:rPr>
              <a:t>hon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=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‘</a:t>
            </a:r>
            <a:r>
              <a:rPr sz="1200" spc="-4" dirty="0" smtClean="0">
                <a:latin typeface="+mj-lt"/>
                <a:cs typeface="Cambria"/>
              </a:rPr>
              <a:t>55</a:t>
            </a:r>
            <a:r>
              <a:rPr sz="1200" spc="9" dirty="0" smtClean="0">
                <a:latin typeface="+mj-lt"/>
                <a:cs typeface="Cambria"/>
              </a:rPr>
              <a:t>5</a:t>
            </a:r>
            <a:r>
              <a:rPr sz="1200" spc="0" dirty="0" smtClean="0">
                <a:latin typeface="+mj-lt"/>
                <a:cs typeface="Cambria"/>
              </a:rPr>
              <a:t>-</a:t>
            </a:r>
            <a:r>
              <a:rPr sz="1200" spc="-4" dirty="0" smtClean="0">
                <a:latin typeface="+mj-lt"/>
                <a:cs typeface="Cambria"/>
              </a:rPr>
              <a:t>7777</a:t>
            </a:r>
            <a:r>
              <a:rPr sz="1200" spc="0" dirty="0" smtClean="0">
                <a:latin typeface="+mj-lt"/>
                <a:cs typeface="Cambria"/>
              </a:rPr>
              <a:t>’;</a:t>
            </a:r>
            <a:endParaRPr sz="1200">
              <a:latin typeface="+mj-lt"/>
              <a:cs typeface="Cambria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6150102" y="1497211"/>
            <a:ext cx="264238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-4" dirty="0" smtClean="0">
                <a:latin typeface="+mj-lt"/>
                <a:cs typeface="Cambria"/>
              </a:rPr>
              <a:t>PK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8613140" y="1622313"/>
            <a:ext cx="448838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NUPI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6799835" y="1796296"/>
            <a:ext cx="554481" cy="12707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8566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W</a:t>
            </a:r>
            <a:r>
              <a:rPr sz="1400" spc="4" dirty="0" smtClean="0">
                <a:latin typeface="+mj-lt"/>
                <a:cs typeface="Cambria"/>
              </a:rPr>
              <a:t>hi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</a:t>
            </a:r>
            <a:endParaRPr sz="1400">
              <a:latin typeface="+mj-lt"/>
              <a:cs typeface="Cambria"/>
            </a:endParaRPr>
          </a:p>
          <a:p>
            <a:pPr marL="12700">
              <a:lnSpc>
                <a:spcPct val="100041"/>
              </a:lnSpc>
            </a:pPr>
            <a:r>
              <a:rPr sz="1400" spc="4" dirty="0" smtClean="0">
                <a:latin typeface="+mj-lt"/>
                <a:cs typeface="Cambria"/>
              </a:rPr>
              <a:t>B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-14" dirty="0" smtClean="0">
                <a:latin typeface="+mj-lt"/>
                <a:cs typeface="Cambria"/>
              </a:rPr>
              <a:t>o</a:t>
            </a:r>
            <a:r>
              <a:rPr sz="1400" spc="4" dirty="0" smtClean="0">
                <a:latin typeface="+mj-lt"/>
                <a:cs typeface="Cambria"/>
              </a:rPr>
              <a:t>w</a:t>
            </a:r>
            <a:r>
              <a:rPr sz="1400" spc="0" dirty="0" smtClean="0">
                <a:latin typeface="+mj-lt"/>
                <a:cs typeface="Cambria"/>
              </a:rPr>
              <a:t>n S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4" dirty="0" smtClean="0">
                <a:latin typeface="+mj-lt"/>
                <a:cs typeface="Cambria"/>
              </a:rPr>
              <a:t>it</a:t>
            </a:r>
            <a:r>
              <a:rPr sz="1400" spc="0" dirty="0" smtClean="0">
                <a:latin typeface="+mj-lt"/>
                <a:cs typeface="Cambria"/>
              </a:rPr>
              <a:t>h </a:t>
            </a:r>
            <a:r>
              <a:rPr sz="1400" spc="-29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s Jon</a:t>
            </a:r>
            <a:r>
              <a:rPr sz="1400" spc="-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s S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4" dirty="0" smtClean="0">
                <a:latin typeface="+mj-lt"/>
                <a:cs typeface="Cambria"/>
              </a:rPr>
              <a:t>it</a:t>
            </a:r>
            <a:r>
              <a:rPr sz="1400" spc="0" dirty="0" smtClean="0">
                <a:latin typeface="+mj-lt"/>
                <a:cs typeface="Cambria"/>
              </a:rPr>
              <a:t>h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8259960" y="1796296"/>
            <a:ext cx="845941" cy="12707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3848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55</a:t>
            </a:r>
            <a:r>
              <a:rPr sz="1400" spc="4" dirty="0" smtClean="0">
                <a:latin typeface="+mj-lt"/>
                <a:cs typeface="Cambria"/>
              </a:rPr>
              <a:t>5</a:t>
            </a:r>
            <a:r>
              <a:rPr sz="1400" spc="0" dirty="0" smtClean="0">
                <a:latin typeface="+mj-lt"/>
                <a:cs typeface="Cambria"/>
              </a:rPr>
              <a:t>-4444</a:t>
            </a:r>
            <a:endParaRPr sz="1400" dirty="0">
              <a:latin typeface="+mj-lt"/>
              <a:cs typeface="Cambria"/>
            </a:endParaRPr>
          </a:p>
          <a:p>
            <a:pPr marL="41655" marR="12192">
              <a:lnSpc>
                <a:spcPct val="97696"/>
              </a:lnSpc>
            </a:pPr>
            <a:r>
              <a:rPr sz="1400" spc="0" dirty="0" smtClean="0">
                <a:latin typeface="+mj-lt"/>
                <a:cs typeface="Cambria"/>
              </a:rPr>
              <a:t>33</a:t>
            </a:r>
            <a:r>
              <a:rPr sz="1400" spc="4" dirty="0" smtClean="0">
                <a:latin typeface="+mj-lt"/>
                <a:cs typeface="Cambria"/>
              </a:rPr>
              <a:t>3</a:t>
            </a:r>
            <a:r>
              <a:rPr sz="1400" spc="0" dirty="0" smtClean="0">
                <a:latin typeface="+mj-lt"/>
                <a:cs typeface="Cambria"/>
              </a:rPr>
              <a:t>-9999</a:t>
            </a:r>
            <a:endParaRPr sz="1400" dirty="0">
              <a:latin typeface="+mj-lt"/>
              <a:cs typeface="Cambria"/>
            </a:endParaRPr>
          </a:p>
          <a:p>
            <a:pPr marL="17272" marR="26746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55</a:t>
            </a:r>
            <a:r>
              <a:rPr sz="1400" spc="4" dirty="0" smtClean="0">
                <a:latin typeface="+mj-lt"/>
                <a:cs typeface="Cambria"/>
              </a:rPr>
              <a:t>5</a:t>
            </a:r>
            <a:r>
              <a:rPr sz="1400" spc="0" dirty="0" smtClean="0">
                <a:latin typeface="+mj-lt"/>
                <a:cs typeface="Cambria"/>
              </a:rPr>
              <a:t>-6666</a:t>
            </a:r>
            <a:endParaRPr sz="1400" dirty="0">
              <a:latin typeface="+mj-lt"/>
              <a:cs typeface="Cambria"/>
            </a:endParaRPr>
          </a:p>
          <a:p>
            <a:pPr marL="12700" marR="26746">
              <a:lnSpc>
                <a:spcPct val="97696"/>
              </a:lnSpc>
              <a:spcBef>
                <a:spcPts val="40"/>
              </a:spcBef>
            </a:pPr>
            <a:r>
              <a:rPr sz="1400" spc="0" dirty="0" smtClean="0">
                <a:latin typeface="+mj-lt"/>
                <a:cs typeface="Cambria"/>
              </a:rPr>
              <a:t>555-7777</a:t>
            </a:r>
            <a:endParaRPr sz="1400" dirty="0">
              <a:latin typeface="+mj-lt"/>
              <a:cs typeface="Cambria"/>
            </a:endParaRPr>
          </a:p>
          <a:p>
            <a:pPr marL="53848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22</a:t>
            </a:r>
            <a:r>
              <a:rPr sz="1400" spc="4" dirty="0" smtClean="0">
                <a:latin typeface="+mj-lt"/>
                <a:cs typeface="Cambria"/>
              </a:rPr>
              <a:t>2</a:t>
            </a:r>
            <a:r>
              <a:rPr sz="1400" spc="0" dirty="0" smtClean="0">
                <a:latin typeface="+mj-lt"/>
                <a:cs typeface="Cambria"/>
              </a:rPr>
              <a:t>-8888</a:t>
            </a:r>
            <a:endParaRPr sz="1400" dirty="0">
              <a:latin typeface="+mj-lt"/>
              <a:cs typeface="Cambria"/>
            </a:endParaRPr>
          </a:p>
          <a:p>
            <a:pPr marL="53848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55</a:t>
            </a:r>
            <a:r>
              <a:rPr sz="1400" spc="4" dirty="0" smtClean="0">
                <a:latin typeface="+mj-lt"/>
                <a:cs typeface="Cambria"/>
              </a:rPr>
              <a:t>5</a:t>
            </a:r>
            <a:r>
              <a:rPr sz="1400" spc="0" dirty="0" smtClean="0">
                <a:latin typeface="+mj-lt"/>
                <a:cs typeface="Cambria"/>
              </a:rPr>
              <a:t>-7777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6829877" y="3503431"/>
            <a:ext cx="498051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Sm</a:t>
            </a:r>
            <a:r>
              <a:rPr sz="1400" spc="4" dirty="0" smtClean="0">
                <a:latin typeface="+mj-lt"/>
                <a:cs typeface="Cambria"/>
              </a:rPr>
              <a:t>it</a:t>
            </a:r>
            <a:r>
              <a:rPr sz="1400" spc="0" dirty="0" smtClean="0">
                <a:latin typeface="+mj-lt"/>
                <a:cs typeface="Cambria"/>
              </a:rPr>
              <a:t>h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8232776" y="3503431"/>
            <a:ext cx="80479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11</a:t>
            </a:r>
            <a:r>
              <a:rPr sz="1400" spc="4" dirty="0" smtClean="0">
                <a:latin typeface="+mj-lt"/>
                <a:cs typeface="Cambria"/>
              </a:rPr>
              <a:t>1</a:t>
            </a:r>
            <a:r>
              <a:rPr sz="1400" spc="0" dirty="0" smtClean="0">
                <a:latin typeface="+mj-lt"/>
                <a:cs typeface="Cambria"/>
              </a:rPr>
              <a:t>-6666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6118606" y="3930404"/>
            <a:ext cx="24960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31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6829877" y="3930404"/>
            <a:ext cx="572749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-4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da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s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8193152" y="3930404"/>
            <a:ext cx="80479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11</a:t>
            </a:r>
            <a:r>
              <a:rPr sz="1400" spc="4" dirty="0" smtClean="0">
                <a:latin typeface="+mj-lt"/>
                <a:cs typeface="Cambria"/>
              </a:rPr>
              <a:t>1</a:t>
            </a:r>
            <a:r>
              <a:rPr sz="1400" spc="0" dirty="0" smtClean="0">
                <a:latin typeface="+mj-lt"/>
                <a:cs typeface="Cambria"/>
              </a:rPr>
              <a:t>-2222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987348" y="5161943"/>
            <a:ext cx="692638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5693410" y="5161943"/>
            <a:ext cx="692638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7922768" y="5161943"/>
            <a:ext cx="692638" cy="3942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  <a:p>
            <a:pPr marL="56260" marR="21031">
              <a:lnSpc>
                <a:spcPct val="97696"/>
              </a:lnSpc>
              <a:spcBef>
                <a:spcPts val="448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3230626" y="5189628"/>
            <a:ext cx="692638" cy="44308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  <a:p>
            <a:pPr marL="283083" marR="21031">
              <a:lnSpc>
                <a:spcPct val="97696"/>
              </a:lnSpc>
              <a:spcBef>
                <a:spcPts val="832"/>
              </a:spcBef>
            </a:pPr>
            <a:r>
              <a:rPr sz="1100" spc="0" dirty="0" smtClean="0">
                <a:latin typeface="+mj-lt"/>
                <a:cs typeface="Cambria"/>
              </a:rPr>
              <a:t>N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7470775" y="5357014"/>
            <a:ext cx="311617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C</a:t>
            </a:r>
            <a:r>
              <a:rPr sz="1100" spc="4" dirty="0" smtClean="0">
                <a:latin typeface="+mj-lt"/>
                <a:cs typeface="Cambria"/>
              </a:rPr>
              <a:t>us</a:t>
            </a:r>
            <a:r>
              <a:rPr sz="1100" spc="0" dirty="0" smtClean="0">
                <a:latin typeface="+mj-lt"/>
                <a:cs typeface="Cambria"/>
              </a:rPr>
              <a:t>t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5115815" y="5390542"/>
            <a:ext cx="302454" cy="3183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00"/>
              </a:lnSpc>
              <a:spcBef>
                <a:spcPts val="95"/>
              </a:spcBef>
            </a:pPr>
            <a:r>
              <a:rPr sz="1100" spc="4" dirty="0" smtClean="0">
                <a:latin typeface="+mj-lt"/>
                <a:cs typeface="Cambria"/>
              </a:rPr>
              <a:t>U</a:t>
            </a:r>
            <a:r>
              <a:rPr sz="1100" spc="0" dirty="0" smtClean="0">
                <a:latin typeface="+mj-lt"/>
                <a:cs typeface="Cambria"/>
              </a:rPr>
              <a:t>PI C</a:t>
            </a:r>
            <a:r>
              <a:rPr sz="1100" spc="4" dirty="0" smtClean="0">
                <a:latin typeface="+mj-lt"/>
                <a:cs typeface="Cambria"/>
              </a:rPr>
              <a:t>us</a:t>
            </a:r>
            <a:r>
              <a:rPr sz="1100" spc="0" dirty="0" smtClean="0">
                <a:latin typeface="+mj-lt"/>
                <a:cs typeface="Cambria"/>
              </a:rPr>
              <a:t>t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8794243" y="5390543"/>
            <a:ext cx="424472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360376" y="5437152"/>
            <a:ext cx="315153" cy="2692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80"/>
              </a:lnSpc>
              <a:spcBef>
                <a:spcPts val="54"/>
              </a:spcBef>
            </a:pPr>
            <a:r>
              <a:rPr sz="1650" spc="0" baseline="-7754" dirty="0" smtClean="0">
                <a:latin typeface="+mj-lt"/>
                <a:cs typeface="Cambria"/>
              </a:rPr>
              <a:t>C</a:t>
            </a:r>
            <a:r>
              <a:rPr sz="1650" spc="4" baseline="-7754" dirty="0" smtClean="0">
                <a:latin typeface="+mj-lt"/>
                <a:cs typeface="Cambria"/>
              </a:rPr>
              <a:t>us</a:t>
            </a:r>
            <a:r>
              <a:rPr sz="1650" spc="0" baseline="-7754" dirty="0" smtClean="0">
                <a:latin typeface="+mj-lt"/>
                <a:cs typeface="Cambria"/>
              </a:rPr>
              <a:t>t</a:t>
            </a:r>
            <a:endParaRPr sz="1100">
              <a:latin typeface="+mj-lt"/>
              <a:cs typeface="Cambria"/>
            </a:endParaRPr>
          </a:p>
          <a:p>
            <a:pPr marL="62077" marR="2990">
              <a:lnSpc>
                <a:spcPts val="980"/>
              </a:lnSpc>
            </a:pPr>
            <a:r>
              <a:rPr sz="1650" spc="4" baseline="2584" dirty="0" smtClean="0">
                <a:latin typeface="+mj-lt"/>
                <a:cs typeface="Cambria"/>
              </a:rPr>
              <a:t>U</a:t>
            </a:r>
            <a:r>
              <a:rPr sz="1650" spc="0" baseline="2584" dirty="0" smtClean="0">
                <a:latin typeface="+mj-lt"/>
                <a:cs typeface="Cambria"/>
              </a:rPr>
              <a:t>PI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1018439" y="5467961"/>
            <a:ext cx="396501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1732915" y="5467961"/>
            <a:ext cx="424472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2886584" y="5466800"/>
            <a:ext cx="315308" cy="5431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Cu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t</a:t>
            </a:r>
            <a:endParaRPr sz="1100">
              <a:latin typeface="+mj-lt"/>
              <a:cs typeface="Cambria"/>
            </a:endParaRPr>
          </a:p>
          <a:p>
            <a:pPr marL="12700" marR="24566">
              <a:lnSpc>
                <a:spcPts val="1200"/>
              </a:lnSpc>
            </a:pPr>
            <a:r>
              <a:rPr sz="1100" spc="4" dirty="0" smtClean="0">
                <a:latin typeface="+mj-lt"/>
                <a:cs typeface="Cambria"/>
              </a:rPr>
              <a:t>U</a:t>
            </a:r>
            <a:r>
              <a:rPr sz="1100" spc="0" dirty="0" smtClean="0">
                <a:latin typeface="+mj-lt"/>
                <a:cs typeface="Cambria"/>
              </a:rPr>
              <a:t>PI</a:t>
            </a:r>
            <a:endParaRPr sz="1100">
              <a:latin typeface="+mj-lt"/>
              <a:cs typeface="Cambria"/>
            </a:endParaRPr>
          </a:p>
          <a:p>
            <a:pPr marL="35179" marR="24566">
              <a:lnSpc>
                <a:spcPct val="97696"/>
              </a:lnSpc>
              <a:spcBef>
                <a:spcPts val="419"/>
              </a:spcBef>
            </a:pPr>
            <a:r>
              <a:rPr sz="1100" spc="0" dirty="0" smtClean="0">
                <a:latin typeface="+mj-lt"/>
                <a:cs typeface="Cambria"/>
              </a:rPr>
              <a:t>84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4058540" y="5466800"/>
            <a:ext cx="424427" cy="1659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-4" dirty="0" smtClean="0">
                <a:latin typeface="+mj-lt"/>
                <a:cs typeface="Cambria"/>
              </a:rPr>
              <a:t>P</a:t>
            </a:r>
            <a:r>
              <a:rPr sz="1100" spc="0" dirty="0" smtClean="0">
                <a:latin typeface="+mj-lt"/>
                <a:cs typeface="Cambria"/>
              </a:rPr>
              <a:t>ho</a:t>
            </a:r>
            <a:r>
              <a:rPr sz="1100" spc="-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5611116" y="5543246"/>
            <a:ext cx="396501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6356350" y="5543246"/>
            <a:ext cx="424472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3748533" y="5837378"/>
            <a:ext cx="637581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666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5555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3207259" y="5844389"/>
            <a:ext cx="303542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Ri</a:t>
            </a:r>
            <a:r>
              <a:rPr sz="1100" spc="4" dirty="0" smtClean="0">
                <a:latin typeface="+mj-lt"/>
                <a:cs typeface="Cambria"/>
              </a:rPr>
              <a:t>c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6250687" y="5848046"/>
            <a:ext cx="637835" cy="2799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650" spc="0" baseline="-5169" dirty="0" smtClean="0">
                <a:latin typeface="+mj-lt"/>
                <a:cs typeface="Cambria"/>
              </a:rPr>
              <a:t>77</a:t>
            </a:r>
            <a:r>
              <a:rPr sz="1650" spc="4" baseline="-5169" dirty="0" smtClean="0">
                <a:latin typeface="+mj-lt"/>
                <a:cs typeface="Cambria"/>
              </a:rPr>
              <a:t>7-</a:t>
            </a:r>
            <a:r>
              <a:rPr sz="1650" spc="0" baseline="-5169" dirty="0" smtClean="0">
                <a:latin typeface="+mj-lt"/>
                <a:cs typeface="Cambria"/>
              </a:rPr>
              <a:t>4444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1019"/>
              </a:lnSpc>
            </a:pPr>
            <a:r>
              <a:rPr sz="1650" spc="0" baseline="2584" dirty="0" smtClean="0">
                <a:latin typeface="+mj-lt"/>
                <a:cs typeface="Cambria"/>
              </a:rPr>
              <a:t>55</a:t>
            </a:r>
            <a:r>
              <a:rPr sz="1650" spc="4" baseline="2584" dirty="0" smtClean="0">
                <a:latin typeface="+mj-lt"/>
                <a:cs typeface="Cambria"/>
              </a:rPr>
              <a:t>5-</a:t>
            </a:r>
            <a:r>
              <a:rPr sz="1650" spc="0" baseline="2584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5168646" y="5855057"/>
            <a:ext cx="201798" cy="2799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650" spc="0" baseline="-5169" dirty="0" smtClean="0">
                <a:latin typeface="+mj-lt"/>
                <a:cs typeface="Cambria"/>
              </a:rPr>
              <a:t>12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1019"/>
              </a:lnSpc>
            </a:pPr>
            <a:r>
              <a:rPr sz="1650" spc="0" baseline="2584" dirty="0" smtClean="0">
                <a:latin typeface="+mj-lt"/>
                <a:cs typeface="Cambria"/>
              </a:rPr>
              <a:t>74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5552948" y="5855057"/>
            <a:ext cx="428407" cy="2799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650" spc="-4" baseline="-5169" dirty="0" smtClean="0">
                <a:latin typeface="+mj-lt"/>
                <a:cs typeface="Cambria"/>
              </a:rPr>
              <a:t>Y</a:t>
            </a:r>
            <a:r>
              <a:rPr sz="1650" spc="0" baseline="-5169" dirty="0" smtClean="0">
                <a:latin typeface="+mj-lt"/>
                <a:cs typeface="Cambria"/>
              </a:rPr>
              <a:t>o</a:t>
            </a:r>
            <a:r>
              <a:rPr sz="1650" spc="4" baseline="-5169" dirty="0" smtClean="0">
                <a:latin typeface="+mj-lt"/>
                <a:cs typeface="Cambria"/>
              </a:rPr>
              <a:t>u</a:t>
            </a:r>
            <a:r>
              <a:rPr sz="1650" spc="-4" baseline="-5169" dirty="0" smtClean="0">
                <a:latin typeface="+mj-lt"/>
                <a:cs typeface="Cambria"/>
              </a:rPr>
              <a:t>n</a:t>
            </a:r>
            <a:r>
              <a:rPr sz="1650" spc="0" baseline="-5169" dirty="0" smtClean="0">
                <a:latin typeface="+mj-lt"/>
                <a:cs typeface="Cambria"/>
              </a:rPr>
              <a:t>g</a:t>
            </a:r>
            <a:endParaRPr sz="1100">
              <a:latin typeface="+mj-lt"/>
              <a:cs typeface="Cambria"/>
            </a:endParaRPr>
          </a:p>
          <a:p>
            <a:pPr marL="12700" marR="24566">
              <a:lnSpc>
                <a:spcPts val="1019"/>
              </a:lnSpc>
            </a:pPr>
            <a:r>
              <a:rPr sz="1650" spc="4" baseline="2584" dirty="0" smtClean="0">
                <a:latin typeface="+mj-lt"/>
                <a:cs typeface="Cambria"/>
              </a:rPr>
              <a:t>Smi</a:t>
            </a:r>
            <a:r>
              <a:rPr sz="1650" spc="0" baseline="2584" dirty="0" smtClean="0">
                <a:latin typeface="+mj-lt"/>
                <a:cs typeface="Cambria"/>
              </a:rPr>
              <a:t>th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8432039" y="5924247"/>
            <a:ext cx="637581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777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7592696" y="5931258"/>
            <a:ext cx="201798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77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7890765" y="5931258"/>
            <a:ext cx="370098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Jo</a:t>
            </a:r>
            <a:r>
              <a:rPr sz="1100" spc="-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e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1705738" y="6126634"/>
            <a:ext cx="637581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888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222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574649" y="6136083"/>
            <a:ext cx="201798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51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923342" y="6136083"/>
            <a:ext cx="425379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Mar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h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6250687" y="6190946"/>
            <a:ext cx="637835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11</a:t>
            </a:r>
            <a:r>
              <a:rPr sz="1100" spc="4" dirty="0" smtClean="0">
                <a:latin typeface="+mj-lt"/>
                <a:cs typeface="Cambria"/>
              </a:rPr>
              <a:t>1-</a:t>
            </a:r>
            <a:r>
              <a:rPr sz="1100" spc="0" dirty="0" smtClean="0">
                <a:latin typeface="+mj-lt"/>
                <a:cs typeface="Cambria"/>
              </a:rPr>
              <a:t>222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5168646" y="6198263"/>
            <a:ext cx="201798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31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552948" y="6198263"/>
            <a:ext cx="457056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d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0" y="6091193"/>
            <a:ext cx="7512049" cy="2715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921760">
              <a:lnSpc>
                <a:spcPts val="1180"/>
              </a:lnSpc>
              <a:spcBef>
                <a:spcPts val="59"/>
              </a:spcBef>
            </a:pPr>
            <a:r>
              <a:rPr sz="1650" spc="0" baseline="5169" dirty="0" smtClean="0">
                <a:latin typeface="+mj-lt"/>
                <a:cs typeface="Cambria"/>
              </a:rPr>
              <a:t>77   </a:t>
            </a:r>
            <a:r>
              <a:rPr sz="1650" spc="157" baseline="5169" dirty="0" smtClean="0">
                <a:latin typeface="+mj-lt"/>
                <a:cs typeface="Cambria"/>
              </a:rPr>
              <a:t> </a:t>
            </a:r>
            <a:r>
              <a:rPr sz="1650" spc="0" baseline="5169" dirty="0" smtClean="0">
                <a:latin typeface="+mj-lt"/>
                <a:cs typeface="Cambria"/>
              </a:rPr>
              <a:t>Jo</a:t>
            </a:r>
            <a:r>
              <a:rPr sz="1650" spc="-4" baseline="5169" dirty="0" smtClean="0">
                <a:latin typeface="+mj-lt"/>
                <a:cs typeface="Cambria"/>
              </a:rPr>
              <a:t>n</a:t>
            </a:r>
            <a:r>
              <a:rPr sz="1650" spc="0" baseline="5169" dirty="0" smtClean="0">
                <a:latin typeface="+mj-lt"/>
                <a:cs typeface="Cambria"/>
              </a:rPr>
              <a:t>es      </a:t>
            </a:r>
            <a:r>
              <a:rPr sz="1650" spc="19" baseline="5169" dirty="0" smtClean="0">
                <a:latin typeface="+mj-lt"/>
                <a:cs typeface="Cambria"/>
              </a:rPr>
              <a:t> </a:t>
            </a:r>
            <a:r>
              <a:rPr sz="1650" spc="0" baseline="7754" dirty="0" smtClean="0">
                <a:latin typeface="+mj-lt"/>
                <a:cs typeface="Cambria"/>
              </a:rPr>
              <a:t>777</a:t>
            </a:r>
            <a:r>
              <a:rPr sz="1650" spc="4" baseline="7754" dirty="0" smtClean="0">
                <a:latin typeface="+mj-lt"/>
                <a:cs typeface="Cambria"/>
              </a:rPr>
              <a:t>-</a:t>
            </a:r>
            <a:r>
              <a:rPr sz="1650" spc="0" baseline="7754" dirty="0" smtClean="0">
                <a:latin typeface="+mj-lt"/>
                <a:cs typeface="Cambria"/>
              </a:rPr>
              <a:t>6666                         </a:t>
            </a:r>
            <a:r>
              <a:rPr sz="1650" spc="237" baseline="775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98      </a:t>
            </a:r>
            <a:r>
              <a:rPr sz="1100" spc="109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B</a:t>
            </a:r>
            <a:r>
              <a:rPr sz="1100" spc="-4" dirty="0" smtClean="0">
                <a:latin typeface="+mj-lt"/>
                <a:cs typeface="Cambria"/>
              </a:rPr>
              <a:t>r</a:t>
            </a:r>
            <a:r>
              <a:rPr sz="1100" spc="0" dirty="0" smtClean="0">
                <a:latin typeface="+mj-lt"/>
                <a:cs typeface="Cambria"/>
              </a:rPr>
              <a:t>own        </a:t>
            </a:r>
            <a:r>
              <a:rPr sz="1100" spc="132" dirty="0" smtClean="0">
                <a:latin typeface="+mj-lt"/>
                <a:cs typeface="Cambria"/>
              </a:rPr>
              <a:t> </a:t>
            </a:r>
            <a:r>
              <a:rPr sz="1650" spc="0" baseline="2584" dirty="0" smtClean="0">
                <a:latin typeface="+mj-lt"/>
                <a:cs typeface="Cambria"/>
              </a:rPr>
              <a:t>33</a:t>
            </a:r>
            <a:r>
              <a:rPr sz="1650" spc="4" baseline="2584" dirty="0" smtClean="0">
                <a:latin typeface="+mj-lt"/>
                <a:cs typeface="Cambria"/>
              </a:rPr>
              <a:t>3-</a:t>
            </a:r>
            <a:r>
              <a:rPr sz="1650" spc="0" baseline="2584" dirty="0" smtClean="0">
                <a:latin typeface="+mj-lt"/>
                <a:cs typeface="Cambria"/>
              </a:rPr>
              <a:t>9999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7512050" y="6091193"/>
            <a:ext cx="352501" cy="2715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3345">
              <a:lnSpc>
                <a:spcPct val="97696"/>
              </a:lnSpc>
              <a:spcBef>
                <a:spcPts val="434"/>
              </a:spcBef>
            </a:pPr>
            <a:r>
              <a:rPr sz="1100" spc="0" dirty="0" smtClean="0">
                <a:latin typeface="+mj-lt"/>
                <a:cs typeface="Cambria"/>
              </a:rPr>
              <a:t>95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7864551" y="6091193"/>
            <a:ext cx="580123" cy="2715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01650">
              <a:lnSpc>
                <a:spcPct val="97696"/>
              </a:lnSpc>
              <a:spcBef>
                <a:spcPts val="434"/>
              </a:spcBef>
            </a:pPr>
            <a:r>
              <a:rPr sz="1100" spc="0" dirty="0" smtClean="0">
                <a:latin typeface="+mj-lt"/>
                <a:cs typeface="Cambria"/>
              </a:rPr>
              <a:t>Peter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8444676" y="6091193"/>
            <a:ext cx="83375" cy="2715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8528051" y="6091193"/>
            <a:ext cx="782777" cy="2715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3218">
              <a:lnSpc>
                <a:spcPct val="97696"/>
              </a:lnSpc>
              <a:spcBef>
                <a:spcPts val="360"/>
              </a:spcBef>
            </a:pPr>
            <a:r>
              <a:rPr sz="1100" spc="0" dirty="0" smtClean="0">
                <a:latin typeface="+mj-lt"/>
                <a:cs typeface="Cambria"/>
              </a:rPr>
              <a:t>555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7777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9310827" y="6091193"/>
            <a:ext cx="595173" cy="2715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744119" y="5795479"/>
            <a:ext cx="733431" cy="261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52">
              <a:lnSpc>
                <a:spcPct val="97696"/>
              </a:lnSpc>
              <a:spcBef>
                <a:spcPts val="430"/>
              </a:spcBef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d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477549" y="5795479"/>
            <a:ext cx="918470" cy="261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01568">
              <a:lnSpc>
                <a:spcPct val="97696"/>
              </a:lnSpc>
              <a:spcBef>
                <a:spcPts val="360"/>
              </a:spcBef>
            </a:pPr>
            <a:r>
              <a:rPr sz="1100" spc="0" dirty="0" smtClean="0">
                <a:latin typeface="+mj-lt"/>
                <a:cs typeface="Cambria"/>
              </a:rPr>
              <a:t>444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31127" y="5799772"/>
            <a:ext cx="343255" cy="261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40">
              <a:lnSpc>
                <a:spcPct val="97696"/>
              </a:lnSpc>
              <a:spcBef>
                <a:spcPts val="395"/>
              </a:spcBef>
            </a:pPr>
            <a:r>
              <a:rPr sz="1100" spc="0" dirty="0" smtClean="0">
                <a:latin typeface="+mj-lt"/>
                <a:cs typeface="Cambria"/>
              </a:rPr>
              <a:t>45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8549514" y="5562588"/>
            <a:ext cx="722972" cy="2475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3344">
              <a:lnSpc>
                <a:spcPct val="97696"/>
              </a:lnSpc>
              <a:spcBef>
                <a:spcPts val="395"/>
              </a:spcBef>
            </a:pPr>
            <a:r>
              <a:rPr sz="1000" spc="0" dirty="0" smtClean="0">
                <a:latin typeface="+mj-lt"/>
                <a:cs typeface="Cambria"/>
              </a:rPr>
              <a:t>555</a:t>
            </a:r>
            <a:r>
              <a:rPr sz="1000" spc="4" dirty="0" smtClean="0">
                <a:latin typeface="+mj-lt"/>
                <a:cs typeface="Cambria"/>
              </a:rPr>
              <a:t>-</a:t>
            </a:r>
            <a:r>
              <a:rPr sz="1000" spc="0" dirty="0" smtClean="0">
                <a:latin typeface="+mj-lt"/>
                <a:cs typeface="Cambria"/>
              </a:rPr>
              <a:t>7777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7539610" y="5571173"/>
            <a:ext cx="343509" cy="2475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3218">
              <a:lnSpc>
                <a:spcPct val="97696"/>
              </a:lnSpc>
              <a:spcBef>
                <a:spcPts val="395"/>
              </a:spcBef>
            </a:pPr>
            <a:r>
              <a:rPr sz="1000" spc="0" dirty="0" smtClean="0">
                <a:latin typeface="+mj-lt"/>
                <a:cs typeface="Cambria"/>
              </a:rPr>
              <a:t>56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883118" y="5571173"/>
            <a:ext cx="522871" cy="2475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08483">
              <a:lnSpc>
                <a:spcPct val="97696"/>
              </a:lnSpc>
              <a:spcBef>
                <a:spcPts val="395"/>
              </a:spcBef>
            </a:pPr>
            <a:r>
              <a:rPr sz="1000" spc="0" dirty="0" smtClean="0">
                <a:latin typeface="+mj-lt"/>
                <a:cs typeface="Cambria"/>
              </a:rPr>
              <a:t>Sm</a:t>
            </a:r>
            <a:r>
              <a:rPr sz="1000" spc="-4" dirty="0" smtClean="0">
                <a:latin typeface="+mj-lt"/>
                <a:cs typeface="Cambria"/>
              </a:rPr>
              <a:t>i</a:t>
            </a:r>
            <a:r>
              <a:rPr sz="1000" spc="0" dirty="0" smtClean="0">
                <a:latin typeface="+mj-lt"/>
                <a:cs typeface="Cambria"/>
              </a:rPr>
              <a:t>th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701163" y="4691063"/>
            <a:ext cx="1880362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3"/>
              </a:spcBef>
            </a:pPr>
            <a:endParaRPr sz="700">
              <a:latin typeface="+mj-lt"/>
            </a:endParaRPr>
          </a:p>
          <a:p>
            <a:pPr marL="720979" marR="719477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7301104" y="4648137"/>
            <a:ext cx="1880362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5"/>
              </a:spcBef>
            </a:pPr>
            <a:endParaRPr sz="700">
              <a:latin typeface="+mj-lt"/>
            </a:endParaRPr>
          </a:p>
          <a:p>
            <a:pPr marL="724814" marR="722042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4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001133" y="4648137"/>
            <a:ext cx="1880362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5"/>
              </a:spcBef>
            </a:pPr>
            <a:endParaRPr sz="700">
              <a:latin typeface="+mj-lt"/>
            </a:endParaRPr>
          </a:p>
          <a:p>
            <a:pPr marL="724433" marR="722423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3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11352" y="4648137"/>
            <a:ext cx="1882648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5"/>
              </a:spcBef>
            </a:pPr>
            <a:endParaRPr sz="700">
              <a:latin typeface="+mj-lt"/>
            </a:endParaRPr>
          </a:p>
          <a:p>
            <a:pPr marL="724255" marR="724887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1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12751" y="4114800"/>
            <a:ext cx="8580629" cy="304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447186" marR="4662745" algn="ctr">
              <a:lnSpc>
                <a:spcPct val="97696"/>
              </a:lnSpc>
              <a:spcBef>
                <a:spcPts val="390"/>
              </a:spcBef>
            </a:pPr>
            <a:r>
              <a:rPr sz="1100" spc="0" dirty="0" smtClean="0">
                <a:latin typeface="+mj-lt"/>
                <a:cs typeface="Cambria"/>
              </a:rPr>
              <a:t>B</a:t>
            </a:r>
            <a:r>
              <a:rPr sz="1100" spc="-9" dirty="0" smtClean="0">
                <a:latin typeface="+mj-lt"/>
                <a:cs typeface="Cambria"/>
              </a:rPr>
              <a:t>Y</a:t>
            </a: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ET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011046" y="2528887"/>
            <a:ext cx="1456055" cy="3667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265770" y="2362200"/>
            <a:ext cx="2696591" cy="144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00"/>
              </a:lnSpc>
              <a:spcBef>
                <a:spcPts val="47"/>
              </a:spcBef>
            </a:pPr>
            <a:endParaRPr sz="900">
              <a:latin typeface="+mj-lt"/>
            </a:endParaRPr>
          </a:p>
          <a:p>
            <a:pPr marL="837095">
              <a:lnSpc>
                <a:spcPct val="97696"/>
              </a:lnSpc>
              <a:spcBef>
                <a:spcPts val="1000"/>
              </a:spcBef>
            </a:pPr>
            <a:r>
              <a:rPr sz="1400" spc="-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I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=</a:t>
            </a:r>
            <a:r>
              <a:rPr sz="1400" spc="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‘5</a:t>
            </a:r>
            <a:r>
              <a:rPr sz="1400" spc="4" dirty="0" smtClean="0">
                <a:latin typeface="+mj-lt"/>
                <a:cs typeface="Cambria"/>
              </a:rPr>
              <a:t>55</a:t>
            </a:r>
            <a:r>
              <a:rPr sz="1400" spc="0" dirty="0" smtClean="0">
                <a:latin typeface="+mj-lt"/>
                <a:cs typeface="Cambria"/>
              </a:rPr>
              <a:t>-7777’</a:t>
            </a:r>
            <a:endParaRPr sz="1400">
              <a:latin typeface="+mj-lt"/>
              <a:cs typeface="Cambria"/>
            </a:endParaRPr>
          </a:p>
          <a:p>
            <a:pPr marL="64681">
              <a:lnSpc>
                <a:spcPct val="97696"/>
              </a:lnSpc>
              <a:spcBef>
                <a:spcPts val="1229"/>
              </a:spcBef>
            </a:pPr>
            <a:r>
              <a:rPr sz="1400" spc="-4" dirty="0" smtClean="0">
                <a:latin typeface="+mj-lt"/>
                <a:cs typeface="Cambria"/>
              </a:rPr>
              <a:t>PE</a:t>
            </a:r>
            <a:endParaRPr sz="1400">
              <a:latin typeface="+mj-lt"/>
              <a:cs typeface="Cambria"/>
            </a:endParaRPr>
          </a:p>
          <a:p>
            <a:pPr marL="858050">
              <a:lnSpc>
                <a:spcPct val="97696"/>
              </a:lnSpc>
              <a:spcBef>
                <a:spcPts val="1133"/>
              </a:spcBef>
            </a:pPr>
            <a:r>
              <a:rPr sz="1200" spc="4" dirty="0" smtClean="0">
                <a:latin typeface="+mj-lt"/>
                <a:cs typeface="Cambria"/>
              </a:rPr>
              <a:t>H</a:t>
            </a:r>
            <a:r>
              <a:rPr sz="1200" spc="0" dirty="0" smtClean="0">
                <a:latin typeface="+mj-lt"/>
                <a:cs typeface="Cambria"/>
              </a:rPr>
              <a:t>ashi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g</a:t>
            </a:r>
            <a:r>
              <a:rPr sz="1200" spc="-14" dirty="0" smtClean="0">
                <a:latin typeface="+mj-lt"/>
                <a:cs typeface="Cambria"/>
              </a:rPr>
              <a:t> </a:t>
            </a:r>
            <a:r>
              <a:rPr sz="1200" spc="-4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l</a:t>
            </a:r>
            <a:r>
              <a:rPr sz="1200" spc="-4" dirty="0" smtClean="0">
                <a:latin typeface="+mj-lt"/>
                <a:cs typeface="Cambria"/>
              </a:rPr>
              <a:t>g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i</a:t>
            </a:r>
            <a:r>
              <a:rPr sz="1200" spc="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hm</a:t>
            </a:r>
            <a:endParaRPr sz="1200">
              <a:latin typeface="+mj-lt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601972" y="1285876"/>
            <a:ext cx="2600325" cy="16306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93140">
              <a:lnSpc>
                <a:spcPts val="1275"/>
              </a:lnSpc>
              <a:spcBef>
                <a:spcPts val="73"/>
              </a:spcBef>
            </a:pPr>
            <a:r>
              <a:rPr sz="2100" spc="-9" baseline="-16247" dirty="0" smtClean="0">
                <a:latin typeface="+mj-lt"/>
                <a:cs typeface="Cambria"/>
              </a:rPr>
              <a:t>C</a:t>
            </a:r>
            <a:r>
              <a:rPr sz="2100" spc="4" baseline="-16247" dirty="0" smtClean="0">
                <a:latin typeface="+mj-lt"/>
                <a:cs typeface="Cambria"/>
              </a:rPr>
              <a:t>u</a:t>
            </a:r>
            <a:r>
              <a:rPr sz="2100" spc="0" baseline="-16247" dirty="0" smtClean="0">
                <a:latin typeface="+mj-lt"/>
                <a:cs typeface="Cambria"/>
              </a:rPr>
              <a:t>st                       </a:t>
            </a:r>
            <a:r>
              <a:rPr sz="2100" spc="242" baseline="-16247" dirty="0" smtClean="0">
                <a:latin typeface="+mj-lt"/>
                <a:cs typeface="Cambria"/>
              </a:rPr>
              <a:t> </a:t>
            </a:r>
            <a:r>
              <a:rPr sz="2100" spc="0" baseline="-12185" dirty="0" smtClean="0">
                <a:latin typeface="+mj-lt"/>
                <a:cs typeface="Cambria"/>
              </a:rPr>
              <a:t>Name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8202295" y="1285876"/>
            <a:ext cx="1320800" cy="16306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81710">
              <a:lnSpc>
                <a:spcPts val="1175"/>
              </a:lnSpc>
              <a:spcBef>
                <a:spcPts val="168"/>
              </a:spcBef>
            </a:pPr>
            <a:r>
              <a:rPr sz="2100" spc="-4" baseline="-16247" dirty="0" smtClean="0">
                <a:latin typeface="+mj-lt"/>
                <a:cs typeface="Cambria"/>
              </a:rPr>
              <a:t>P</a:t>
            </a:r>
            <a:r>
              <a:rPr sz="2100" spc="4" baseline="-16247" dirty="0" smtClean="0">
                <a:latin typeface="+mj-lt"/>
                <a:cs typeface="Cambria"/>
              </a:rPr>
              <a:t>h</a:t>
            </a:r>
            <a:r>
              <a:rPr sz="2100" spc="0" baseline="-16247" dirty="0" smtClean="0">
                <a:latin typeface="+mj-lt"/>
                <a:cs typeface="Cambria"/>
              </a:rPr>
              <a:t>o</a:t>
            </a:r>
            <a:r>
              <a:rPr sz="2100" spc="-4" baseline="-16247" dirty="0" smtClean="0">
                <a:latin typeface="+mj-lt"/>
                <a:cs typeface="Cambria"/>
              </a:rPr>
              <a:t>n</a:t>
            </a:r>
            <a:r>
              <a:rPr sz="2100" spc="0" baseline="-16247" dirty="0" smtClean="0">
                <a:latin typeface="+mj-lt"/>
                <a:cs typeface="Cambria"/>
              </a:rPr>
              <a:t>e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601972" y="1448943"/>
            <a:ext cx="2600325" cy="1393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8202295" y="1448943"/>
            <a:ext cx="1320800" cy="1393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601970" y="1588262"/>
            <a:ext cx="1167130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769102" y="1588262"/>
            <a:ext cx="1433195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202295" y="1588262"/>
            <a:ext cx="1320800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601970" y="1740662"/>
            <a:ext cx="1167130" cy="21455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03262" marR="413705" algn="ctr">
              <a:lnSpc>
                <a:spcPct val="97696"/>
              </a:lnSpc>
              <a:spcBef>
                <a:spcPts val="345"/>
              </a:spcBef>
            </a:pPr>
            <a:r>
              <a:rPr sz="1400" spc="0" dirty="0" smtClean="0">
                <a:latin typeface="+mj-lt"/>
                <a:cs typeface="Cambria"/>
              </a:rPr>
              <a:t>37</a:t>
            </a:r>
            <a:endParaRPr sz="1400">
              <a:latin typeface="+mj-lt"/>
              <a:cs typeface="Cambria"/>
            </a:endParaRPr>
          </a:p>
          <a:p>
            <a:pPr marL="503262" marR="413705" algn="ctr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98</a:t>
            </a:r>
            <a:endParaRPr sz="1400">
              <a:latin typeface="+mj-lt"/>
              <a:cs typeface="Cambria"/>
            </a:endParaRPr>
          </a:p>
          <a:p>
            <a:pPr marL="503262" marR="413705" algn="ctr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74</a:t>
            </a:r>
            <a:endParaRPr sz="1400">
              <a:latin typeface="+mj-lt"/>
              <a:cs typeface="Cambria"/>
            </a:endParaRPr>
          </a:p>
          <a:p>
            <a:pPr marL="503240" marR="413681" algn="ctr">
              <a:lnSpc>
                <a:spcPct val="97696"/>
              </a:lnSpc>
              <a:spcBef>
                <a:spcPts val="40"/>
              </a:spcBef>
            </a:pPr>
            <a:r>
              <a:rPr sz="1400" spc="0" dirty="0" smtClean="0">
                <a:latin typeface="+mj-lt"/>
                <a:cs typeface="Cambria"/>
              </a:rPr>
              <a:t>95</a:t>
            </a:r>
            <a:endParaRPr sz="1400">
              <a:latin typeface="+mj-lt"/>
              <a:cs typeface="Cambria"/>
            </a:endParaRPr>
          </a:p>
          <a:p>
            <a:pPr marL="503262" marR="413705" algn="ctr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27</a:t>
            </a:r>
            <a:endParaRPr sz="1400">
              <a:latin typeface="+mj-lt"/>
              <a:cs typeface="Cambria"/>
            </a:endParaRPr>
          </a:p>
          <a:p>
            <a:pPr marL="503262" marR="413705" algn="ctr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56</a:t>
            </a:r>
            <a:endParaRPr sz="1400">
              <a:latin typeface="+mj-lt"/>
              <a:cs typeface="Cambria"/>
            </a:endParaRPr>
          </a:p>
          <a:p>
            <a:pPr marL="503262" marR="413705" algn="ctr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45</a:t>
            </a:r>
            <a:endParaRPr sz="1400">
              <a:latin typeface="+mj-lt"/>
              <a:cs typeface="Cambria"/>
            </a:endParaRPr>
          </a:p>
          <a:p>
            <a:pPr marL="503262" marR="414258" algn="ctr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84</a:t>
            </a:r>
            <a:endParaRPr sz="1400">
              <a:latin typeface="+mj-lt"/>
              <a:cs typeface="Cambria"/>
            </a:endParaRPr>
          </a:p>
          <a:p>
            <a:pPr marL="503262" marR="414258" algn="ctr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49</a:t>
            </a:r>
            <a:endParaRPr sz="1400">
              <a:latin typeface="+mj-lt"/>
              <a:cs typeface="Cambria"/>
            </a:endParaRPr>
          </a:p>
          <a:p>
            <a:pPr marL="503240" marR="413898" algn="ctr">
              <a:lnSpc>
                <a:spcPts val="1425"/>
              </a:lnSpc>
              <a:spcBef>
                <a:spcPts val="111"/>
              </a:spcBef>
            </a:pPr>
            <a:r>
              <a:rPr sz="2100" spc="0" baseline="-8123" dirty="0" smtClean="0">
                <a:latin typeface="+mj-lt"/>
                <a:cs typeface="Cambria"/>
              </a:rPr>
              <a:t>51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769102" y="1803400"/>
            <a:ext cx="1433195" cy="18776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3433" marR="838425">
              <a:lnSpc>
                <a:spcPct val="100041"/>
              </a:lnSpc>
              <a:spcBef>
                <a:spcPts val="345"/>
              </a:spcBef>
            </a:pPr>
            <a:r>
              <a:rPr sz="1400" spc="0" dirty="0" smtClean="0">
                <a:latin typeface="+mj-lt"/>
                <a:cs typeface="Cambria"/>
              </a:rPr>
              <a:t>W</a:t>
            </a:r>
            <a:r>
              <a:rPr sz="1400" spc="4" dirty="0" smtClean="0">
                <a:latin typeface="+mj-lt"/>
                <a:cs typeface="Cambria"/>
              </a:rPr>
              <a:t>hi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 </a:t>
            </a:r>
            <a:r>
              <a:rPr sz="1400" spc="4" dirty="0" smtClean="0">
                <a:latin typeface="+mj-lt"/>
                <a:cs typeface="Cambria"/>
              </a:rPr>
              <a:t>B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-14" dirty="0" smtClean="0">
                <a:latin typeface="+mj-lt"/>
                <a:cs typeface="Cambria"/>
              </a:rPr>
              <a:t>o</a:t>
            </a:r>
            <a:r>
              <a:rPr sz="1400" spc="4" dirty="0" smtClean="0">
                <a:latin typeface="+mj-lt"/>
                <a:cs typeface="Cambria"/>
              </a:rPr>
              <a:t>w</a:t>
            </a:r>
            <a:r>
              <a:rPr sz="1400" spc="0" dirty="0" smtClean="0">
                <a:latin typeface="+mj-lt"/>
                <a:cs typeface="Cambria"/>
              </a:rPr>
              <a:t>n S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4" dirty="0" smtClean="0">
                <a:latin typeface="+mj-lt"/>
                <a:cs typeface="Cambria"/>
              </a:rPr>
              <a:t>it</a:t>
            </a:r>
            <a:r>
              <a:rPr sz="1400" spc="0" dirty="0" smtClean="0">
                <a:latin typeface="+mj-lt"/>
                <a:cs typeface="Cambria"/>
              </a:rPr>
              <a:t>h </a:t>
            </a:r>
            <a:r>
              <a:rPr sz="1400" spc="-29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s Jon</a:t>
            </a:r>
            <a:r>
              <a:rPr sz="1400" spc="-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s S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4" dirty="0" smtClean="0">
                <a:latin typeface="+mj-lt"/>
                <a:cs typeface="Cambria"/>
              </a:rPr>
              <a:t>it</a:t>
            </a:r>
            <a:r>
              <a:rPr sz="1400" spc="0" dirty="0" smtClean="0">
                <a:latin typeface="+mj-lt"/>
                <a:cs typeface="Cambria"/>
              </a:rPr>
              <a:t>h </a:t>
            </a:r>
            <a:r>
              <a:rPr sz="1400" spc="-9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da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s </a:t>
            </a:r>
            <a:r>
              <a:rPr sz="1400" spc="4" dirty="0" smtClean="0">
                <a:latin typeface="+mj-lt"/>
                <a:cs typeface="Cambria"/>
              </a:rPr>
              <a:t>Ric</a:t>
            </a:r>
            <a:r>
              <a:rPr sz="1400" spc="0" dirty="0" smtClean="0">
                <a:latin typeface="+mj-lt"/>
                <a:cs typeface="Cambria"/>
              </a:rPr>
              <a:t>e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318501" y="1740663"/>
            <a:ext cx="1320800" cy="18776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 dirty="0">
              <a:latin typeface="+mj-lt"/>
            </a:endParaRPr>
          </a:p>
          <a:p>
            <a:pPr marL="3555">
              <a:lnSpc>
                <a:spcPct val="97696"/>
              </a:lnSpc>
              <a:spcBef>
                <a:spcPts val="9427"/>
              </a:spcBef>
            </a:pPr>
            <a:r>
              <a:rPr sz="1400" spc="0" dirty="0" smtClean="0">
                <a:latin typeface="+mj-lt"/>
                <a:cs typeface="Cambria"/>
              </a:rPr>
              <a:t>44</a:t>
            </a:r>
            <a:r>
              <a:rPr sz="1400" spc="4" dirty="0" smtClean="0">
                <a:latin typeface="+mj-lt"/>
                <a:cs typeface="Cambria"/>
              </a:rPr>
              <a:t>4</a:t>
            </a:r>
            <a:r>
              <a:rPr sz="1400" spc="0" dirty="0" smtClean="0">
                <a:latin typeface="+mj-lt"/>
                <a:cs typeface="Cambria"/>
              </a:rPr>
              <a:t>-6666</a:t>
            </a:r>
            <a:endParaRPr sz="1400" dirty="0">
              <a:latin typeface="+mj-lt"/>
              <a:cs typeface="Cambria"/>
            </a:endParaRPr>
          </a:p>
          <a:p>
            <a:pPr marL="3555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66</a:t>
            </a:r>
            <a:r>
              <a:rPr sz="1400" spc="4" dirty="0" smtClean="0">
                <a:latin typeface="+mj-lt"/>
                <a:cs typeface="Cambria"/>
              </a:rPr>
              <a:t>6</a:t>
            </a:r>
            <a:r>
              <a:rPr sz="1400" spc="0" dirty="0" smtClean="0">
                <a:latin typeface="+mj-lt"/>
                <a:cs typeface="Cambria"/>
              </a:rPr>
              <a:t>-5555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6819900" y="3592958"/>
            <a:ext cx="2760854" cy="2678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50"/>
              </a:lnSpc>
              <a:spcBef>
                <a:spcPts val="34"/>
              </a:spcBef>
            </a:pPr>
            <a:endParaRPr sz="650" dirty="0">
              <a:latin typeface="+mj-lt"/>
            </a:endParaRPr>
          </a:p>
          <a:p>
            <a:pPr marL="74335">
              <a:lnSpc>
                <a:spcPts val="1425"/>
              </a:lnSpc>
              <a:spcBef>
                <a:spcPts val="71"/>
              </a:spcBef>
            </a:pPr>
            <a:r>
              <a:rPr sz="2100" spc="0" baseline="-8123" dirty="0" smtClean="0">
                <a:latin typeface="+mj-lt"/>
                <a:cs typeface="Cambria"/>
              </a:rPr>
              <a:t>M</a:t>
            </a:r>
            <a:r>
              <a:rPr sz="2100" spc="-4" baseline="-8123" dirty="0" smtClean="0">
                <a:latin typeface="+mj-lt"/>
                <a:cs typeface="Cambria"/>
              </a:rPr>
              <a:t>ars</a:t>
            </a:r>
            <a:r>
              <a:rPr sz="2100" spc="0" baseline="-8123" dirty="0" smtClean="0">
                <a:latin typeface="+mj-lt"/>
                <a:cs typeface="Cambria"/>
              </a:rPr>
              <a:t>h                     </a:t>
            </a:r>
            <a:r>
              <a:rPr sz="2100" spc="172" baseline="-8123" dirty="0" smtClean="0">
                <a:latin typeface="+mj-lt"/>
                <a:cs typeface="Cambria"/>
              </a:rPr>
              <a:t> </a:t>
            </a:r>
            <a:r>
              <a:rPr sz="2100" spc="0" baseline="-8123" dirty="0" smtClean="0">
                <a:latin typeface="+mj-lt"/>
                <a:cs typeface="Cambria"/>
              </a:rPr>
              <a:t>888-2222</a:t>
            </a:r>
            <a:endParaRPr sz="1400" dirty="0">
              <a:latin typeface="+mj-lt"/>
              <a:cs typeface="Cambria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mary Keys and Primary </a:t>
            </a:r>
            <a:r>
              <a:rPr lang="en-US" dirty="0" smtClean="0"/>
              <a:t>Indexes</a:t>
            </a:r>
            <a:endParaRPr lang="en-US" dirty="0"/>
          </a:p>
        </p:txBody>
      </p:sp>
      <p:sp>
        <p:nvSpPr>
          <p:cNvPr id="22" name="object 22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83464" y="2106168"/>
            <a:ext cx="4800600" cy="295808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289561" y="2135124"/>
            <a:ext cx="3956304" cy="284988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331114" y="2133600"/>
            <a:ext cx="4704843" cy="286346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331114" y="2133600"/>
            <a:ext cx="4704843" cy="2863469"/>
          </a:xfrm>
          <a:custGeom>
            <a:avLst/>
            <a:gdLst/>
            <a:ahLst/>
            <a:cxnLst/>
            <a:rect l="l" t="t" r="r" b="b"/>
            <a:pathLst>
              <a:path w="4704842" h="2863469">
                <a:moveTo>
                  <a:pt x="0" y="2863469"/>
                </a:moveTo>
                <a:lnTo>
                  <a:pt x="4704842" y="2863469"/>
                </a:lnTo>
                <a:lnTo>
                  <a:pt x="4704842" y="0"/>
                </a:lnTo>
                <a:lnTo>
                  <a:pt x="0" y="0"/>
                </a:lnTo>
                <a:lnTo>
                  <a:pt x="0" y="2863469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5024629" y="2103121"/>
            <a:ext cx="4764023" cy="296722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93827" y="1270084"/>
            <a:ext cx="118059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spc="0" dirty="0" smtClean="0">
                <a:solidFill>
                  <a:srgbClr val="0097C6"/>
                </a:solidFill>
                <a:latin typeface="+mj-lt"/>
                <a:cs typeface="Wingdings"/>
              </a:rPr>
              <a:t></a:t>
            </a:r>
            <a:endParaRPr sz="1200">
              <a:latin typeface="+mj-lt"/>
              <a:cs typeface="Wingdings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859942" y="1270000"/>
            <a:ext cx="2912149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0"/>
              </a:lnSpc>
              <a:spcBef>
                <a:spcPts val="67"/>
              </a:spcBef>
            </a:pPr>
            <a:r>
              <a:rPr sz="1200" i="1" spc="0" dirty="0" smtClean="0">
                <a:latin typeface="+mj-lt"/>
                <a:cs typeface="Cambria"/>
              </a:rPr>
              <a:t>I</a:t>
            </a:r>
            <a:r>
              <a:rPr sz="1200" i="1" spc="4" dirty="0" smtClean="0">
                <a:latin typeface="+mj-lt"/>
                <a:cs typeface="Cambria"/>
              </a:rPr>
              <a:t>n</a:t>
            </a:r>
            <a:r>
              <a:rPr sz="1200" i="1" spc="-4" dirty="0" smtClean="0">
                <a:latin typeface="+mj-lt"/>
                <a:cs typeface="Cambria"/>
              </a:rPr>
              <a:t>d</a:t>
            </a:r>
            <a:r>
              <a:rPr sz="1200" i="1" spc="-9" dirty="0" smtClean="0">
                <a:latin typeface="+mj-lt"/>
                <a:cs typeface="Cambria"/>
              </a:rPr>
              <a:t>exe</a:t>
            </a:r>
            <a:r>
              <a:rPr sz="1200" i="1" spc="0" dirty="0" smtClean="0">
                <a:latin typeface="+mj-lt"/>
                <a:cs typeface="Cambria"/>
              </a:rPr>
              <a:t>s</a:t>
            </a:r>
            <a:r>
              <a:rPr sz="1200" i="1" spc="-1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-1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e conc</a:t>
            </a:r>
            <a:r>
              <a:rPr sz="1200" spc="4" dirty="0" smtClean="0">
                <a:latin typeface="+mj-lt"/>
                <a:cs typeface="Cambria"/>
              </a:rPr>
              <a:t>ep</a:t>
            </a:r>
            <a:r>
              <a:rPr sz="1200" spc="0" dirty="0" smtClean="0">
                <a:latin typeface="+mj-lt"/>
                <a:cs typeface="Cambria"/>
              </a:rPr>
              <a:t>tual</a:t>
            </a:r>
            <a:r>
              <a:rPr sz="1200" spc="-25" dirty="0" smtClean="0">
                <a:latin typeface="+mj-lt"/>
                <a:cs typeface="Cambria"/>
              </a:rPr>
              <a:t>l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-29" dirty="0" smtClean="0">
                <a:latin typeface="+mj-lt"/>
                <a:cs typeface="Cambria"/>
              </a:rPr>
              <a:t> </a:t>
            </a:r>
            <a:r>
              <a:rPr sz="1200" spc="-4" dirty="0" smtClean="0">
                <a:latin typeface="+mj-lt"/>
                <a:cs typeface="Cambria"/>
              </a:rPr>
              <a:t>d</a:t>
            </a:r>
            <a:r>
              <a:rPr sz="1200" spc="0" dirty="0" smtClean="0">
                <a:latin typeface="+mj-lt"/>
                <a:cs typeface="Cambria"/>
              </a:rPr>
              <a:t>if</a:t>
            </a:r>
            <a:r>
              <a:rPr sz="1200" spc="-14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1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t f</a:t>
            </a:r>
            <a:r>
              <a:rPr sz="1200" spc="-1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om</a:t>
            </a:r>
            <a:r>
              <a:rPr sz="1200" spc="14" dirty="0" smtClean="0">
                <a:latin typeface="+mj-lt"/>
                <a:cs typeface="Cambria"/>
              </a:rPr>
              <a:t> </a:t>
            </a:r>
            <a:r>
              <a:rPr sz="1200" i="1" spc="-9" dirty="0" smtClean="0">
                <a:latin typeface="+mj-lt"/>
                <a:cs typeface="Cambria"/>
              </a:rPr>
              <a:t>k</a:t>
            </a:r>
            <a:r>
              <a:rPr sz="1200" i="1" spc="0" dirty="0" smtClean="0">
                <a:latin typeface="+mj-lt"/>
                <a:cs typeface="Cambria"/>
              </a:rPr>
              <a:t>eys:</a:t>
            </a:r>
            <a:endParaRPr sz="1200" dirty="0">
              <a:latin typeface="+mj-lt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869087" y="1452964"/>
            <a:ext cx="118059" cy="3606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spc="0" dirty="0" smtClean="0">
                <a:solidFill>
                  <a:srgbClr val="AC2B37"/>
                </a:solidFill>
                <a:latin typeface="+mj-lt"/>
                <a:cs typeface="Wingdings"/>
              </a:rPr>
              <a:t></a:t>
            </a:r>
            <a:endParaRPr sz="1200">
              <a:latin typeface="+mj-lt"/>
              <a:cs typeface="Wingdings"/>
            </a:endParaRPr>
          </a:p>
          <a:p>
            <a:pPr marL="12700">
              <a:lnSpc>
                <a:spcPct val="92488"/>
              </a:lnSpc>
              <a:spcBef>
                <a:spcPts val="38"/>
              </a:spcBef>
            </a:pPr>
            <a:r>
              <a:rPr sz="1200" spc="0" dirty="0" smtClean="0">
                <a:solidFill>
                  <a:srgbClr val="AC2B37"/>
                </a:solidFill>
                <a:latin typeface="+mj-lt"/>
                <a:cs typeface="Wingdings"/>
              </a:rPr>
              <a:t></a:t>
            </a:r>
            <a:endParaRPr sz="1200">
              <a:latin typeface="+mj-lt"/>
              <a:cs typeface="Wingding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383094" y="1442720"/>
            <a:ext cx="5817806" cy="3606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0"/>
              </a:lnSpc>
              <a:spcBef>
                <a:spcPts val="67"/>
              </a:spcBef>
            </a:pP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-14" dirty="0" smtClean="0">
                <a:latin typeface="+mj-lt"/>
                <a:cs typeface="Cambria"/>
              </a:rPr>
              <a:t> </a:t>
            </a:r>
            <a:r>
              <a:rPr sz="1200" i="1" spc="4" dirty="0" smtClean="0">
                <a:latin typeface="+mj-lt"/>
                <a:cs typeface="Cambria"/>
              </a:rPr>
              <a:t>P</a:t>
            </a:r>
            <a:r>
              <a:rPr sz="1200" i="1" spc="0" dirty="0" smtClean="0">
                <a:latin typeface="+mj-lt"/>
                <a:cs typeface="Cambria"/>
              </a:rPr>
              <a:t>K</a:t>
            </a:r>
            <a:r>
              <a:rPr sz="1200" i="1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is a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-1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elat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onal m</a:t>
            </a:r>
            <a:r>
              <a:rPr sz="1200" spc="-4" dirty="0" smtClean="0">
                <a:latin typeface="+mj-lt"/>
                <a:cs typeface="Cambria"/>
              </a:rPr>
              <a:t>od</a:t>
            </a:r>
            <a:r>
              <a:rPr sz="1200" spc="0" dirty="0" smtClean="0">
                <a:latin typeface="+mj-lt"/>
                <a:cs typeface="Cambria"/>
              </a:rPr>
              <a:t>eling</a:t>
            </a:r>
            <a:r>
              <a:rPr sz="1200" spc="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co</a:t>
            </a:r>
            <a:r>
              <a:rPr sz="1200" spc="-25" dirty="0" smtClean="0">
                <a:latin typeface="+mj-lt"/>
                <a:cs typeface="Cambria"/>
              </a:rPr>
              <a:t>n</a:t>
            </a:r>
            <a:r>
              <a:rPr sz="1200" spc="-29" dirty="0" smtClean="0">
                <a:latin typeface="+mj-lt"/>
                <a:cs typeface="Cambria"/>
              </a:rPr>
              <a:t>v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t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on </a:t>
            </a:r>
            <a:r>
              <a:rPr sz="1200" spc="-14" dirty="0" smtClean="0">
                <a:latin typeface="+mj-lt"/>
                <a:cs typeface="Cambria"/>
              </a:rPr>
              <a:t>w</a:t>
            </a:r>
            <a:r>
              <a:rPr sz="1200" spc="0" dirty="0" smtClean="0">
                <a:latin typeface="+mj-lt"/>
                <a:cs typeface="Cambria"/>
              </a:rPr>
              <a:t>hich</a:t>
            </a:r>
            <a:r>
              <a:rPr sz="1200" spc="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llo</a:t>
            </a:r>
            <a:r>
              <a:rPr sz="1200" spc="-19" dirty="0" smtClean="0">
                <a:latin typeface="+mj-lt"/>
                <a:cs typeface="Cambria"/>
              </a:rPr>
              <a:t>w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4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ch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-1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ow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-9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1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be un</a:t>
            </a:r>
            <a:r>
              <a:rPr sz="1200" spc="4" dirty="0" smtClean="0">
                <a:latin typeface="+mj-lt"/>
                <a:cs typeface="Cambria"/>
              </a:rPr>
              <a:t>iq</a:t>
            </a:r>
            <a:r>
              <a:rPr sz="1200" spc="0" dirty="0" smtClean="0">
                <a:latin typeface="+mj-lt"/>
                <a:cs typeface="Cambria"/>
              </a:rPr>
              <a:t>ue</a:t>
            </a:r>
            <a:r>
              <a:rPr sz="1200" spc="-25" dirty="0" smtClean="0">
                <a:latin typeface="+mj-lt"/>
                <a:cs typeface="Cambria"/>
              </a:rPr>
              <a:t>l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i</a:t>
            </a:r>
            <a:r>
              <a:rPr sz="1200" spc="-4" dirty="0" smtClean="0">
                <a:latin typeface="+mj-lt"/>
                <a:cs typeface="Cambria"/>
              </a:rPr>
              <a:t>d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t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-4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i</a:t>
            </a:r>
            <a:r>
              <a:rPr sz="1200" spc="4" dirty="0" smtClean="0">
                <a:latin typeface="+mj-lt"/>
                <a:cs typeface="Cambria"/>
              </a:rPr>
              <a:t>e</a:t>
            </a:r>
            <a:r>
              <a:rPr sz="1200" spc="-4" dirty="0" smtClean="0">
                <a:latin typeface="+mj-lt"/>
                <a:cs typeface="Cambria"/>
              </a:rPr>
              <a:t>d</a:t>
            </a:r>
            <a:r>
              <a:rPr sz="1200" spc="0" dirty="0" smtClean="0">
                <a:latin typeface="+mj-lt"/>
                <a:cs typeface="Cambria"/>
              </a:rPr>
              <a:t>.</a:t>
            </a:r>
            <a:endParaRPr sz="1200" dirty="0">
              <a:latin typeface="+mj-lt"/>
              <a:cs typeface="Cambria"/>
            </a:endParaRPr>
          </a:p>
          <a:p>
            <a:pPr marL="12700" marR="22859">
              <a:lnSpc>
                <a:spcPct val="97696"/>
              </a:lnSpc>
            </a:pP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-14" dirty="0" smtClean="0">
                <a:latin typeface="+mj-lt"/>
                <a:cs typeface="Cambria"/>
              </a:rPr>
              <a:t> </a:t>
            </a:r>
            <a:r>
              <a:rPr sz="1200" i="1" spc="4" dirty="0" smtClean="0">
                <a:latin typeface="+mj-lt"/>
                <a:cs typeface="Cambria"/>
              </a:rPr>
              <a:t>P</a:t>
            </a:r>
            <a:r>
              <a:rPr sz="1200" i="1" spc="0" dirty="0" smtClean="0">
                <a:latin typeface="+mj-lt"/>
                <a:cs typeface="Cambria"/>
              </a:rPr>
              <a:t>I </a:t>
            </a:r>
            <a:r>
              <a:rPr sz="1200" spc="0" dirty="0" smtClean="0">
                <a:latin typeface="+mj-lt"/>
                <a:cs typeface="Cambria"/>
              </a:rPr>
              <a:t>is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 </a:t>
            </a:r>
            <a:r>
              <a:rPr sz="1200" spc="-9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25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-4" dirty="0" smtClean="0">
                <a:latin typeface="+mj-lt"/>
                <a:cs typeface="Cambria"/>
              </a:rPr>
              <a:t>d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1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co</a:t>
            </a:r>
            <a:r>
              <a:rPr sz="1200" spc="-25" dirty="0" smtClean="0">
                <a:latin typeface="+mj-lt"/>
                <a:cs typeface="Cambria"/>
              </a:rPr>
              <a:t>n</a:t>
            </a:r>
            <a:r>
              <a:rPr sz="1200" spc="-29" dirty="0" smtClean="0">
                <a:latin typeface="+mj-lt"/>
                <a:cs typeface="Cambria"/>
              </a:rPr>
              <a:t>v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t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on </a:t>
            </a:r>
            <a:r>
              <a:rPr sz="1200" spc="-14" dirty="0" smtClean="0">
                <a:latin typeface="+mj-lt"/>
                <a:cs typeface="Cambria"/>
              </a:rPr>
              <a:t>w</a:t>
            </a:r>
            <a:r>
              <a:rPr sz="1200" spc="0" dirty="0" smtClean="0">
                <a:latin typeface="+mj-lt"/>
                <a:cs typeface="Cambria"/>
              </a:rPr>
              <a:t>hich</a:t>
            </a:r>
            <a:r>
              <a:rPr sz="1200" spc="-4" dirty="0" smtClean="0">
                <a:latin typeface="+mj-lt"/>
                <a:cs typeface="Cambria"/>
              </a:rPr>
              <a:t> d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er</a:t>
            </a:r>
            <a:r>
              <a:rPr sz="1200" spc="-4" dirty="0" smtClean="0">
                <a:latin typeface="+mj-lt"/>
                <a:cs typeface="Cambria"/>
              </a:rPr>
              <a:t>m</a:t>
            </a:r>
            <a:r>
              <a:rPr sz="1200" spc="0" dirty="0" smtClean="0">
                <a:latin typeface="+mj-lt"/>
                <a:cs typeface="Cambria"/>
              </a:rPr>
              <a:t>i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es</a:t>
            </a:r>
            <a:r>
              <a:rPr sz="1200" spc="1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how</a:t>
            </a:r>
            <a:r>
              <a:rPr sz="1200" spc="-1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the </a:t>
            </a:r>
            <a:r>
              <a:rPr sz="1200" spc="-1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ow</a:t>
            </a:r>
            <a:r>
              <a:rPr sz="1200" spc="-4" dirty="0" smtClean="0">
                <a:latin typeface="+mj-lt"/>
                <a:cs typeface="Cambria"/>
              </a:rPr>
              <a:t> w</a:t>
            </a:r>
            <a:r>
              <a:rPr sz="1200" spc="0" dirty="0" smtClean="0">
                <a:latin typeface="+mj-lt"/>
                <a:cs typeface="Cambria"/>
              </a:rPr>
              <a:t>ill be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-9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1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ed</a:t>
            </a:r>
            <a:r>
              <a:rPr sz="1200" spc="-1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d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ccess</a:t>
            </a:r>
            <a:r>
              <a:rPr sz="1200" spc="4" dirty="0" smtClean="0">
                <a:latin typeface="+mj-lt"/>
                <a:cs typeface="Cambria"/>
              </a:rPr>
              <a:t>e</a:t>
            </a:r>
            <a:r>
              <a:rPr sz="1200" spc="-4" dirty="0" smtClean="0">
                <a:latin typeface="+mj-lt"/>
                <a:cs typeface="Cambria"/>
              </a:rPr>
              <a:t>d</a:t>
            </a:r>
            <a:r>
              <a:rPr sz="1200" spc="0" dirty="0" smtClean="0">
                <a:latin typeface="+mj-lt"/>
                <a:cs typeface="Cambria"/>
              </a:rPr>
              <a:t>.</a:t>
            </a:r>
            <a:endParaRPr sz="1200" dirty="0">
              <a:latin typeface="+mj-lt"/>
              <a:cs typeface="Cambri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117718" y="2216201"/>
            <a:ext cx="1051721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0"/>
              </a:lnSpc>
              <a:spcBef>
                <a:spcPts val="67"/>
              </a:spcBef>
            </a:pPr>
            <a:r>
              <a:rPr sz="1200" b="1" spc="-4" dirty="0" smtClean="0">
                <a:latin typeface="+mj-lt"/>
                <a:cs typeface="Cambria"/>
              </a:rPr>
              <a:t>P</a:t>
            </a:r>
            <a:r>
              <a:rPr sz="1200" b="1" spc="0" dirty="0" smtClean="0">
                <a:latin typeface="+mj-lt"/>
                <a:cs typeface="Cambria"/>
              </a:rPr>
              <a:t>r</a:t>
            </a:r>
            <a:r>
              <a:rPr sz="1200" b="1" spc="-4" dirty="0" smtClean="0">
                <a:latin typeface="+mj-lt"/>
                <a:cs typeface="Cambria"/>
              </a:rPr>
              <a:t>i</a:t>
            </a:r>
            <a:r>
              <a:rPr sz="1200" b="1" spc="0" dirty="0" smtClean="0">
                <a:latin typeface="+mj-lt"/>
                <a:cs typeface="Cambria"/>
              </a:rPr>
              <a:t>m</a:t>
            </a:r>
            <a:r>
              <a:rPr sz="1200" b="1" spc="4" dirty="0" smtClean="0">
                <a:latin typeface="+mj-lt"/>
                <a:cs typeface="Cambria"/>
              </a:rPr>
              <a:t>a</a:t>
            </a:r>
            <a:r>
              <a:rPr sz="1200" b="1" spc="0" dirty="0" smtClean="0">
                <a:latin typeface="+mj-lt"/>
                <a:cs typeface="Cambria"/>
              </a:rPr>
              <a:t>ry</a:t>
            </a:r>
            <a:r>
              <a:rPr sz="1200" b="1" spc="-24" dirty="0" smtClean="0">
                <a:latin typeface="+mj-lt"/>
                <a:cs typeface="Cambria"/>
              </a:rPr>
              <a:t> </a:t>
            </a:r>
            <a:r>
              <a:rPr sz="1200" b="1" spc="0" dirty="0" smtClean="0">
                <a:latin typeface="+mj-lt"/>
                <a:cs typeface="Cambria"/>
              </a:rPr>
              <a:t>I</a:t>
            </a:r>
            <a:r>
              <a:rPr sz="1200" b="1" spc="-4" dirty="0" smtClean="0">
                <a:latin typeface="+mj-lt"/>
                <a:cs typeface="Cambria"/>
              </a:rPr>
              <a:t>n</a:t>
            </a:r>
            <a:r>
              <a:rPr sz="1200" b="1" spc="0" dirty="0" smtClean="0">
                <a:latin typeface="+mj-lt"/>
                <a:cs typeface="Cambria"/>
              </a:rPr>
              <a:t>d</a:t>
            </a:r>
            <a:r>
              <a:rPr sz="1200" b="1" spc="-19" dirty="0" smtClean="0">
                <a:latin typeface="+mj-lt"/>
                <a:cs typeface="Cambria"/>
              </a:rPr>
              <a:t>e</a:t>
            </a:r>
            <a:r>
              <a:rPr sz="1200" b="1" spc="0" dirty="0" smtClean="0">
                <a:latin typeface="+mj-lt"/>
                <a:cs typeface="Cambria"/>
              </a:rPr>
              <a:t>x</a:t>
            </a:r>
            <a:endParaRPr sz="1200">
              <a:latin typeface="+mj-lt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160391" y="2386966"/>
            <a:ext cx="2956441" cy="223583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4100">
              <a:lnSpc>
                <a:spcPts val="1340"/>
              </a:lnSpc>
              <a:spcBef>
                <a:spcPts val="67"/>
              </a:spcBef>
            </a:pPr>
            <a:r>
              <a:rPr sz="1200" spc="0" dirty="0" smtClean="0">
                <a:latin typeface="+mj-lt"/>
                <a:cs typeface="Cambria"/>
              </a:rPr>
              <a:t>P</a:t>
            </a:r>
            <a:r>
              <a:rPr sz="1200" spc="-25" dirty="0" smtClean="0">
                <a:latin typeface="+mj-lt"/>
                <a:cs typeface="Cambria"/>
              </a:rPr>
              <a:t>h</a:t>
            </a:r>
            <a:r>
              <a:rPr sz="1200" spc="-14" dirty="0" smtClean="0">
                <a:latin typeface="+mj-lt"/>
                <a:cs typeface="Cambria"/>
              </a:rPr>
              <a:t>y</a:t>
            </a:r>
            <a:r>
              <a:rPr sz="1200" spc="0" dirty="0" smtClean="0">
                <a:latin typeface="+mj-lt"/>
                <a:cs typeface="Cambria"/>
              </a:rPr>
              <a:t>sical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mec</a:t>
            </a:r>
            <a:r>
              <a:rPr sz="1200" spc="-4" dirty="0" smtClean="0">
                <a:latin typeface="+mj-lt"/>
                <a:cs typeface="Cambria"/>
              </a:rPr>
              <a:t>h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ism </a:t>
            </a:r>
            <a:r>
              <a:rPr sz="1200" spc="-14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or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ccess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d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-9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29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age</a:t>
            </a:r>
            <a:endParaRPr sz="1200" dirty="0">
              <a:latin typeface="+mj-lt"/>
              <a:cs typeface="Cambria"/>
            </a:endParaRPr>
          </a:p>
          <a:p>
            <a:pPr marL="12700" marR="14100">
              <a:lnSpc>
                <a:spcPct val="97696"/>
              </a:lnSpc>
              <a:spcBef>
                <a:spcPts val="328"/>
              </a:spcBef>
            </a:pPr>
            <a:r>
              <a:rPr sz="1200" spc="4" dirty="0" smtClean="0">
                <a:latin typeface="+mj-lt"/>
                <a:cs typeface="Cambria"/>
              </a:rPr>
              <a:t>E</a:t>
            </a:r>
            <a:r>
              <a:rPr sz="1200" spc="0" dirty="0" smtClean="0">
                <a:latin typeface="+mj-lt"/>
                <a:cs typeface="Cambria"/>
              </a:rPr>
              <a:t>ach</a:t>
            </a:r>
            <a:r>
              <a:rPr sz="1200" spc="-2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t</a:t>
            </a:r>
            <a:r>
              <a:rPr sz="1200" spc="4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bl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m</a:t>
            </a:r>
            <a:r>
              <a:rPr sz="1200" spc="-4" dirty="0" smtClean="0">
                <a:latin typeface="+mj-lt"/>
                <a:cs typeface="Cambria"/>
              </a:rPr>
              <a:t>u</a:t>
            </a:r>
            <a:r>
              <a:rPr sz="1200" spc="0" dirty="0" smtClean="0">
                <a:latin typeface="+mj-lt"/>
                <a:cs typeface="Cambria"/>
              </a:rPr>
              <a:t>st h</a:t>
            </a:r>
            <a:r>
              <a:rPr sz="1200" spc="-19" dirty="0" smtClean="0">
                <a:latin typeface="+mj-lt"/>
                <a:cs typeface="Cambria"/>
              </a:rPr>
              <a:t>a</a:t>
            </a:r>
            <a:r>
              <a:rPr sz="1200" spc="-29" dirty="0" smtClean="0">
                <a:latin typeface="+mj-lt"/>
                <a:cs typeface="Cambria"/>
              </a:rPr>
              <a:t>v</a:t>
            </a:r>
            <a:r>
              <a:rPr sz="1200" spc="0" dirty="0" smtClean="0">
                <a:latin typeface="+mj-lt"/>
                <a:cs typeface="Cambria"/>
              </a:rPr>
              <a:t>e </a:t>
            </a:r>
            <a:r>
              <a:rPr sz="1200" spc="-4" dirty="0" smtClean="0">
                <a:latin typeface="+mj-lt"/>
                <a:cs typeface="Cambria"/>
              </a:rPr>
              <a:t>e</a:t>
            </a:r>
            <a:r>
              <a:rPr sz="1200" spc="-14" dirty="0" smtClean="0">
                <a:latin typeface="+mj-lt"/>
                <a:cs typeface="Cambria"/>
              </a:rPr>
              <a:t>x</a:t>
            </a:r>
            <a:r>
              <a:rPr sz="1200" spc="0" dirty="0" smtClean="0">
                <a:latin typeface="+mj-lt"/>
                <a:cs typeface="Cambria"/>
              </a:rPr>
              <a:t>act</a:t>
            </a:r>
            <a:r>
              <a:rPr sz="1200" spc="-25" dirty="0" smtClean="0">
                <a:latin typeface="+mj-lt"/>
                <a:cs typeface="Cambria"/>
              </a:rPr>
              <a:t>l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-2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one</a:t>
            </a:r>
            <a:endParaRPr sz="1200" dirty="0">
              <a:latin typeface="+mj-lt"/>
              <a:cs typeface="Cambria"/>
            </a:endParaRPr>
          </a:p>
          <a:p>
            <a:pPr marL="12700" marR="14100">
              <a:lnSpc>
                <a:spcPct val="97696"/>
              </a:lnSpc>
              <a:spcBef>
                <a:spcPts val="390"/>
              </a:spcBef>
            </a:pPr>
            <a:r>
              <a:rPr sz="1200" spc="-4" dirty="0" smtClean="0">
                <a:latin typeface="+mj-lt"/>
                <a:cs typeface="Cambria"/>
              </a:rPr>
              <a:t>16</a:t>
            </a:r>
            <a:r>
              <a:rPr sz="1200" spc="0" dirty="0" smtClean="0">
                <a:latin typeface="+mj-lt"/>
                <a:cs typeface="Cambria"/>
              </a:rPr>
              <a:t>-co</a:t>
            </a:r>
            <a:r>
              <a:rPr sz="1200" spc="-4" dirty="0" smtClean="0">
                <a:latin typeface="+mj-lt"/>
                <a:cs typeface="Cambria"/>
              </a:rPr>
              <a:t>l</a:t>
            </a:r>
            <a:r>
              <a:rPr sz="1200" spc="0" dirty="0" smtClean="0">
                <a:latin typeface="+mj-lt"/>
                <a:cs typeface="Cambria"/>
              </a:rPr>
              <a:t>u</a:t>
            </a:r>
            <a:r>
              <a:rPr sz="1200" spc="-4" dirty="0" smtClean="0">
                <a:latin typeface="+mj-lt"/>
                <a:cs typeface="Cambria"/>
              </a:rPr>
              <a:t>m</a:t>
            </a:r>
            <a:r>
              <a:rPr sz="1200" spc="0" dirty="0" smtClean="0">
                <a:latin typeface="+mj-lt"/>
                <a:cs typeface="Cambria"/>
              </a:rPr>
              <a:t>n limit</a:t>
            </a:r>
            <a:endParaRPr sz="1200" dirty="0">
              <a:latin typeface="+mj-lt"/>
              <a:cs typeface="Cambria"/>
            </a:endParaRPr>
          </a:p>
          <a:p>
            <a:pPr marL="12700" marR="14100">
              <a:lnSpc>
                <a:spcPct val="97696"/>
              </a:lnSpc>
              <a:spcBef>
                <a:spcPts val="390"/>
              </a:spcBef>
            </a:pPr>
            <a:r>
              <a:rPr sz="1200" spc="0" dirty="0" smtClean="0">
                <a:latin typeface="+mj-lt"/>
                <a:cs typeface="Cambria"/>
              </a:rPr>
              <a:t>Defin</a:t>
            </a:r>
            <a:r>
              <a:rPr sz="1200" spc="4" dirty="0" smtClean="0">
                <a:latin typeface="+mj-lt"/>
                <a:cs typeface="Cambria"/>
              </a:rPr>
              <a:t>e</a:t>
            </a:r>
            <a:r>
              <a:rPr sz="1200" spc="0" dirty="0" smtClean="0">
                <a:latin typeface="+mj-lt"/>
                <a:cs typeface="Cambria"/>
              </a:rPr>
              <a:t>d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in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-4" dirty="0" smtClean="0">
                <a:latin typeface="+mj-lt"/>
                <a:cs typeface="Cambria"/>
              </a:rPr>
              <a:t>C</a:t>
            </a:r>
            <a:r>
              <a:rPr sz="1200" spc="0" dirty="0" smtClean="0">
                <a:latin typeface="+mj-lt"/>
                <a:cs typeface="Cambria"/>
              </a:rPr>
              <a:t>R</a:t>
            </a:r>
            <a:r>
              <a:rPr sz="1200" spc="-9" dirty="0" smtClean="0">
                <a:latin typeface="+mj-lt"/>
                <a:cs typeface="Cambria"/>
              </a:rPr>
              <a:t>E</a:t>
            </a:r>
            <a:r>
              <a:rPr sz="1200" spc="-75" dirty="0" smtClean="0">
                <a:latin typeface="+mj-lt"/>
                <a:cs typeface="Cambria"/>
              </a:rPr>
              <a:t>A</a:t>
            </a:r>
            <a:r>
              <a:rPr sz="1200" spc="-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14" dirty="0" smtClean="0">
                <a:latin typeface="+mj-lt"/>
                <a:cs typeface="Cambria"/>
              </a:rPr>
              <a:t> </a:t>
            </a:r>
            <a:r>
              <a:rPr sz="1200" spc="-100" dirty="0" smtClean="0">
                <a:latin typeface="+mj-lt"/>
                <a:cs typeface="Cambria"/>
              </a:rPr>
              <a:t>T</a:t>
            </a:r>
            <a:r>
              <a:rPr sz="1200" spc="-4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BLE</a:t>
            </a:r>
            <a:r>
              <a:rPr sz="1200" spc="1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st</a:t>
            </a:r>
            <a:r>
              <a:rPr sz="1200" spc="4" dirty="0" smtClean="0">
                <a:latin typeface="+mj-lt"/>
                <a:cs typeface="Cambria"/>
              </a:rPr>
              <a:t>a</a:t>
            </a:r>
            <a:r>
              <a:rPr sz="1200" spc="-9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eme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t</a:t>
            </a:r>
            <a:endParaRPr sz="1200" dirty="0">
              <a:latin typeface="+mj-lt"/>
              <a:cs typeface="Cambria"/>
            </a:endParaRPr>
          </a:p>
          <a:p>
            <a:pPr marL="12700" marR="14100">
              <a:lnSpc>
                <a:spcPct val="97696"/>
              </a:lnSpc>
              <a:spcBef>
                <a:spcPts val="390"/>
              </a:spcBef>
            </a:pPr>
            <a:r>
              <a:rPr sz="1200" spc="4" dirty="0" smtClean="0">
                <a:latin typeface="+mj-lt"/>
                <a:cs typeface="Cambria"/>
              </a:rPr>
              <a:t>M</a:t>
            </a:r>
            <a:r>
              <a:rPr sz="1200" spc="-19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-2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be un</a:t>
            </a:r>
            <a:r>
              <a:rPr sz="1200" spc="4" dirty="0" smtClean="0">
                <a:latin typeface="+mj-lt"/>
                <a:cs typeface="Cambria"/>
              </a:rPr>
              <a:t>iq</a:t>
            </a:r>
            <a:r>
              <a:rPr sz="1200" spc="0" dirty="0" smtClean="0">
                <a:latin typeface="+mj-lt"/>
                <a:cs typeface="Cambria"/>
              </a:rPr>
              <a:t>ue</a:t>
            </a:r>
            <a:r>
              <a:rPr sz="1200" spc="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or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no</a:t>
            </a:r>
            <a:r>
              <a:rPr sz="1200" spc="9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-uni</a:t>
            </a:r>
            <a:r>
              <a:rPr sz="1200" spc="4" dirty="0" smtClean="0">
                <a:latin typeface="+mj-lt"/>
                <a:cs typeface="Cambria"/>
              </a:rPr>
              <a:t>q</a:t>
            </a:r>
            <a:r>
              <a:rPr sz="1200" spc="0" dirty="0" smtClean="0">
                <a:latin typeface="+mj-lt"/>
                <a:cs typeface="Cambria"/>
              </a:rPr>
              <a:t>ue</a:t>
            </a:r>
            <a:endParaRPr sz="1200" dirty="0">
              <a:latin typeface="+mj-lt"/>
              <a:cs typeface="Cambria"/>
            </a:endParaRPr>
          </a:p>
          <a:p>
            <a:pPr marL="12700">
              <a:lnSpc>
                <a:spcPts val="1406"/>
              </a:lnSpc>
              <a:spcBef>
                <a:spcPts val="390"/>
              </a:spcBef>
            </a:pPr>
            <a:r>
              <a:rPr sz="1200" spc="0" dirty="0" smtClean="0">
                <a:latin typeface="+mj-lt"/>
                <a:cs typeface="Cambria"/>
              </a:rPr>
              <a:t>Us</a:t>
            </a:r>
            <a:r>
              <a:rPr sz="1200" spc="4" dirty="0" smtClean="0">
                <a:latin typeface="+mj-lt"/>
                <a:cs typeface="Cambria"/>
              </a:rPr>
              <a:t>e</a:t>
            </a:r>
            <a:r>
              <a:rPr sz="1200" spc="0" dirty="0" smtClean="0">
                <a:latin typeface="+mj-lt"/>
                <a:cs typeface="Cambria"/>
              </a:rPr>
              <a:t>d</a:t>
            </a:r>
            <a:r>
              <a:rPr sz="1200" spc="-29" dirty="0" smtClean="0">
                <a:latin typeface="+mj-lt"/>
                <a:cs typeface="Cambria"/>
              </a:rPr>
              <a:t> </a:t>
            </a:r>
            <a:r>
              <a:rPr sz="1200" spc="-9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o plac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d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lo</a:t>
            </a:r>
            <a:r>
              <a:rPr sz="1200" spc="-4" dirty="0" smtClean="0">
                <a:latin typeface="+mj-lt"/>
                <a:cs typeface="Cambria"/>
              </a:rPr>
              <a:t>c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-9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4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ch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-1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ow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on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n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-4" dirty="0" smtClean="0">
                <a:latin typeface="+mj-lt"/>
                <a:cs typeface="Cambria"/>
              </a:rPr>
              <a:t>A</a:t>
            </a:r>
            <a:r>
              <a:rPr sz="1200" spc="4" dirty="0" smtClean="0">
                <a:latin typeface="+mj-lt"/>
                <a:cs typeface="Cambria"/>
              </a:rPr>
              <a:t>M</a:t>
            </a:r>
            <a:r>
              <a:rPr sz="1200" spc="0" dirty="0" smtClean="0">
                <a:latin typeface="+mj-lt"/>
                <a:cs typeface="Cambria"/>
              </a:rPr>
              <a:t>P </a:t>
            </a:r>
            <a:endParaRPr sz="1200" dirty="0">
              <a:latin typeface="+mj-lt"/>
              <a:cs typeface="Cambria"/>
            </a:endParaRPr>
          </a:p>
          <a:p>
            <a:pPr marL="12700">
              <a:lnSpc>
                <a:spcPts val="1406"/>
              </a:lnSpc>
              <a:spcBef>
                <a:spcPts val="392"/>
              </a:spcBef>
            </a:pPr>
            <a:r>
              <a:rPr sz="1200" spc="-75" dirty="0" smtClean="0">
                <a:latin typeface="+mj-lt"/>
                <a:cs typeface="Cambria"/>
              </a:rPr>
              <a:t>V</a:t>
            </a:r>
            <a:r>
              <a:rPr sz="1200" spc="0" dirty="0" smtClean="0">
                <a:latin typeface="+mj-lt"/>
                <a:cs typeface="Cambria"/>
              </a:rPr>
              <a:t>alues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m</a:t>
            </a:r>
            <a:r>
              <a:rPr sz="1200" spc="-25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be chan</a:t>
            </a:r>
            <a:r>
              <a:rPr sz="1200" spc="-4" dirty="0" smtClean="0">
                <a:latin typeface="+mj-lt"/>
                <a:cs typeface="Cambria"/>
              </a:rPr>
              <a:t>g</a:t>
            </a:r>
            <a:r>
              <a:rPr sz="1200" spc="0" dirty="0" smtClean="0">
                <a:latin typeface="+mj-lt"/>
                <a:cs typeface="Cambria"/>
              </a:rPr>
              <a:t>ed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(</a:t>
            </a:r>
            <a:r>
              <a:rPr sz="1200" spc="-4" dirty="0" smtClean="0">
                <a:latin typeface="+mj-lt"/>
                <a:cs typeface="Cambria"/>
              </a:rPr>
              <a:t>D</a:t>
            </a:r>
            <a:r>
              <a:rPr sz="1200" spc="0" dirty="0" smtClean="0">
                <a:latin typeface="+mj-lt"/>
                <a:cs typeface="Cambria"/>
              </a:rPr>
              <a:t>el+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-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ns)</a:t>
            </a:r>
            <a:endParaRPr sz="1200" dirty="0">
              <a:latin typeface="+mj-lt"/>
              <a:cs typeface="Cambria"/>
            </a:endParaRPr>
          </a:p>
          <a:p>
            <a:pPr marL="12700" marR="14100">
              <a:lnSpc>
                <a:spcPct val="97696"/>
              </a:lnSpc>
              <a:spcBef>
                <a:spcPts val="392"/>
              </a:spcBef>
            </a:pPr>
            <a:r>
              <a:rPr sz="1200" spc="0" dirty="0" smtClean="0">
                <a:latin typeface="+mj-lt"/>
                <a:cs typeface="Cambria"/>
              </a:rPr>
              <a:t>M</a:t>
            </a:r>
            <a:r>
              <a:rPr sz="1200" spc="-25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-2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be NULL</a:t>
            </a:r>
            <a:endParaRPr sz="1200" dirty="0">
              <a:latin typeface="+mj-lt"/>
              <a:cs typeface="Cambria"/>
            </a:endParaRPr>
          </a:p>
          <a:p>
            <a:pPr marL="12700" marR="14100">
              <a:lnSpc>
                <a:spcPct val="97696"/>
              </a:lnSpc>
              <a:spcBef>
                <a:spcPts val="390"/>
              </a:spcBef>
            </a:pPr>
            <a:r>
              <a:rPr sz="1200" spc="0" dirty="0" smtClean="0">
                <a:latin typeface="+mj-lt"/>
                <a:cs typeface="Cambria"/>
              </a:rPr>
              <a:t>Defin</a:t>
            </a:r>
            <a:r>
              <a:rPr sz="1200" spc="4" dirty="0" smtClean="0">
                <a:latin typeface="+mj-lt"/>
                <a:cs typeface="Cambria"/>
              </a:rPr>
              <a:t>e</a:t>
            </a:r>
            <a:r>
              <a:rPr sz="1200" spc="0" dirty="0" smtClean="0">
                <a:latin typeface="+mj-lt"/>
                <a:cs typeface="Cambria"/>
              </a:rPr>
              <a:t>s m</a:t>
            </a:r>
            <a:r>
              <a:rPr sz="1200" spc="-4" dirty="0" smtClean="0">
                <a:latin typeface="+mj-lt"/>
                <a:cs typeface="Cambria"/>
              </a:rPr>
              <a:t>o</a:t>
            </a:r>
            <a:r>
              <a:rPr sz="1200" spc="0" dirty="0" smtClean="0">
                <a:latin typeface="+mj-lt"/>
                <a:cs typeface="Cambria"/>
              </a:rPr>
              <a:t>st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ef</a:t>
            </a:r>
            <a:r>
              <a:rPr sz="1200" spc="-4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ic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t </a:t>
            </a:r>
            <a:r>
              <a:rPr sz="1200" spc="4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ccess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p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h</a:t>
            </a:r>
            <a:endParaRPr sz="1200" dirty="0">
              <a:latin typeface="+mj-lt"/>
              <a:cs typeface="Cambria"/>
            </a:endParaRPr>
          </a:p>
          <a:p>
            <a:pPr marL="12700" marR="14100">
              <a:lnSpc>
                <a:spcPct val="97696"/>
              </a:lnSpc>
              <a:spcBef>
                <a:spcPts val="390"/>
              </a:spcBef>
            </a:pPr>
            <a:r>
              <a:rPr sz="1200" spc="-4" dirty="0" smtClean="0">
                <a:latin typeface="+mj-lt"/>
                <a:cs typeface="Cambria"/>
              </a:rPr>
              <a:t>C</a:t>
            </a:r>
            <a:r>
              <a:rPr sz="1200" spc="0" dirty="0" smtClean="0">
                <a:latin typeface="+mj-lt"/>
                <a:cs typeface="Cambria"/>
              </a:rPr>
              <a:t>ho</a:t>
            </a:r>
            <a:r>
              <a:rPr sz="1200" spc="-4" dirty="0" smtClean="0">
                <a:latin typeface="+mj-lt"/>
                <a:cs typeface="Cambria"/>
              </a:rPr>
              <a:t>s</a:t>
            </a:r>
            <a:r>
              <a:rPr sz="1200" spc="0" dirty="0" smtClean="0">
                <a:latin typeface="+mj-lt"/>
                <a:cs typeface="Cambria"/>
              </a:rPr>
              <a:t>en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-14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or</a:t>
            </a:r>
            <a:r>
              <a:rPr sz="1200" spc="4" dirty="0" smtClean="0">
                <a:latin typeface="+mj-lt"/>
                <a:cs typeface="Cambria"/>
              </a:rPr>
              <a:t> p</a:t>
            </a:r>
            <a:r>
              <a:rPr sz="1200" spc="-25" dirty="0" smtClean="0">
                <a:latin typeface="+mj-lt"/>
                <a:cs typeface="Cambria"/>
              </a:rPr>
              <a:t>h</a:t>
            </a:r>
            <a:r>
              <a:rPr sz="1200" spc="-14" dirty="0" smtClean="0">
                <a:latin typeface="+mj-lt"/>
                <a:cs typeface="Cambria"/>
              </a:rPr>
              <a:t>y</a:t>
            </a:r>
            <a:r>
              <a:rPr sz="1200" spc="0" dirty="0" smtClean="0">
                <a:latin typeface="+mj-lt"/>
                <a:cs typeface="Cambria"/>
              </a:rPr>
              <a:t>sical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p</a:t>
            </a:r>
            <a:r>
              <a:rPr sz="1200" spc="0" dirty="0" smtClean="0">
                <a:latin typeface="+mj-lt"/>
                <a:cs typeface="Cambria"/>
              </a:rPr>
              <a:t>er</a:t>
            </a:r>
            <a:r>
              <a:rPr sz="1200" spc="-14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mance</a:t>
            </a:r>
            <a:endParaRPr sz="1200" dirty="0">
              <a:latin typeface="+mj-lt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24357" y="5258971"/>
            <a:ext cx="7133743" cy="47505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50"/>
              </a:lnSpc>
              <a:spcBef>
                <a:spcPts val="67"/>
              </a:spcBef>
            </a:pPr>
            <a:r>
              <a:rPr sz="1200" spc="0" dirty="0" smtClean="0">
                <a:latin typeface="+mj-lt"/>
                <a:cs typeface="Symbol"/>
              </a:rPr>
              <a:t></a:t>
            </a:r>
            <a:r>
              <a:rPr sz="1200" spc="0" dirty="0" smtClean="0">
                <a:latin typeface="+mj-lt"/>
                <a:cs typeface="Times New Roman"/>
              </a:rPr>
              <a:t>    </a:t>
            </a:r>
            <a:r>
              <a:rPr sz="1200" spc="205" dirty="0" smtClean="0">
                <a:latin typeface="+mj-lt"/>
                <a:cs typeface="Times New Roman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-1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significa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t </a:t>
            </a:r>
            <a:r>
              <a:rPr sz="1200" spc="4" dirty="0" smtClean="0">
                <a:latin typeface="+mj-lt"/>
                <a:cs typeface="Cambria"/>
              </a:rPr>
              <a:t>p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1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ce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t</a:t>
            </a:r>
            <a:r>
              <a:rPr sz="1200" spc="4" dirty="0" smtClean="0">
                <a:latin typeface="+mj-lt"/>
                <a:cs typeface="Cambria"/>
              </a:rPr>
              <a:t>a</a:t>
            </a:r>
            <a:r>
              <a:rPr sz="1200" spc="-4" dirty="0" smtClean="0">
                <a:latin typeface="+mj-lt"/>
                <a:cs typeface="Cambria"/>
              </a:rPr>
              <a:t>g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1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of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t</a:t>
            </a:r>
            <a:r>
              <a:rPr sz="1200" spc="4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bles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m</a:t>
            </a:r>
            <a:r>
              <a:rPr sz="1200" spc="-25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use th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same colu</a:t>
            </a:r>
            <a:r>
              <a:rPr sz="1200" spc="-4" dirty="0" smtClean="0">
                <a:latin typeface="+mj-lt"/>
                <a:cs typeface="Cambria"/>
              </a:rPr>
              <a:t>m</a:t>
            </a:r>
            <a:r>
              <a:rPr sz="1200" spc="0" dirty="0" smtClean="0">
                <a:latin typeface="+mj-lt"/>
                <a:cs typeface="Cambria"/>
              </a:rPr>
              <a:t>ns </a:t>
            </a:r>
            <a:r>
              <a:rPr sz="1200" spc="-14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or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both th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PK a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d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th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PI.</a:t>
            </a:r>
            <a:endParaRPr sz="1200" dirty="0">
              <a:latin typeface="+mj-lt"/>
              <a:cs typeface="Cambria"/>
            </a:endParaRPr>
          </a:p>
          <a:p>
            <a:pPr marL="12700" marR="23092">
              <a:lnSpc>
                <a:spcPct val="102091"/>
              </a:lnSpc>
              <a:spcBef>
                <a:spcPts val="787"/>
              </a:spcBef>
            </a:pPr>
            <a:r>
              <a:rPr sz="1200" spc="0" dirty="0" smtClean="0">
                <a:latin typeface="+mj-lt"/>
                <a:cs typeface="Symbol"/>
              </a:rPr>
              <a:t></a:t>
            </a:r>
            <a:r>
              <a:rPr sz="1200" spc="0" dirty="0" smtClean="0">
                <a:latin typeface="+mj-lt"/>
                <a:cs typeface="Times New Roman"/>
              </a:rPr>
              <a:t>    </a:t>
            </a:r>
            <a:r>
              <a:rPr sz="1200" spc="205" dirty="0" smtClean="0">
                <a:latin typeface="+mj-lt"/>
                <a:cs typeface="Times New Roman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-14" dirty="0" smtClean="0">
                <a:latin typeface="+mj-lt"/>
                <a:cs typeface="Cambria"/>
              </a:rPr>
              <a:t> w</a:t>
            </a:r>
            <a:r>
              <a:rPr sz="1200" spc="0" dirty="0" smtClean="0">
                <a:latin typeface="+mj-lt"/>
                <a:cs typeface="Cambria"/>
              </a:rPr>
              <a:t>ell-</a:t>
            </a:r>
            <a:r>
              <a:rPr sz="1200" spc="-4" dirty="0" smtClean="0">
                <a:latin typeface="+mj-lt"/>
                <a:cs typeface="Cambria"/>
              </a:rPr>
              <a:t>d</a:t>
            </a:r>
            <a:r>
              <a:rPr sz="1200" spc="0" dirty="0" smtClean="0">
                <a:latin typeface="+mj-lt"/>
                <a:cs typeface="Cambria"/>
              </a:rPr>
              <a:t>es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-4" dirty="0" smtClean="0">
                <a:latin typeface="+mj-lt"/>
                <a:cs typeface="Cambria"/>
              </a:rPr>
              <a:t>g</a:t>
            </a:r>
            <a:r>
              <a:rPr sz="1200" spc="0" dirty="0" smtClean="0">
                <a:latin typeface="+mj-lt"/>
                <a:cs typeface="Cambria"/>
              </a:rPr>
              <a:t>n</a:t>
            </a:r>
            <a:r>
              <a:rPr sz="1200" spc="4" dirty="0" smtClean="0">
                <a:latin typeface="+mj-lt"/>
                <a:cs typeface="Cambria"/>
              </a:rPr>
              <a:t>e</a:t>
            </a:r>
            <a:r>
              <a:rPr sz="1200" spc="0" dirty="0" smtClean="0">
                <a:latin typeface="+mj-lt"/>
                <a:cs typeface="Cambria"/>
              </a:rPr>
              <a:t>d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-4" dirty="0" smtClean="0">
                <a:latin typeface="+mj-lt"/>
                <a:cs typeface="Cambria"/>
              </a:rPr>
              <a:t>d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4" dirty="0" smtClean="0">
                <a:latin typeface="+mj-lt"/>
                <a:cs typeface="Cambria"/>
              </a:rPr>
              <a:t>b</a:t>
            </a:r>
            <a:r>
              <a:rPr sz="1200" spc="0" dirty="0" smtClean="0">
                <a:latin typeface="+mj-lt"/>
                <a:cs typeface="Cambria"/>
              </a:rPr>
              <a:t>as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-4" dirty="0" smtClean="0">
                <a:latin typeface="+mj-lt"/>
                <a:cs typeface="Cambria"/>
              </a:rPr>
              <a:t>w</a:t>
            </a:r>
            <a:r>
              <a:rPr sz="1200" spc="0" dirty="0" smtClean="0">
                <a:latin typeface="+mj-lt"/>
                <a:cs typeface="Cambria"/>
              </a:rPr>
              <a:t>ill use a </a:t>
            </a:r>
            <a:r>
              <a:rPr sz="1200" spc="4" dirty="0" smtClean="0">
                <a:latin typeface="+mj-lt"/>
                <a:cs typeface="Cambria"/>
              </a:rPr>
              <a:t>P</a:t>
            </a:r>
            <a:r>
              <a:rPr sz="1200" spc="0" dirty="0" smtClean="0">
                <a:latin typeface="+mj-lt"/>
                <a:cs typeface="Cambria"/>
              </a:rPr>
              <a:t>I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that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is </a:t>
            </a:r>
            <a:r>
              <a:rPr sz="1200" spc="-4" dirty="0" smtClean="0">
                <a:latin typeface="+mj-lt"/>
                <a:cs typeface="Cambria"/>
              </a:rPr>
              <a:t>d</a:t>
            </a:r>
            <a:r>
              <a:rPr sz="1200" spc="0" dirty="0" smtClean="0">
                <a:latin typeface="+mj-lt"/>
                <a:cs typeface="Cambria"/>
              </a:rPr>
              <a:t>if</a:t>
            </a:r>
            <a:r>
              <a:rPr sz="1200" spc="-14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1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t f</a:t>
            </a:r>
            <a:r>
              <a:rPr sz="1200" spc="-1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om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th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PK </a:t>
            </a:r>
            <a:r>
              <a:rPr sz="1200" spc="-14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or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so</a:t>
            </a:r>
            <a:r>
              <a:rPr sz="1200" spc="-4" dirty="0" smtClean="0">
                <a:latin typeface="+mj-lt"/>
                <a:cs typeface="Cambria"/>
              </a:rPr>
              <a:t>m</a:t>
            </a:r>
            <a:r>
              <a:rPr sz="1200" spc="0" dirty="0" smtClean="0">
                <a:latin typeface="+mj-lt"/>
                <a:cs typeface="Cambria"/>
              </a:rPr>
              <a:t>e </a:t>
            </a:r>
            <a:r>
              <a:rPr sz="1200" spc="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4" dirty="0" smtClean="0">
                <a:latin typeface="+mj-lt"/>
                <a:cs typeface="Cambria"/>
              </a:rPr>
              <a:t>b</a:t>
            </a:r>
            <a:r>
              <a:rPr sz="1200" spc="0" dirty="0" smtClean="0">
                <a:latin typeface="+mj-lt"/>
                <a:cs typeface="Cambria"/>
              </a:rPr>
              <a:t>les.</a:t>
            </a:r>
            <a:endParaRPr sz="1200" dirty="0">
              <a:latin typeface="+mj-lt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62458" y="2216532"/>
            <a:ext cx="4704843" cy="28634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50"/>
              </a:lnSpc>
              <a:spcBef>
                <a:spcPts val="32"/>
              </a:spcBef>
            </a:pPr>
            <a:endParaRPr sz="1100" dirty="0">
              <a:latin typeface="+mj-lt"/>
            </a:endParaRPr>
          </a:p>
          <a:p>
            <a:pPr marL="1049375">
              <a:lnSpc>
                <a:spcPct val="97696"/>
              </a:lnSpc>
            </a:pPr>
            <a:r>
              <a:rPr sz="1100" b="1" spc="-4" dirty="0" smtClean="0">
                <a:latin typeface="+mj-lt"/>
                <a:cs typeface="Cambria"/>
              </a:rPr>
              <a:t>P</a:t>
            </a:r>
            <a:r>
              <a:rPr sz="1100" b="1" spc="0" dirty="0" smtClean="0">
                <a:latin typeface="+mj-lt"/>
                <a:cs typeface="Cambria"/>
              </a:rPr>
              <a:t>r</a:t>
            </a:r>
            <a:r>
              <a:rPr sz="1100" b="1" spc="-4" dirty="0" smtClean="0">
                <a:latin typeface="+mj-lt"/>
                <a:cs typeface="Cambria"/>
              </a:rPr>
              <a:t>i</a:t>
            </a:r>
            <a:r>
              <a:rPr sz="1100" b="1" spc="0" dirty="0" smtClean="0">
                <a:latin typeface="+mj-lt"/>
                <a:cs typeface="Cambria"/>
              </a:rPr>
              <a:t>m</a:t>
            </a:r>
            <a:r>
              <a:rPr sz="1100" b="1" spc="4" dirty="0" smtClean="0">
                <a:latin typeface="+mj-lt"/>
                <a:cs typeface="Cambria"/>
              </a:rPr>
              <a:t>a</a:t>
            </a:r>
            <a:r>
              <a:rPr sz="1100" b="1" spc="0" dirty="0" smtClean="0">
                <a:latin typeface="+mj-lt"/>
                <a:cs typeface="Cambria"/>
              </a:rPr>
              <a:t>ry</a:t>
            </a:r>
            <a:r>
              <a:rPr sz="1100" b="1" spc="-24" dirty="0" smtClean="0">
                <a:latin typeface="+mj-lt"/>
                <a:cs typeface="Cambria"/>
              </a:rPr>
              <a:t> </a:t>
            </a:r>
            <a:r>
              <a:rPr sz="1100" b="1" spc="-25" dirty="0" smtClean="0">
                <a:latin typeface="+mj-lt"/>
                <a:cs typeface="Cambria"/>
              </a:rPr>
              <a:t>Ke</a:t>
            </a:r>
            <a:r>
              <a:rPr sz="1100" b="1" spc="0" dirty="0" smtClean="0">
                <a:latin typeface="+mj-lt"/>
                <a:cs typeface="Cambria"/>
              </a:rPr>
              <a:t>y</a:t>
            </a:r>
            <a:endParaRPr sz="1100" dirty="0">
              <a:latin typeface="+mj-lt"/>
              <a:cs typeface="Cambria"/>
            </a:endParaRPr>
          </a:p>
          <a:p>
            <a:pPr marL="92252" marR="2332402">
              <a:lnSpc>
                <a:spcPts val="1406"/>
              </a:lnSpc>
              <a:spcBef>
                <a:spcPts val="2193"/>
              </a:spcBef>
            </a:pPr>
            <a:r>
              <a:rPr sz="1100" spc="4" dirty="0" smtClean="0">
                <a:latin typeface="+mj-lt"/>
                <a:cs typeface="Cambria"/>
              </a:rPr>
              <a:t>L</a:t>
            </a:r>
            <a:r>
              <a:rPr sz="1100" spc="0" dirty="0" smtClean="0">
                <a:latin typeface="+mj-lt"/>
                <a:cs typeface="Cambria"/>
              </a:rPr>
              <a:t>o</a:t>
            </a:r>
            <a:r>
              <a:rPr sz="1100" spc="-4" dirty="0" smtClean="0">
                <a:latin typeface="+mj-lt"/>
                <a:cs typeface="Cambria"/>
              </a:rPr>
              <a:t>g</a:t>
            </a:r>
            <a:r>
              <a:rPr sz="1100" spc="0" dirty="0" smtClean="0">
                <a:latin typeface="+mj-lt"/>
                <a:cs typeface="Cambria"/>
              </a:rPr>
              <a:t>ical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conce</a:t>
            </a:r>
            <a:r>
              <a:rPr sz="1100" spc="4" dirty="0" smtClean="0">
                <a:latin typeface="+mj-lt"/>
                <a:cs typeface="Cambria"/>
              </a:rPr>
              <a:t>p</a:t>
            </a:r>
            <a:r>
              <a:rPr sz="1100" spc="0" dirty="0" smtClean="0">
                <a:latin typeface="+mj-lt"/>
                <a:cs typeface="Cambria"/>
              </a:rPr>
              <a:t>t</a:t>
            </a:r>
            <a:r>
              <a:rPr sz="1100" spc="-19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of</a:t>
            </a:r>
            <a:r>
              <a:rPr sz="1100" spc="-4" dirty="0" smtClean="0">
                <a:latin typeface="+mj-lt"/>
                <a:cs typeface="Cambria"/>
              </a:rPr>
              <a:t> d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 mo</a:t>
            </a:r>
            <a:r>
              <a:rPr sz="1100" spc="-4" dirty="0" smtClean="0">
                <a:latin typeface="+mj-lt"/>
                <a:cs typeface="Cambria"/>
              </a:rPr>
              <a:t>d</a:t>
            </a:r>
            <a:r>
              <a:rPr sz="1100" spc="0" dirty="0" smtClean="0">
                <a:latin typeface="+mj-lt"/>
                <a:cs typeface="Cambria"/>
              </a:rPr>
              <a:t>eling </a:t>
            </a:r>
            <a:endParaRPr sz="1100" dirty="0">
              <a:latin typeface="+mj-lt"/>
              <a:cs typeface="Cambria"/>
            </a:endParaRPr>
          </a:p>
          <a:p>
            <a:pPr marL="92252" marR="2332402">
              <a:lnSpc>
                <a:spcPts val="1406"/>
              </a:lnSpc>
              <a:spcBef>
                <a:spcPts val="395"/>
              </a:spcBef>
            </a:pPr>
            <a:r>
              <a:rPr sz="1100" spc="-100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5" dirty="0" smtClean="0">
                <a:latin typeface="+mj-lt"/>
                <a:cs typeface="Cambria"/>
              </a:rPr>
              <a:t>r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-4" dirty="0" smtClean="0">
                <a:latin typeface="+mj-lt"/>
                <a:cs typeface="Cambria"/>
              </a:rPr>
              <a:t>d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-9" dirty="0" smtClean="0">
                <a:latin typeface="+mj-lt"/>
                <a:cs typeface="Cambria"/>
              </a:rPr>
              <a:t> </a:t>
            </a:r>
            <a:r>
              <a:rPr sz="1100" spc="-4" dirty="0" smtClean="0">
                <a:latin typeface="+mj-lt"/>
                <a:cs typeface="Cambria"/>
              </a:rPr>
              <a:t>d</a:t>
            </a:r>
            <a:r>
              <a:rPr sz="1100" spc="0" dirty="0" smtClean="0">
                <a:latin typeface="+mj-lt"/>
                <a:cs typeface="Cambria"/>
              </a:rPr>
              <a:t>oes</a:t>
            </a:r>
            <a:r>
              <a:rPr sz="1100" spc="-29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’t n</a:t>
            </a:r>
            <a:r>
              <a:rPr sz="1100" spc="4" dirty="0" smtClean="0">
                <a:latin typeface="+mj-lt"/>
                <a:cs typeface="Cambria"/>
              </a:rPr>
              <a:t>e</a:t>
            </a:r>
            <a:r>
              <a:rPr sz="1100" spc="0" dirty="0" smtClean="0">
                <a:latin typeface="+mj-lt"/>
                <a:cs typeface="Cambria"/>
              </a:rPr>
              <a:t>ed</a:t>
            </a:r>
            <a:r>
              <a:rPr sz="1100" spc="-4" dirty="0" smtClean="0">
                <a:latin typeface="+mj-lt"/>
                <a:cs typeface="Cambria"/>
              </a:rPr>
              <a:t> </a:t>
            </a:r>
            <a:r>
              <a:rPr sz="1100" spc="-9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o </a:t>
            </a:r>
            <a:r>
              <a:rPr sz="1100" spc="-19" dirty="0" smtClean="0">
                <a:latin typeface="+mj-lt"/>
                <a:cs typeface="Cambria"/>
              </a:rPr>
              <a:t>r</a:t>
            </a:r>
            <a:r>
              <a:rPr sz="1100" spc="0" dirty="0" smtClean="0">
                <a:latin typeface="+mj-lt"/>
                <a:cs typeface="Cambria"/>
              </a:rPr>
              <a:t>eco</a:t>
            </a:r>
            <a:r>
              <a:rPr sz="1100" spc="-4" dirty="0" smtClean="0">
                <a:latin typeface="+mj-lt"/>
                <a:cs typeface="Cambria"/>
              </a:rPr>
              <a:t>g</a:t>
            </a:r>
            <a:r>
              <a:rPr sz="1100" spc="0" dirty="0" smtClean="0">
                <a:latin typeface="+mj-lt"/>
                <a:cs typeface="Cambria"/>
              </a:rPr>
              <a:t>n</a:t>
            </a:r>
            <a:r>
              <a:rPr sz="1100" spc="4" dirty="0" smtClean="0">
                <a:latin typeface="+mj-lt"/>
                <a:cs typeface="Cambria"/>
              </a:rPr>
              <a:t>i</a:t>
            </a:r>
            <a:r>
              <a:rPr sz="1100" spc="-4" dirty="0" smtClean="0">
                <a:latin typeface="+mj-lt"/>
                <a:cs typeface="Cambria"/>
              </a:rPr>
              <a:t>z</a:t>
            </a:r>
            <a:r>
              <a:rPr sz="1100" spc="0" dirty="0" smtClean="0">
                <a:latin typeface="+mj-lt"/>
                <a:cs typeface="Cambria"/>
              </a:rPr>
              <a:t>e </a:t>
            </a:r>
            <a:endParaRPr sz="1100" dirty="0">
              <a:latin typeface="+mj-lt"/>
              <a:cs typeface="Cambria"/>
            </a:endParaRPr>
          </a:p>
          <a:p>
            <a:pPr marL="92252" marR="2332402">
              <a:lnSpc>
                <a:spcPts val="1406"/>
              </a:lnSpc>
              <a:spcBef>
                <a:spcPts val="395"/>
              </a:spcBef>
            </a:pPr>
            <a:r>
              <a:rPr sz="1100" spc="0" dirty="0" smtClean="0">
                <a:latin typeface="+mj-lt"/>
                <a:cs typeface="Cambria"/>
              </a:rPr>
              <a:t>No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limit on col</a:t>
            </a:r>
            <a:r>
              <a:rPr sz="1100" spc="-4" dirty="0" smtClean="0">
                <a:latin typeface="+mj-lt"/>
                <a:cs typeface="Cambria"/>
              </a:rPr>
              <a:t>u</a:t>
            </a:r>
            <a:r>
              <a:rPr sz="1100" spc="0" dirty="0" smtClean="0">
                <a:latin typeface="+mj-lt"/>
                <a:cs typeface="Cambria"/>
              </a:rPr>
              <a:t>mn numbers</a:t>
            </a:r>
            <a:endParaRPr sz="1100" dirty="0">
              <a:latin typeface="+mj-lt"/>
              <a:cs typeface="Cambria"/>
            </a:endParaRPr>
          </a:p>
          <a:p>
            <a:pPr marL="92252">
              <a:lnSpc>
                <a:spcPts val="1405"/>
              </a:lnSpc>
              <a:spcBef>
                <a:spcPts val="465"/>
              </a:spcBef>
            </a:pPr>
            <a:r>
              <a:rPr sz="1100" spc="0" dirty="0" smtClean="0">
                <a:latin typeface="+mj-lt"/>
                <a:cs typeface="Cambria"/>
              </a:rPr>
              <a:t>D</a:t>
            </a:r>
            <a:r>
              <a:rPr sz="1100" spc="-4" dirty="0" smtClean="0">
                <a:latin typeface="+mj-lt"/>
                <a:cs typeface="Cambria"/>
              </a:rPr>
              <a:t>o</a:t>
            </a:r>
            <a:r>
              <a:rPr sz="1100" spc="0" dirty="0" smtClean="0">
                <a:latin typeface="+mj-lt"/>
                <a:cs typeface="Cambria"/>
              </a:rPr>
              <a:t>c</a:t>
            </a:r>
            <a:r>
              <a:rPr sz="1100" spc="-4" dirty="0" smtClean="0">
                <a:latin typeface="+mj-lt"/>
                <a:cs typeface="Cambria"/>
              </a:rPr>
              <a:t>u</a:t>
            </a:r>
            <a:r>
              <a:rPr sz="1100" spc="0" dirty="0" smtClean="0">
                <a:latin typeface="+mj-lt"/>
                <a:cs typeface="Cambria"/>
              </a:rPr>
              <a:t>men</a:t>
            </a:r>
            <a:r>
              <a:rPr sz="1100" spc="-9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ed</a:t>
            </a:r>
            <a:r>
              <a:rPr sz="1100" spc="-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in</a:t>
            </a:r>
            <a:r>
              <a:rPr sz="1100" spc="4" dirty="0" smtClean="0">
                <a:latin typeface="+mj-lt"/>
                <a:cs typeface="Cambria"/>
              </a:rPr>
              <a:t> </a:t>
            </a:r>
            <a:r>
              <a:rPr sz="1100" spc="-4" dirty="0" smtClean="0">
                <a:latin typeface="+mj-lt"/>
                <a:cs typeface="Cambria"/>
              </a:rPr>
              <a:t>d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-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m</a:t>
            </a:r>
            <a:r>
              <a:rPr sz="1100" spc="-4" dirty="0" smtClean="0">
                <a:latin typeface="+mj-lt"/>
                <a:cs typeface="Cambria"/>
              </a:rPr>
              <a:t>od</a:t>
            </a:r>
            <a:r>
              <a:rPr sz="1100" spc="0" dirty="0" smtClean="0">
                <a:latin typeface="+mj-lt"/>
                <a:cs typeface="Cambria"/>
              </a:rPr>
              <a:t>el</a:t>
            </a:r>
            <a:r>
              <a:rPr sz="1100" spc="9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(Option</a:t>
            </a:r>
            <a:r>
              <a:rPr sz="1100" spc="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l in CR</a:t>
            </a:r>
            <a:r>
              <a:rPr sz="1100" spc="-4" dirty="0" smtClean="0">
                <a:latin typeface="+mj-lt"/>
                <a:cs typeface="Cambria"/>
              </a:rPr>
              <a:t>E</a:t>
            </a:r>
            <a:r>
              <a:rPr sz="1100" spc="-75" dirty="0" smtClean="0">
                <a:latin typeface="+mj-lt"/>
                <a:cs typeface="Cambria"/>
              </a:rPr>
              <a:t>A</a:t>
            </a:r>
            <a:r>
              <a:rPr sz="1100" spc="-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14" dirty="0" smtClean="0">
                <a:latin typeface="+mj-lt"/>
                <a:cs typeface="Cambria"/>
              </a:rPr>
              <a:t> </a:t>
            </a:r>
            <a:r>
              <a:rPr sz="1100" spc="-100" dirty="0" smtClean="0">
                <a:latin typeface="+mj-lt"/>
                <a:cs typeface="Cambria"/>
              </a:rPr>
              <a:t>T</a:t>
            </a: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BL</a:t>
            </a:r>
            <a:r>
              <a:rPr sz="1100" spc="4" dirty="0" smtClean="0">
                <a:latin typeface="+mj-lt"/>
                <a:cs typeface="Cambria"/>
              </a:rPr>
              <a:t>E</a:t>
            </a:r>
            <a:r>
              <a:rPr sz="1100" spc="0" dirty="0" smtClean="0">
                <a:latin typeface="+mj-lt"/>
                <a:cs typeface="Cambria"/>
              </a:rPr>
              <a:t>)</a:t>
            </a:r>
            <a:endParaRPr sz="1100" dirty="0">
              <a:latin typeface="+mj-lt"/>
              <a:cs typeface="Cambria"/>
            </a:endParaRPr>
          </a:p>
          <a:p>
            <a:pPr marL="92252">
              <a:lnSpc>
                <a:spcPct val="97696"/>
              </a:lnSpc>
              <a:spcBef>
                <a:spcPts val="319"/>
              </a:spcBef>
            </a:pP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ust</a:t>
            </a:r>
            <a:r>
              <a:rPr sz="1100" spc="-3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be un</a:t>
            </a:r>
            <a:r>
              <a:rPr sz="1100" spc="4" dirty="0" smtClean="0">
                <a:latin typeface="+mj-lt"/>
                <a:cs typeface="Cambria"/>
              </a:rPr>
              <a:t>iq</a:t>
            </a:r>
            <a:r>
              <a:rPr sz="1100" spc="0" dirty="0" smtClean="0">
                <a:latin typeface="+mj-lt"/>
                <a:cs typeface="Cambria"/>
              </a:rPr>
              <a:t>ue</a:t>
            </a:r>
            <a:endParaRPr sz="1100" dirty="0">
              <a:latin typeface="+mj-lt"/>
              <a:cs typeface="Cambria"/>
            </a:endParaRPr>
          </a:p>
          <a:p>
            <a:pPr marL="92252">
              <a:lnSpc>
                <a:spcPct val="97696"/>
              </a:lnSpc>
              <a:spcBef>
                <a:spcPts val="390"/>
              </a:spcBef>
            </a:pPr>
            <a:r>
              <a:rPr sz="1100" spc="0" dirty="0" smtClean="0">
                <a:latin typeface="+mj-lt"/>
                <a:cs typeface="Cambria"/>
              </a:rPr>
              <a:t>U</a:t>
            </a: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i</a:t>
            </a:r>
            <a:r>
              <a:rPr sz="1100" spc="4" dirty="0" smtClean="0">
                <a:latin typeface="+mj-lt"/>
                <a:cs typeface="Cambria"/>
              </a:rPr>
              <a:t>q</a:t>
            </a:r>
            <a:r>
              <a:rPr sz="1100" spc="0" dirty="0" smtClean="0">
                <a:latin typeface="+mj-lt"/>
                <a:cs typeface="Cambria"/>
              </a:rPr>
              <a:t>ue</a:t>
            </a:r>
            <a:r>
              <a:rPr sz="1100" spc="-25" dirty="0" smtClean="0">
                <a:latin typeface="+mj-lt"/>
                <a:cs typeface="Cambria"/>
              </a:rPr>
              <a:t>l</a:t>
            </a:r>
            <a:r>
              <a:rPr sz="1100" spc="0" dirty="0" smtClean="0">
                <a:latin typeface="+mj-lt"/>
                <a:cs typeface="Cambria"/>
              </a:rPr>
              <a:t>y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i</a:t>
            </a:r>
            <a:r>
              <a:rPr sz="1100" spc="-4" dirty="0" smtClean="0">
                <a:latin typeface="+mj-lt"/>
                <a:cs typeface="Cambria"/>
              </a:rPr>
              <a:t>d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t</a:t>
            </a:r>
            <a:r>
              <a:rPr sz="1100" spc="4" dirty="0" smtClean="0">
                <a:latin typeface="+mj-lt"/>
                <a:cs typeface="Cambria"/>
              </a:rPr>
              <a:t>i</a:t>
            </a:r>
            <a:r>
              <a:rPr sz="1100" spc="-4" dirty="0" smtClean="0">
                <a:latin typeface="+mj-lt"/>
                <a:cs typeface="Cambria"/>
              </a:rPr>
              <a:t>f</a:t>
            </a:r>
            <a:r>
              <a:rPr sz="1100" spc="0" dirty="0" smtClean="0">
                <a:latin typeface="+mj-lt"/>
                <a:cs typeface="Cambria"/>
              </a:rPr>
              <a:t>i</a:t>
            </a:r>
            <a:r>
              <a:rPr sz="1100" spc="4" dirty="0" smtClean="0">
                <a:latin typeface="+mj-lt"/>
                <a:cs typeface="Cambria"/>
              </a:rPr>
              <a:t>e</a:t>
            </a:r>
            <a:r>
              <a:rPr sz="1100" spc="0" dirty="0" smtClean="0">
                <a:latin typeface="+mj-lt"/>
                <a:cs typeface="Cambria"/>
              </a:rPr>
              <a:t>s e</a:t>
            </a:r>
            <a:r>
              <a:rPr sz="1100" spc="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ch</a:t>
            </a:r>
            <a:r>
              <a:rPr sz="1100" spc="-4" dirty="0" smtClean="0">
                <a:latin typeface="+mj-lt"/>
                <a:cs typeface="Cambria"/>
              </a:rPr>
              <a:t> </a:t>
            </a:r>
            <a:r>
              <a:rPr sz="1100" spc="-14" dirty="0" smtClean="0">
                <a:latin typeface="+mj-lt"/>
                <a:cs typeface="Cambria"/>
              </a:rPr>
              <a:t>r</a:t>
            </a:r>
            <a:r>
              <a:rPr sz="1100" spc="0" dirty="0" smtClean="0">
                <a:latin typeface="+mj-lt"/>
                <a:cs typeface="Cambria"/>
              </a:rPr>
              <a:t>ow</a:t>
            </a:r>
            <a:endParaRPr sz="1100" dirty="0">
              <a:latin typeface="+mj-lt"/>
              <a:cs typeface="Cambria"/>
            </a:endParaRPr>
          </a:p>
          <a:p>
            <a:pPr marL="92252">
              <a:lnSpc>
                <a:spcPct val="97696"/>
              </a:lnSpc>
              <a:spcBef>
                <a:spcPts val="390"/>
              </a:spcBef>
            </a:pPr>
            <a:r>
              <a:rPr sz="1100" spc="-75" dirty="0" smtClean="0">
                <a:latin typeface="+mj-lt"/>
                <a:cs typeface="Cambria"/>
              </a:rPr>
              <a:t>V</a:t>
            </a:r>
            <a:r>
              <a:rPr sz="1100" spc="0" dirty="0" smtClean="0">
                <a:latin typeface="+mj-lt"/>
                <a:cs typeface="Cambria"/>
              </a:rPr>
              <a:t>alues</a:t>
            </a:r>
            <a:r>
              <a:rPr sz="1100" spc="-9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sh</a:t>
            </a:r>
            <a:r>
              <a:rPr sz="1100" spc="-4" dirty="0" smtClean="0">
                <a:latin typeface="+mj-lt"/>
                <a:cs typeface="Cambria"/>
              </a:rPr>
              <a:t>o</a:t>
            </a:r>
            <a:r>
              <a:rPr sz="1100" spc="0" dirty="0" smtClean="0">
                <a:latin typeface="+mj-lt"/>
                <a:cs typeface="Cambria"/>
              </a:rPr>
              <a:t>uld not</a:t>
            </a:r>
            <a:r>
              <a:rPr sz="1100" spc="-9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c</a:t>
            </a:r>
            <a:r>
              <a:rPr sz="1100" spc="-4" dirty="0" smtClean="0">
                <a:latin typeface="+mj-lt"/>
                <a:cs typeface="Cambria"/>
              </a:rPr>
              <a:t>h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-4" dirty="0" smtClean="0">
                <a:latin typeface="+mj-lt"/>
                <a:cs typeface="Cambria"/>
              </a:rPr>
              <a:t>g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 dirty="0">
              <a:latin typeface="+mj-lt"/>
              <a:cs typeface="Cambria"/>
            </a:endParaRPr>
          </a:p>
          <a:p>
            <a:pPr marL="92252" marR="2283376">
              <a:lnSpc>
                <a:spcPts val="1406"/>
              </a:lnSpc>
              <a:spcBef>
                <a:spcPts val="395"/>
              </a:spcBef>
            </a:pPr>
            <a:r>
              <a:rPr sz="1100" spc="0" dirty="0" smtClean="0">
                <a:latin typeface="+mj-lt"/>
                <a:cs typeface="Cambria"/>
              </a:rPr>
              <a:t>M</a:t>
            </a:r>
            <a:r>
              <a:rPr sz="1100" spc="-25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y</a:t>
            </a:r>
            <a:r>
              <a:rPr sz="1100" spc="-29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not be NUL</a:t>
            </a:r>
            <a:r>
              <a:rPr sz="1100" spc="9" dirty="0" smtClean="0">
                <a:latin typeface="+mj-lt"/>
                <a:cs typeface="Cambria"/>
              </a:rPr>
              <a:t>L</a:t>
            </a:r>
            <a:r>
              <a:rPr sz="1100" spc="0" dirty="0" smtClean="0">
                <a:latin typeface="+mj-lt"/>
                <a:cs typeface="Cambria"/>
              </a:rPr>
              <a:t>—</a:t>
            </a:r>
            <a:r>
              <a:rPr sz="1100" spc="-19" dirty="0" smtClean="0">
                <a:latin typeface="+mj-lt"/>
                <a:cs typeface="Cambria"/>
              </a:rPr>
              <a:t>r</a:t>
            </a:r>
            <a:r>
              <a:rPr sz="1100" spc="0" dirty="0" smtClean="0">
                <a:latin typeface="+mj-lt"/>
                <a:cs typeface="Cambria"/>
              </a:rPr>
              <a:t>equi</a:t>
            </a:r>
            <a:r>
              <a:rPr sz="1100" spc="-14" dirty="0" smtClean="0">
                <a:latin typeface="+mj-lt"/>
                <a:cs typeface="Cambria"/>
              </a:rPr>
              <a:t>r</a:t>
            </a:r>
            <a:r>
              <a:rPr sz="1100" spc="0" dirty="0" smtClean="0">
                <a:latin typeface="+mj-lt"/>
                <a:cs typeface="Cambria"/>
              </a:rPr>
              <a:t>es a </a:t>
            </a:r>
            <a:r>
              <a:rPr sz="1100" spc="-29" dirty="0" smtClean="0">
                <a:latin typeface="+mj-lt"/>
                <a:cs typeface="Cambria"/>
              </a:rPr>
              <a:t>v</a:t>
            </a:r>
            <a:r>
              <a:rPr sz="1100" spc="0" dirty="0" smtClean="0">
                <a:latin typeface="+mj-lt"/>
                <a:cs typeface="Cambria"/>
              </a:rPr>
              <a:t>al</a:t>
            </a:r>
            <a:r>
              <a:rPr sz="1100" spc="-4" dirty="0" smtClean="0">
                <a:latin typeface="+mj-lt"/>
                <a:cs typeface="Cambria"/>
              </a:rPr>
              <a:t>u</a:t>
            </a:r>
            <a:r>
              <a:rPr sz="1100" spc="0" dirty="0" smtClean="0">
                <a:latin typeface="+mj-lt"/>
                <a:cs typeface="Cambria"/>
              </a:rPr>
              <a:t>e </a:t>
            </a:r>
            <a:endParaRPr sz="1100" dirty="0">
              <a:latin typeface="+mj-lt"/>
              <a:cs typeface="Cambria"/>
            </a:endParaRPr>
          </a:p>
          <a:p>
            <a:pPr marL="92252" marR="2283376">
              <a:lnSpc>
                <a:spcPts val="1406"/>
              </a:lnSpc>
              <a:spcBef>
                <a:spcPts val="392"/>
              </a:spcBef>
            </a:pPr>
            <a:r>
              <a:rPr sz="1100" spc="0" dirty="0" smtClean="0">
                <a:latin typeface="+mj-lt"/>
                <a:cs typeface="Cambria"/>
              </a:rPr>
              <a:t>D</a:t>
            </a:r>
            <a:r>
              <a:rPr sz="1100" spc="-4" dirty="0" smtClean="0">
                <a:latin typeface="+mj-lt"/>
                <a:cs typeface="Cambria"/>
              </a:rPr>
              <a:t>o</a:t>
            </a:r>
            <a:r>
              <a:rPr sz="1100" spc="0" dirty="0" smtClean="0">
                <a:latin typeface="+mj-lt"/>
                <a:cs typeface="Cambria"/>
              </a:rPr>
              <a:t>es</a:t>
            </a:r>
            <a:r>
              <a:rPr sz="1100" spc="-9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not im</a:t>
            </a:r>
            <a:r>
              <a:rPr sz="1100" spc="4" dirty="0" smtClean="0">
                <a:latin typeface="+mj-lt"/>
                <a:cs typeface="Cambria"/>
              </a:rPr>
              <a:t>p</a:t>
            </a:r>
            <a:r>
              <a:rPr sz="1100" spc="-25" dirty="0" smtClean="0">
                <a:latin typeface="+mj-lt"/>
                <a:cs typeface="Cambria"/>
              </a:rPr>
              <a:t>l</a:t>
            </a:r>
            <a:r>
              <a:rPr sz="1100" spc="0" dirty="0" smtClean="0">
                <a:latin typeface="+mj-lt"/>
                <a:cs typeface="Cambria"/>
              </a:rPr>
              <a:t>y</a:t>
            </a:r>
            <a:r>
              <a:rPr sz="1100" spc="-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an</a:t>
            </a:r>
            <a:r>
              <a:rPr sz="1100" spc="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access</a:t>
            </a:r>
            <a:r>
              <a:rPr sz="1100" spc="-19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p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h </a:t>
            </a:r>
            <a:endParaRPr sz="1100" dirty="0">
              <a:latin typeface="+mj-lt"/>
              <a:cs typeface="Cambria"/>
            </a:endParaRPr>
          </a:p>
          <a:p>
            <a:pPr marL="92252" marR="2283376">
              <a:lnSpc>
                <a:spcPts val="1406"/>
              </a:lnSpc>
              <a:spcBef>
                <a:spcPts val="392"/>
              </a:spcBef>
            </a:pPr>
            <a:r>
              <a:rPr sz="1100" spc="-4" dirty="0" smtClean="0">
                <a:latin typeface="+mj-lt"/>
                <a:cs typeface="Cambria"/>
              </a:rPr>
              <a:t>C</a:t>
            </a:r>
            <a:r>
              <a:rPr sz="1100" spc="0" dirty="0" smtClean="0">
                <a:latin typeface="+mj-lt"/>
                <a:cs typeface="Cambria"/>
              </a:rPr>
              <a:t>ho</a:t>
            </a:r>
            <a:r>
              <a:rPr sz="1100" spc="-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n</a:t>
            </a:r>
            <a:r>
              <a:rPr sz="1100" spc="-9" dirty="0" smtClean="0">
                <a:latin typeface="+mj-lt"/>
                <a:cs typeface="Cambria"/>
              </a:rPr>
              <a:t> </a:t>
            </a:r>
            <a:r>
              <a:rPr sz="1100" spc="-14" dirty="0" smtClean="0">
                <a:latin typeface="+mj-lt"/>
                <a:cs typeface="Cambria"/>
              </a:rPr>
              <a:t>f</a:t>
            </a:r>
            <a:r>
              <a:rPr sz="1100" spc="0" dirty="0" smtClean="0">
                <a:latin typeface="+mj-lt"/>
                <a:cs typeface="Cambria"/>
              </a:rPr>
              <a:t>or</a:t>
            </a:r>
            <a:r>
              <a:rPr sz="1100" spc="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lo</a:t>
            </a:r>
            <a:r>
              <a:rPr sz="1100" spc="-9" dirty="0" smtClean="0">
                <a:latin typeface="+mj-lt"/>
                <a:cs typeface="Cambria"/>
              </a:rPr>
              <a:t>g</a:t>
            </a:r>
            <a:r>
              <a:rPr sz="1100" spc="0" dirty="0" smtClean="0">
                <a:latin typeface="+mj-lt"/>
                <a:cs typeface="Cambria"/>
              </a:rPr>
              <a:t>ical c</a:t>
            </a:r>
            <a:r>
              <a:rPr sz="1100" spc="-4" dirty="0" smtClean="0">
                <a:latin typeface="+mj-lt"/>
                <a:cs typeface="Cambria"/>
              </a:rPr>
              <a:t>or</a:t>
            </a:r>
            <a:r>
              <a:rPr sz="1100" spc="-14" dirty="0" smtClean="0">
                <a:latin typeface="+mj-lt"/>
                <a:cs typeface="Cambria"/>
              </a:rPr>
              <a:t>r</a:t>
            </a:r>
            <a:r>
              <a:rPr sz="1100" spc="0" dirty="0" smtClean="0">
                <a:latin typeface="+mj-lt"/>
                <a:cs typeface="Cambria"/>
              </a:rPr>
              <a:t>ectn</a:t>
            </a:r>
            <a:r>
              <a:rPr sz="1100" spc="4" dirty="0" smtClean="0">
                <a:latin typeface="+mj-lt"/>
                <a:cs typeface="Cambria"/>
              </a:rPr>
              <a:t>e</a:t>
            </a:r>
            <a:r>
              <a:rPr sz="1100" spc="0" dirty="0" smtClean="0">
                <a:latin typeface="+mj-lt"/>
                <a:cs typeface="Cambria"/>
              </a:rPr>
              <a:t>ss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2" y="6223000"/>
            <a:ext cx="9905998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object 185"/>
          <p:cNvSpPr/>
          <p:nvPr/>
        </p:nvSpPr>
        <p:spPr>
          <a:xfrm>
            <a:off x="1" y="649225"/>
            <a:ext cx="9906000" cy="8336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" name="object 186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7" name="object 187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" name="object 188"/>
          <p:cNvSpPr/>
          <p:nvPr/>
        </p:nvSpPr>
        <p:spPr>
          <a:xfrm>
            <a:off x="3381855" y="1141867"/>
            <a:ext cx="915524" cy="0"/>
          </a:xfrm>
          <a:custGeom>
            <a:avLst/>
            <a:gdLst/>
            <a:ahLst/>
            <a:cxnLst/>
            <a:rect l="l" t="t" r="r" b="b"/>
            <a:pathLst>
              <a:path w="915523">
                <a:moveTo>
                  <a:pt x="0" y="0"/>
                </a:moveTo>
                <a:lnTo>
                  <a:pt x="915523" y="0"/>
                </a:lnTo>
              </a:path>
            </a:pathLst>
          </a:custGeom>
          <a:ln w="660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9" name="object 189"/>
          <p:cNvSpPr/>
          <p:nvPr/>
        </p:nvSpPr>
        <p:spPr>
          <a:xfrm>
            <a:off x="4297380" y="1141867"/>
            <a:ext cx="7864" cy="0"/>
          </a:xfrm>
          <a:custGeom>
            <a:avLst/>
            <a:gdLst/>
            <a:ahLst/>
            <a:cxnLst/>
            <a:rect l="l" t="t" r="r" b="b"/>
            <a:pathLst>
              <a:path w="7865">
                <a:moveTo>
                  <a:pt x="0" y="0"/>
                </a:moveTo>
                <a:lnTo>
                  <a:pt x="7865" y="0"/>
                </a:lnTo>
              </a:path>
            </a:pathLst>
          </a:custGeom>
          <a:ln w="660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0" name="object 190"/>
          <p:cNvSpPr/>
          <p:nvPr/>
        </p:nvSpPr>
        <p:spPr>
          <a:xfrm>
            <a:off x="4305224" y="1141867"/>
            <a:ext cx="1008602" cy="0"/>
          </a:xfrm>
          <a:custGeom>
            <a:avLst/>
            <a:gdLst/>
            <a:ahLst/>
            <a:cxnLst/>
            <a:rect l="l" t="t" r="r" b="b"/>
            <a:pathLst>
              <a:path w="1008602">
                <a:moveTo>
                  <a:pt x="0" y="0"/>
                </a:moveTo>
                <a:lnTo>
                  <a:pt x="1008602" y="0"/>
                </a:lnTo>
              </a:path>
            </a:pathLst>
          </a:custGeom>
          <a:ln w="660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1" name="object 191"/>
          <p:cNvSpPr/>
          <p:nvPr/>
        </p:nvSpPr>
        <p:spPr>
          <a:xfrm>
            <a:off x="5321457" y="1141867"/>
            <a:ext cx="737241" cy="0"/>
          </a:xfrm>
          <a:custGeom>
            <a:avLst/>
            <a:gdLst/>
            <a:ahLst/>
            <a:cxnLst/>
            <a:rect l="l" t="t" r="r" b="b"/>
            <a:pathLst>
              <a:path w="737241">
                <a:moveTo>
                  <a:pt x="0" y="0"/>
                </a:moveTo>
                <a:lnTo>
                  <a:pt x="737241" y="0"/>
                </a:lnTo>
              </a:path>
            </a:pathLst>
          </a:custGeom>
          <a:ln w="660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2" name="object 192"/>
          <p:cNvSpPr/>
          <p:nvPr/>
        </p:nvSpPr>
        <p:spPr>
          <a:xfrm>
            <a:off x="6066544" y="1141867"/>
            <a:ext cx="767923" cy="0"/>
          </a:xfrm>
          <a:custGeom>
            <a:avLst/>
            <a:gdLst/>
            <a:ahLst/>
            <a:cxnLst/>
            <a:rect l="l" t="t" r="r" b="b"/>
            <a:pathLst>
              <a:path w="767924">
                <a:moveTo>
                  <a:pt x="0" y="0"/>
                </a:moveTo>
                <a:lnTo>
                  <a:pt x="767924" y="0"/>
                </a:lnTo>
              </a:path>
            </a:pathLst>
          </a:custGeom>
          <a:ln w="660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3" name="object 193"/>
          <p:cNvSpPr/>
          <p:nvPr/>
        </p:nvSpPr>
        <p:spPr>
          <a:xfrm>
            <a:off x="3381855" y="1435533"/>
            <a:ext cx="915524" cy="0"/>
          </a:xfrm>
          <a:custGeom>
            <a:avLst/>
            <a:gdLst/>
            <a:ahLst/>
            <a:cxnLst/>
            <a:rect l="l" t="t" r="r" b="b"/>
            <a:pathLst>
              <a:path w="915523">
                <a:moveTo>
                  <a:pt x="0" y="0"/>
                </a:moveTo>
                <a:lnTo>
                  <a:pt x="915523" y="0"/>
                </a:lnTo>
              </a:path>
            </a:pathLst>
          </a:custGeom>
          <a:ln w="64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4" name="object 194"/>
          <p:cNvSpPr/>
          <p:nvPr/>
        </p:nvSpPr>
        <p:spPr>
          <a:xfrm>
            <a:off x="4320699" y="1435533"/>
            <a:ext cx="993137" cy="0"/>
          </a:xfrm>
          <a:custGeom>
            <a:avLst/>
            <a:gdLst/>
            <a:ahLst/>
            <a:cxnLst/>
            <a:rect l="l" t="t" r="r" b="b"/>
            <a:pathLst>
              <a:path w="993137">
                <a:moveTo>
                  <a:pt x="0" y="0"/>
                </a:moveTo>
                <a:lnTo>
                  <a:pt x="993137" y="0"/>
                </a:lnTo>
              </a:path>
            </a:pathLst>
          </a:custGeom>
          <a:ln w="64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5" name="object 195"/>
          <p:cNvSpPr/>
          <p:nvPr/>
        </p:nvSpPr>
        <p:spPr>
          <a:xfrm>
            <a:off x="5321457" y="1435533"/>
            <a:ext cx="737241" cy="0"/>
          </a:xfrm>
          <a:custGeom>
            <a:avLst/>
            <a:gdLst/>
            <a:ahLst/>
            <a:cxnLst/>
            <a:rect l="l" t="t" r="r" b="b"/>
            <a:pathLst>
              <a:path w="737241">
                <a:moveTo>
                  <a:pt x="0" y="0"/>
                </a:moveTo>
                <a:lnTo>
                  <a:pt x="737241" y="0"/>
                </a:lnTo>
              </a:path>
            </a:pathLst>
          </a:custGeom>
          <a:ln w="64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6" name="object 196"/>
          <p:cNvSpPr/>
          <p:nvPr/>
        </p:nvSpPr>
        <p:spPr>
          <a:xfrm>
            <a:off x="6066544" y="1435533"/>
            <a:ext cx="767923" cy="0"/>
          </a:xfrm>
          <a:custGeom>
            <a:avLst/>
            <a:gdLst/>
            <a:ahLst/>
            <a:cxnLst/>
            <a:rect l="l" t="t" r="r" b="b"/>
            <a:pathLst>
              <a:path w="767924">
                <a:moveTo>
                  <a:pt x="0" y="0"/>
                </a:moveTo>
                <a:lnTo>
                  <a:pt x="767924" y="0"/>
                </a:lnTo>
              </a:path>
            </a:pathLst>
          </a:custGeom>
          <a:ln w="64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7" name="object 197"/>
          <p:cNvSpPr/>
          <p:nvPr/>
        </p:nvSpPr>
        <p:spPr>
          <a:xfrm>
            <a:off x="3381855" y="1622073"/>
            <a:ext cx="915524" cy="0"/>
          </a:xfrm>
          <a:custGeom>
            <a:avLst/>
            <a:gdLst/>
            <a:ahLst/>
            <a:cxnLst/>
            <a:rect l="l" t="t" r="r" b="b"/>
            <a:pathLst>
              <a:path w="915523">
                <a:moveTo>
                  <a:pt x="0" y="0"/>
                </a:moveTo>
                <a:lnTo>
                  <a:pt x="915523" y="0"/>
                </a:lnTo>
              </a:path>
            </a:pathLst>
          </a:custGeom>
          <a:ln w="660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8" name="object 198"/>
          <p:cNvSpPr/>
          <p:nvPr/>
        </p:nvSpPr>
        <p:spPr>
          <a:xfrm>
            <a:off x="4320699" y="1622073"/>
            <a:ext cx="993137" cy="0"/>
          </a:xfrm>
          <a:custGeom>
            <a:avLst/>
            <a:gdLst/>
            <a:ahLst/>
            <a:cxnLst/>
            <a:rect l="l" t="t" r="r" b="b"/>
            <a:pathLst>
              <a:path w="993137">
                <a:moveTo>
                  <a:pt x="0" y="0"/>
                </a:moveTo>
                <a:lnTo>
                  <a:pt x="993137" y="0"/>
                </a:lnTo>
              </a:path>
            </a:pathLst>
          </a:custGeom>
          <a:ln w="660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9" name="object 199"/>
          <p:cNvSpPr/>
          <p:nvPr/>
        </p:nvSpPr>
        <p:spPr>
          <a:xfrm>
            <a:off x="5321457" y="1622073"/>
            <a:ext cx="737241" cy="0"/>
          </a:xfrm>
          <a:custGeom>
            <a:avLst/>
            <a:gdLst/>
            <a:ahLst/>
            <a:cxnLst/>
            <a:rect l="l" t="t" r="r" b="b"/>
            <a:pathLst>
              <a:path w="737241">
                <a:moveTo>
                  <a:pt x="0" y="0"/>
                </a:moveTo>
                <a:lnTo>
                  <a:pt x="737241" y="0"/>
                </a:lnTo>
              </a:path>
            </a:pathLst>
          </a:custGeom>
          <a:ln w="660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0" name="object 200"/>
          <p:cNvSpPr/>
          <p:nvPr/>
        </p:nvSpPr>
        <p:spPr>
          <a:xfrm>
            <a:off x="6066544" y="1622073"/>
            <a:ext cx="767923" cy="0"/>
          </a:xfrm>
          <a:custGeom>
            <a:avLst/>
            <a:gdLst/>
            <a:ahLst/>
            <a:cxnLst/>
            <a:rect l="l" t="t" r="r" b="b"/>
            <a:pathLst>
              <a:path w="767924">
                <a:moveTo>
                  <a:pt x="0" y="0"/>
                </a:moveTo>
                <a:lnTo>
                  <a:pt x="767924" y="0"/>
                </a:lnTo>
              </a:path>
            </a:pathLst>
          </a:custGeom>
          <a:ln w="660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1" name="object 201"/>
          <p:cNvSpPr/>
          <p:nvPr/>
        </p:nvSpPr>
        <p:spPr>
          <a:xfrm>
            <a:off x="3381855" y="1808500"/>
            <a:ext cx="915524" cy="0"/>
          </a:xfrm>
          <a:custGeom>
            <a:avLst/>
            <a:gdLst/>
            <a:ahLst/>
            <a:cxnLst/>
            <a:rect l="l" t="t" r="r" b="b"/>
            <a:pathLst>
              <a:path w="915523">
                <a:moveTo>
                  <a:pt x="0" y="0"/>
                </a:moveTo>
                <a:lnTo>
                  <a:pt x="915523" y="0"/>
                </a:lnTo>
              </a:path>
            </a:pathLst>
          </a:custGeom>
          <a:ln w="64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2" name="object 202"/>
          <p:cNvSpPr/>
          <p:nvPr/>
        </p:nvSpPr>
        <p:spPr>
          <a:xfrm>
            <a:off x="4320699" y="1808500"/>
            <a:ext cx="993137" cy="0"/>
          </a:xfrm>
          <a:custGeom>
            <a:avLst/>
            <a:gdLst/>
            <a:ahLst/>
            <a:cxnLst/>
            <a:rect l="l" t="t" r="r" b="b"/>
            <a:pathLst>
              <a:path w="993137">
                <a:moveTo>
                  <a:pt x="0" y="0"/>
                </a:moveTo>
                <a:lnTo>
                  <a:pt x="993137" y="0"/>
                </a:lnTo>
              </a:path>
            </a:pathLst>
          </a:custGeom>
          <a:ln w="64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3" name="object 203"/>
          <p:cNvSpPr/>
          <p:nvPr/>
        </p:nvSpPr>
        <p:spPr>
          <a:xfrm>
            <a:off x="5321457" y="1808500"/>
            <a:ext cx="737241" cy="0"/>
          </a:xfrm>
          <a:custGeom>
            <a:avLst/>
            <a:gdLst/>
            <a:ahLst/>
            <a:cxnLst/>
            <a:rect l="l" t="t" r="r" b="b"/>
            <a:pathLst>
              <a:path w="737241">
                <a:moveTo>
                  <a:pt x="0" y="0"/>
                </a:moveTo>
                <a:lnTo>
                  <a:pt x="737241" y="0"/>
                </a:lnTo>
              </a:path>
            </a:pathLst>
          </a:custGeom>
          <a:ln w="64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4" name="object 204"/>
          <p:cNvSpPr/>
          <p:nvPr/>
        </p:nvSpPr>
        <p:spPr>
          <a:xfrm>
            <a:off x="6066544" y="1808500"/>
            <a:ext cx="767923" cy="0"/>
          </a:xfrm>
          <a:custGeom>
            <a:avLst/>
            <a:gdLst/>
            <a:ahLst/>
            <a:cxnLst/>
            <a:rect l="l" t="t" r="r" b="b"/>
            <a:pathLst>
              <a:path w="767924">
                <a:moveTo>
                  <a:pt x="0" y="0"/>
                </a:moveTo>
                <a:lnTo>
                  <a:pt x="767924" y="0"/>
                </a:lnTo>
              </a:path>
            </a:pathLst>
          </a:custGeom>
          <a:ln w="64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5" name="object 205"/>
          <p:cNvSpPr/>
          <p:nvPr/>
        </p:nvSpPr>
        <p:spPr>
          <a:xfrm>
            <a:off x="3377921" y="1137935"/>
            <a:ext cx="0" cy="2050645"/>
          </a:xfrm>
          <a:custGeom>
            <a:avLst/>
            <a:gdLst/>
            <a:ahLst/>
            <a:cxnLst/>
            <a:rect l="l" t="t" r="r" b="b"/>
            <a:pathLst>
              <a:path h="2050645">
                <a:moveTo>
                  <a:pt x="0" y="0"/>
                </a:moveTo>
                <a:lnTo>
                  <a:pt x="0" y="2050645"/>
                </a:lnTo>
              </a:path>
            </a:pathLst>
          </a:custGeom>
          <a:ln w="913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6" name="object 206"/>
          <p:cNvSpPr/>
          <p:nvPr/>
        </p:nvSpPr>
        <p:spPr>
          <a:xfrm>
            <a:off x="4309046" y="1144527"/>
            <a:ext cx="0" cy="2044051"/>
          </a:xfrm>
          <a:custGeom>
            <a:avLst/>
            <a:gdLst/>
            <a:ahLst/>
            <a:cxnLst/>
            <a:rect l="l" t="t" r="r" b="b"/>
            <a:pathLst>
              <a:path h="2044051">
                <a:moveTo>
                  <a:pt x="0" y="0"/>
                </a:moveTo>
                <a:lnTo>
                  <a:pt x="0" y="2044051"/>
                </a:lnTo>
              </a:path>
            </a:pathLst>
          </a:custGeom>
          <a:ln w="2460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7" name="object 207"/>
          <p:cNvSpPr/>
          <p:nvPr/>
        </p:nvSpPr>
        <p:spPr>
          <a:xfrm>
            <a:off x="5317628" y="1138066"/>
            <a:ext cx="0" cy="2050513"/>
          </a:xfrm>
          <a:custGeom>
            <a:avLst/>
            <a:gdLst/>
            <a:ahLst/>
            <a:cxnLst/>
            <a:rect l="l" t="t" r="r" b="b"/>
            <a:pathLst>
              <a:path h="2050513">
                <a:moveTo>
                  <a:pt x="0" y="0"/>
                </a:moveTo>
                <a:lnTo>
                  <a:pt x="0" y="2050513"/>
                </a:lnTo>
              </a:path>
            </a:pathLst>
          </a:custGeom>
          <a:ln w="887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8" name="object 208"/>
          <p:cNvSpPr/>
          <p:nvPr/>
        </p:nvSpPr>
        <p:spPr>
          <a:xfrm>
            <a:off x="6062632" y="1137935"/>
            <a:ext cx="0" cy="2050645"/>
          </a:xfrm>
          <a:custGeom>
            <a:avLst/>
            <a:gdLst/>
            <a:ahLst/>
            <a:cxnLst/>
            <a:rect l="l" t="t" r="r" b="b"/>
            <a:pathLst>
              <a:path h="2050645">
                <a:moveTo>
                  <a:pt x="0" y="0"/>
                </a:moveTo>
                <a:lnTo>
                  <a:pt x="0" y="2050645"/>
                </a:lnTo>
              </a:path>
            </a:pathLst>
          </a:custGeom>
          <a:ln w="913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9" name="object 209"/>
          <p:cNvSpPr/>
          <p:nvPr/>
        </p:nvSpPr>
        <p:spPr>
          <a:xfrm>
            <a:off x="6838454" y="1137935"/>
            <a:ext cx="0" cy="2050645"/>
          </a:xfrm>
          <a:custGeom>
            <a:avLst/>
            <a:gdLst/>
            <a:ahLst/>
            <a:cxnLst/>
            <a:rect l="l" t="t" r="r" b="b"/>
            <a:pathLst>
              <a:path h="2050645">
                <a:moveTo>
                  <a:pt x="0" y="0"/>
                </a:moveTo>
                <a:lnTo>
                  <a:pt x="0" y="2050645"/>
                </a:lnTo>
              </a:path>
            </a:pathLst>
          </a:custGeom>
          <a:ln w="913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3" name="object 163"/>
          <p:cNvSpPr/>
          <p:nvPr/>
        </p:nvSpPr>
        <p:spPr>
          <a:xfrm>
            <a:off x="5276342" y="4726814"/>
            <a:ext cx="2022476" cy="363093"/>
          </a:xfrm>
          <a:custGeom>
            <a:avLst/>
            <a:gdLst/>
            <a:ahLst/>
            <a:cxnLst/>
            <a:rect l="l" t="t" r="r" b="b"/>
            <a:pathLst>
              <a:path w="2022475" h="363092">
                <a:moveTo>
                  <a:pt x="0" y="181482"/>
                </a:moveTo>
                <a:lnTo>
                  <a:pt x="29389" y="137879"/>
                </a:lnTo>
                <a:lnTo>
                  <a:pt x="79468" y="110853"/>
                </a:lnTo>
                <a:lnTo>
                  <a:pt x="112872" y="98093"/>
                </a:lnTo>
                <a:lnTo>
                  <a:pt x="151505" y="85897"/>
                </a:lnTo>
                <a:lnTo>
                  <a:pt x="195108" y="74313"/>
                </a:lnTo>
                <a:lnTo>
                  <a:pt x="243419" y="63386"/>
                </a:lnTo>
                <a:lnTo>
                  <a:pt x="296179" y="53165"/>
                </a:lnTo>
                <a:lnTo>
                  <a:pt x="353127" y="43695"/>
                </a:lnTo>
                <a:lnTo>
                  <a:pt x="414003" y="35023"/>
                </a:lnTo>
                <a:lnTo>
                  <a:pt x="478547" y="27196"/>
                </a:lnTo>
                <a:lnTo>
                  <a:pt x="546497" y="20261"/>
                </a:lnTo>
                <a:lnTo>
                  <a:pt x="617595" y="14265"/>
                </a:lnTo>
                <a:lnTo>
                  <a:pt x="691579" y="9254"/>
                </a:lnTo>
                <a:lnTo>
                  <a:pt x="768189" y="5275"/>
                </a:lnTo>
                <a:lnTo>
                  <a:pt x="847165" y="2376"/>
                </a:lnTo>
                <a:lnTo>
                  <a:pt x="928247" y="601"/>
                </a:lnTo>
                <a:lnTo>
                  <a:pt x="1011174" y="0"/>
                </a:lnTo>
                <a:lnTo>
                  <a:pt x="1094119" y="601"/>
                </a:lnTo>
                <a:lnTo>
                  <a:pt x="1175217" y="2376"/>
                </a:lnTo>
                <a:lnTo>
                  <a:pt x="1254207" y="5275"/>
                </a:lnTo>
                <a:lnTo>
                  <a:pt x="1330830" y="9254"/>
                </a:lnTo>
                <a:lnTo>
                  <a:pt x="1404826" y="14265"/>
                </a:lnTo>
                <a:lnTo>
                  <a:pt x="1475933" y="20261"/>
                </a:lnTo>
                <a:lnTo>
                  <a:pt x="1543893" y="27196"/>
                </a:lnTo>
                <a:lnTo>
                  <a:pt x="1608443" y="35023"/>
                </a:lnTo>
                <a:lnTo>
                  <a:pt x="1669325" y="43695"/>
                </a:lnTo>
                <a:lnTo>
                  <a:pt x="1726279" y="53165"/>
                </a:lnTo>
                <a:lnTo>
                  <a:pt x="1779043" y="63386"/>
                </a:lnTo>
                <a:lnTo>
                  <a:pt x="1827358" y="74313"/>
                </a:lnTo>
                <a:lnTo>
                  <a:pt x="1870963" y="85897"/>
                </a:lnTo>
                <a:lnTo>
                  <a:pt x="1909599" y="98093"/>
                </a:lnTo>
                <a:lnTo>
                  <a:pt x="1943004" y="110853"/>
                </a:lnTo>
                <a:lnTo>
                  <a:pt x="1993085" y="137879"/>
                </a:lnTo>
                <a:lnTo>
                  <a:pt x="2019122" y="166602"/>
                </a:lnTo>
                <a:lnTo>
                  <a:pt x="2022475" y="181482"/>
                </a:lnTo>
                <a:lnTo>
                  <a:pt x="2019122" y="196381"/>
                </a:lnTo>
                <a:lnTo>
                  <a:pt x="2009239" y="210948"/>
                </a:lnTo>
                <a:lnTo>
                  <a:pt x="1970920" y="238897"/>
                </a:lnTo>
                <a:lnTo>
                  <a:pt x="1909599" y="264956"/>
                </a:lnTo>
                <a:lnTo>
                  <a:pt x="1870963" y="277160"/>
                </a:lnTo>
                <a:lnTo>
                  <a:pt x="1827358" y="288752"/>
                </a:lnTo>
                <a:lnTo>
                  <a:pt x="1779043" y="299684"/>
                </a:lnTo>
                <a:lnTo>
                  <a:pt x="1726279" y="309911"/>
                </a:lnTo>
                <a:lnTo>
                  <a:pt x="1669325" y="319386"/>
                </a:lnTo>
                <a:lnTo>
                  <a:pt x="1608443" y="328061"/>
                </a:lnTo>
                <a:lnTo>
                  <a:pt x="1543893" y="335890"/>
                </a:lnTo>
                <a:lnTo>
                  <a:pt x="1475933" y="342827"/>
                </a:lnTo>
                <a:lnTo>
                  <a:pt x="1404826" y="348825"/>
                </a:lnTo>
                <a:lnTo>
                  <a:pt x="1330830" y="353837"/>
                </a:lnTo>
                <a:lnTo>
                  <a:pt x="1254207" y="357816"/>
                </a:lnTo>
                <a:lnTo>
                  <a:pt x="1175217" y="360716"/>
                </a:lnTo>
                <a:lnTo>
                  <a:pt x="1094119" y="362491"/>
                </a:lnTo>
                <a:lnTo>
                  <a:pt x="1011174" y="363093"/>
                </a:lnTo>
                <a:lnTo>
                  <a:pt x="928247" y="362491"/>
                </a:lnTo>
                <a:lnTo>
                  <a:pt x="847165" y="360716"/>
                </a:lnTo>
                <a:lnTo>
                  <a:pt x="768189" y="357816"/>
                </a:lnTo>
                <a:lnTo>
                  <a:pt x="691579" y="353837"/>
                </a:lnTo>
                <a:lnTo>
                  <a:pt x="617595" y="348825"/>
                </a:lnTo>
                <a:lnTo>
                  <a:pt x="546497" y="342827"/>
                </a:lnTo>
                <a:lnTo>
                  <a:pt x="478547" y="335890"/>
                </a:lnTo>
                <a:lnTo>
                  <a:pt x="414003" y="328061"/>
                </a:lnTo>
                <a:lnTo>
                  <a:pt x="353127" y="319386"/>
                </a:lnTo>
                <a:lnTo>
                  <a:pt x="296179" y="309911"/>
                </a:lnTo>
                <a:lnTo>
                  <a:pt x="243419" y="299684"/>
                </a:lnTo>
                <a:lnTo>
                  <a:pt x="195108" y="288752"/>
                </a:lnTo>
                <a:lnTo>
                  <a:pt x="151505" y="277160"/>
                </a:lnTo>
                <a:lnTo>
                  <a:pt x="112872" y="264956"/>
                </a:lnTo>
                <a:lnTo>
                  <a:pt x="79468" y="252186"/>
                </a:lnTo>
                <a:lnTo>
                  <a:pt x="51553" y="238897"/>
                </a:lnTo>
                <a:lnTo>
                  <a:pt x="13235" y="210948"/>
                </a:lnTo>
                <a:lnTo>
                  <a:pt x="0" y="18148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4" name="object 164"/>
          <p:cNvSpPr/>
          <p:nvPr/>
        </p:nvSpPr>
        <p:spPr>
          <a:xfrm>
            <a:off x="5274057" y="4179063"/>
            <a:ext cx="2031619" cy="726313"/>
          </a:xfrm>
          <a:custGeom>
            <a:avLst/>
            <a:gdLst/>
            <a:ahLst/>
            <a:cxnLst/>
            <a:rect l="l" t="t" r="r" b="b"/>
            <a:pathLst>
              <a:path w="2031619" h="726313">
                <a:moveTo>
                  <a:pt x="0" y="0"/>
                </a:moveTo>
                <a:lnTo>
                  <a:pt x="0" y="726313"/>
                </a:lnTo>
                <a:lnTo>
                  <a:pt x="2031619" y="726313"/>
                </a:lnTo>
                <a:lnTo>
                  <a:pt x="20316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5" name="object 165"/>
          <p:cNvSpPr/>
          <p:nvPr/>
        </p:nvSpPr>
        <p:spPr>
          <a:xfrm>
            <a:off x="5274056" y="4179063"/>
            <a:ext cx="0" cy="733425"/>
          </a:xfrm>
          <a:custGeom>
            <a:avLst/>
            <a:gdLst/>
            <a:ahLst/>
            <a:cxnLst/>
            <a:rect l="l" t="t" r="r" b="b"/>
            <a:pathLst>
              <a:path h="733425">
                <a:moveTo>
                  <a:pt x="0" y="0"/>
                </a:moveTo>
                <a:lnTo>
                  <a:pt x="0" y="7334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6" name="object 166"/>
          <p:cNvSpPr/>
          <p:nvPr/>
        </p:nvSpPr>
        <p:spPr>
          <a:xfrm>
            <a:off x="7307960" y="4183889"/>
            <a:ext cx="0" cy="733425"/>
          </a:xfrm>
          <a:custGeom>
            <a:avLst/>
            <a:gdLst/>
            <a:ahLst/>
            <a:cxnLst/>
            <a:rect l="l" t="t" r="r" b="b"/>
            <a:pathLst>
              <a:path h="733425">
                <a:moveTo>
                  <a:pt x="0" y="0"/>
                </a:moveTo>
                <a:lnTo>
                  <a:pt x="0" y="7334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7" name="object 167"/>
          <p:cNvSpPr/>
          <p:nvPr/>
        </p:nvSpPr>
        <p:spPr>
          <a:xfrm>
            <a:off x="5222748" y="3976116"/>
            <a:ext cx="2122931" cy="4572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8" name="object 168"/>
          <p:cNvSpPr/>
          <p:nvPr/>
        </p:nvSpPr>
        <p:spPr>
          <a:xfrm>
            <a:off x="5269485" y="4002914"/>
            <a:ext cx="2029333" cy="36309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9" name="object 169"/>
          <p:cNvSpPr/>
          <p:nvPr/>
        </p:nvSpPr>
        <p:spPr>
          <a:xfrm>
            <a:off x="5269485" y="4002914"/>
            <a:ext cx="2029333" cy="363093"/>
          </a:xfrm>
          <a:custGeom>
            <a:avLst/>
            <a:gdLst/>
            <a:ahLst/>
            <a:cxnLst/>
            <a:rect l="l" t="t" r="r" b="b"/>
            <a:pathLst>
              <a:path w="2029333" h="363092">
                <a:moveTo>
                  <a:pt x="0" y="181482"/>
                </a:moveTo>
                <a:lnTo>
                  <a:pt x="29488" y="137879"/>
                </a:lnTo>
                <a:lnTo>
                  <a:pt x="79736" y="110853"/>
                </a:lnTo>
                <a:lnTo>
                  <a:pt x="113253" y="98093"/>
                </a:lnTo>
                <a:lnTo>
                  <a:pt x="152016" y="85897"/>
                </a:lnTo>
                <a:lnTo>
                  <a:pt x="195766" y="74313"/>
                </a:lnTo>
                <a:lnTo>
                  <a:pt x="244241" y="63386"/>
                </a:lnTo>
                <a:lnTo>
                  <a:pt x="297179" y="53165"/>
                </a:lnTo>
                <a:lnTo>
                  <a:pt x="354320" y="43695"/>
                </a:lnTo>
                <a:lnTo>
                  <a:pt x="415402" y="35023"/>
                </a:lnTo>
                <a:lnTo>
                  <a:pt x="480164" y="27196"/>
                </a:lnTo>
                <a:lnTo>
                  <a:pt x="548345" y="20261"/>
                </a:lnTo>
                <a:lnTo>
                  <a:pt x="619684" y="14265"/>
                </a:lnTo>
                <a:lnTo>
                  <a:pt x="693919" y="9254"/>
                </a:lnTo>
                <a:lnTo>
                  <a:pt x="770790" y="5275"/>
                </a:lnTo>
                <a:lnTo>
                  <a:pt x="850035" y="2376"/>
                </a:lnTo>
                <a:lnTo>
                  <a:pt x="931393" y="601"/>
                </a:lnTo>
                <a:lnTo>
                  <a:pt x="1014602" y="0"/>
                </a:lnTo>
                <a:lnTo>
                  <a:pt x="1097830" y="601"/>
                </a:lnTo>
                <a:lnTo>
                  <a:pt x="1179205" y="2376"/>
                </a:lnTo>
                <a:lnTo>
                  <a:pt x="1258464" y="5275"/>
                </a:lnTo>
                <a:lnTo>
                  <a:pt x="1335348" y="9254"/>
                </a:lnTo>
                <a:lnTo>
                  <a:pt x="1409594" y="14265"/>
                </a:lnTo>
                <a:lnTo>
                  <a:pt x="1480943" y="20261"/>
                </a:lnTo>
                <a:lnTo>
                  <a:pt x="1549133" y="27196"/>
                </a:lnTo>
                <a:lnTo>
                  <a:pt x="1613902" y="35023"/>
                </a:lnTo>
                <a:lnTo>
                  <a:pt x="1674991" y="43695"/>
                </a:lnTo>
                <a:lnTo>
                  <a:pt x="1732137" y="53165"/>
                </a:lnTo>
                <a:lnTo>
                  <a:pt x="1785079" y="63386"/>
                </a:lnTo>
                <a:lnTo>
                  <a:pt x="1833557" y="74313"/>
                </a:lnTo>
                <a:lnTo>
                  <a:pt x="1877310" y="85897"/>
                </a:lnTo>
                <a:lnTo>
                  <a:pt x="1916076" y="98093"/>
                </a:lnTo>
                <a:lnTo>
                  <a:pt x="1949594" y="110853"/>
                </a:lnTo>
                <a:lnTo>
                  <a:pt x="1999844" y="137879"/>
                </a:lnTo>
                <a:lnTo>
                  <a:pt x="2025969" y="166602"/>
                </a:lnTo>
                <a:lnTo>
                  <a:pt x="2029333" y="181482"/>
                </a:lnTo>
                <a:lnTo>
                  <a:pt x="2025969" y="196381"/>
                </a:lnTo>
                <a:lnTo>
                  <a:pt x="2016052" y="210948"/>
                </a:lnTo>
                <a:lnTo>
                  <a:pt x="1977604" y="238897"/>
                </a:lnTo>
                <a:lnTo>
                  <a:pt x="1916076" y="264956"/>
                </a:lnTo>
                <a:lnTo>
                  <a:pt x="1877310" y="277160"/>
                </a:lnTo>
                <a:lnTo>
                  <a:pt x="1833557" y="288752"/>
                </a:lnTo>
                <a:lnTo>
                  <a:pt x="1785079" y="299684"/>
                </a:lnTo>
                <a:lnTo>
                  <a:pt x="1732137" y="309911"/>
                </a:lnTo>
                <a:lnTo>
                  <a:pt x="1674991" y="319386"/>
                </a:lnTo>
                <a:lnTo>
                  <a:pt x="1613902" y="328061"/>
                </a:lnTo>
                <a:lnTo>
                  <a:pt x="1549133" y="335890"/>
                </a:lnTo>
                <a:lnTo>
                  <a:pt x="1480943" y="342827"/>
                </a:lnTo>
                <a:lnTo>
                  <a:pt x="1409594" y="348825"/>
                </a:lnTo>
                <a:lnTo>
                  <a:pt x="1335348" y="353837"/>
                </a:lnTo>
                <a:lnTo>
                  <a:pt x="1258464" y="357816"/>
                </a:lnTo>
                <a:lnTo>
                  <a:pt x="1179205" y="360716"/>
                </a:lnTo>
                <a:lnTo>
                  <a:pt x="1097830" y="362491"/>
                </a:lnTo>
                <a:lnTo>
                  <a:pt x="1014602" y="363093"/>
                </a:lnTo>
                <a:lnTo>
                  <a:pt x="931393" y="362491"/>
                </a:lnTo>
                <a:lnTo>
                  <a:pt x="850035" y="360716"/>
                </a:lnTo>
                <a:lnTo>
                  <a:pt x="770790" y="357816"/>
                </a:lnTo>
                <a:lnTo>
                  <a:pt x="693919" y="353837"/>
                </a:lnTo>
                <a:lnTo>
                  <a:pt x="619684" y="348825"/>
                </a:lnTo>
                <a:lnTo>
                  <a:pt x="548345" y="342827"/>
                </a:lnTo>
                <a:lnTo>
                  <a:pt x="480164" y="335890"/>
                </a:lnTo>
                <a:lnTo>
                  <a:pt x="415402" y="328061"/>
                </a:lnTo>
                <a:lnTo>
                  <a:pt x="354320" y="319386"/>
                </a:lnTo>
                <a:lnTo>
                  <a:pt x="297179" y="309911"/>
                </a:lnTo>
                <a:lnTo>
                  <a:pt x="244241" y="299684"/>
                </a:lnTo>
                <a:lnTo>
                  <a:pt x="195766" y="288752"/>
                </a:lnTo>
                <a:lnTo>
                  <a:pt x="152016" y="277160"/>
                </a:lnTo>
                <a:lnTo>
                  <a:pt x="113253" y="264956"/>
                </a:lnTo>
                <a:lnTo>
                  <a:pt x="79736" y="252186"/>
                </a:lnTo>
                <a:lnTo>
                  <a:pt x="51727" y="238897"/>
                </a:lnTo>
                <a:lnTo>
                  <a:pt x="13280" y="210948"/>
                </a:lnTo>
                <a:lnTo>
                  <a:pt x="0" y="181482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0" name="object 170"/>
          <p:cNvSpPr/>
          <p:nvPr/>
        </p:nvSpPr>
        <p:spPr>
          <a:xfrm>
            <a:off x="5388737" y="4682705"/>
            <a:ext cx="1836802" cy="150025"/>
          </a:xfrm>
          <a:custGeom>
            <a:avLst/>
            <a:gdLst/>
            <a:ahLst/>
            <a:cxnLst/>
            <a:rect l="l" t="t" r="r" b="b"/>
            <a:pathLst>
              <a:path w="1836801" h="150025">
                <a:moveTo>
                  <a:pt x="0" y="150025"/>
                </a:moveTo>
                <a:lnTo>
                  <a:pt x="1836801" y="150025"/>
                </a:lnTo>
                <a:lnTo>
                  <a:pt x="1836801" y="0"/>
                </a:lnTo>
                <a:lnTo>
                  <a:pt x="0" y="0"/>
                </a:lnTo>
                <a:lnTo>
                  <a:pt x="0" y="15002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1" name="object 171"/>
          <p:cNvSpPr/>
          <p:nvPr/>
        </p:nvSpPr>
        <p:spPr>
          <a:xfrm>
            <a:off x="5925313" y="4683888"/>
            <a:ext cx="0" cy="153669"/>
          </a:xfrm>
          <a:custGeom>
            <a:avLst/>
            <a:gdLst/>
            <a:ahLst/>
            <a:cxnLst/>
            <a:rect l="l" t="t" r="r" b="b"/>
            <a:pathLst>
              <a:path h="153669">
                <a:moveTo>
                  <a:pt x="0" y="0"/>
                </a:moveTo>
                <a:lnTo>
                  <a:pt x="0" y="15366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2" name="object 172"/>
          <p:cNvSpPr/>
          <p:nvPr/>
        </p:nvSpPr>
        <p:spPr>
          <a:xfrm>
            <a:off x="6246242" y="4680331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3" name="object 173"/>
          <p:cNvSpPr/>
          <p:nvPr/>
        </p:nvSpPr>
        <p:spPr>
          <a:xfrm>
            <a:off x="6780529" y="4680331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4" name="object 174"/>
          <p:cNvSpPr/>
          <p:nvPr/>
        </p:nvSpPr>
        <p:spPr>
          <a:xfrm>
            <a:off x="5391024" y="4424388"/>
            <a:ext cx="1836674" cy="150025"/>
          </a:xfrm>
          <a:custGeom>
            <a:avLst/>
            <a:gdLst/>
            <a:ahLst/>
            <a:cxnLst/>
            <a:rect l="l" t="t" r="r" b="b"/>
            <a:pathLst>
              <a:path w="1836674" h="150025">
                <a:moveTo>
                  <a:pt x="0" y="150025"/>
                </a:moveTo>
                <a:lnTo>
                  <a:pt x="1836674" y="150025"/>
                </a:lnTo>
                <a:lnTo>
                  <a:pt x="1836674" y="0"/>
                </a:lnTo>
                <a:lnTo>
                  <a:pt x="0" y="0"/>
                </a:lnTo>
                <a:lnTo>
                  <a:pt x="0" y="15002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5" name="object 175"/>
          <p:cNvSpPr/>
          <p:nvPr/>
        </p:nvSpPr>
        <p:spPr>
          <a:xfrm>
            <a:off x="5927597" y="4425569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6" name="object 176"/>
          <p:cNvSpPr/>
          <p:nvPr/>
        </p:nvSpPr>
        <p:spPr>
          <a:xfrm>
            <a:off x="6248526" y="4422014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2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7" name="object 177"/>
          <p:cNvSpPr/>
          <p:nvPr/>
        </p:nvSpPr>
        <p:spPr>
          <a:xfrm>
            <a:off x="6780529" y="4422014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2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8" name="object 178"/>
          <p:cNvSpPr/>
          <p:nvPr/>
        </p:nvSpPr>
        <p:spPr>
          <a:xfrm>
            <a:off x="5611367" y="3352800"/>
            <a:ext cx="979933" cy="40386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9" name="object 179"/>
          <p:cNvSpPr/>
          <p:nvPr/>
        </p:nvSpPr>
        <p:spPr>
          <a:xfrm>
            <a:off x="5705857" y="3349752"/>
            <a:ext cx="832103" cy="35204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0" name="object 180"/>
          <p:cNvSpPr/>
          <p:nvPr/>
        </p:nvSpPr>
        <p:spPr>
          <a:xfrm>
            <a:off x="5659248" y="3380169"/>
            <a:ext cx="885113" cy="30841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1" name="object 181"/>
          <p:cNvSpPr/>
          <p:nvPr/>
        </p:nvSpPr>
        <p:spPr>
          <a:xfrm>
            <a:off x="5659248" y="3380169"/>
            <a:ext cx="885113" cy="308419"/>
          </a:xfrm>
          <a:custGeom>
            <a:avLst/>
            <a:gdLst/>
            <a:ahLst/>
            <a:cxnLst/>
            <a:rect l="l" t="t" r="r" b="b"/>
            <a:pathLst>
              <a:path w="885113" h="308419">
                <a:moveTo>
                  <a:pt x="0" y="308419"/>
                </a:moveTo>
                <a:lnTo>
                  <a:pt x="885113" y="308419"/>
                </a:lnTo>
                <a:lnTo>
                  <a:pt x="885113" y="0"/>
                </a:lnTo>
                <a:lnTo>
                  <a:pt x="0" y="0"/>
                </a:lnTo>
                <a:lnTo>
                  <a:pt x="0" y="308419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2" name="object 182"/>
          <p:cNvSpPr/>
          <p:nvPr/>
        </p:nvSpPr>
        <p:spPr>
          <a:xfrm>
            <a:off x="6223382" y="3648076"/>
            <a:ext cx="0" cy="448818"/>
          </a:xfrm>
          <a:custGeom>
            <a:avLst/>
            <a:gdLst/>
            <a:ahLst/>
            <a:cxnLst/>
            <a:rect l="l" t="t" r="r" b="b"/>
            <a:pathLst>
              <a:path h="448818">
                <a:moveTo>
                  <a:pt x="0" y="448818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3" name="object 143"/>
          <p:cNvSpPr/>
          <p:nvPr/>
        </p:nvSpPr>
        <p:spPr>
          <a:xfrm>
            <a:off x="694792" y="4726814"/>
            <a:ext cx="2022500" cy="363093"/>
          </a:xfrm>
          <a:custGeom>
            <a:avLst/>
            <a:gdLst/>
            <a:ahLst/>
            <a:cxnLst/>
            <a:rect l="l" t="t" r="r" b="b"/>
            <a:pathLst>
              <a:path w="2022500" h="363092">
                <a:moveTo>
                  <a:pt x="0" y="181482"/>
                </a:moveTo>
                <a:lnTo>
                  <a:pt x="29393" y="137879"/>
                </a:lnTo>
                <a:lnTo>
                  <a:pt x="79474" y="110853"/>
                </a:lnTo>
                <a:lnTo>
                  <a:pt x="112878" y="98093"/>
                </a:lnTo>
                <a:lnTo>
                  <a:pt x="151512" y="85897"/>
                </a:lnTo>
                <a:lnTo>
                  <a:pt x="195115" y="74313"/>
                </a:lnTo>
                <a:lnTo>
                  <a:pt x="243427" y="63386"/>
                </a:lnTo>
                <a:lnTo>
                  <a:pt x="296187" y="53165"/>
                </a:lnTo>
                <a:lnTo>
                  <a:pt x="353136" y="43695"/>
                </a:lnTo>
                <a:lnTo>
                  <a:pt x="414012" y="35023"/>
                </a:lnTo>
                <a:lnTo>
                  <a:pt x="478557" y="27196"/>
                </a:lnTo>
                <a:lnTo>
                  <a:pt x="546508" y="20261"/>
                </a:lnTo>
                <a:lnTo>
                  <a:pt x="617607" y="14265"/>
                </a:lnTo>
                <a:lnTo>
                  <a:pt x="691593" y="9254"/>
                </a:lnTo>
                <a:lnTo>
                  <a:pt x="768205" y="5275"/>
                </a:lnTo>
                <a:lnTo>
                  <a:pt x="847184" y="2376"/>
                </a:lnTo>
                <a:lnTo>
                  <a:pt x="928268" y="601"/>
                </a:lnTo>
                <a:lnTo>
                  <a:pt x="1011199" y="0"/>
                </a:lnTo>
                <a:lnTo>
                  <a:pt x="1094144" y="601"/>
                </a:lnTo>
                <a:lnTo>
                  <a:pt x="1175242" y="2376"/>
                </a:lnTo>
                <a:lnTo>
                  <a:pt x="1254233" y="5275"/>
                </a:lnTo>
                <a:lnTo>
                  <a:pt x="1330856" y="9254"/>
                </a:lnTo>
                <a:lnTo>
                  <a:pt x="1404851" y="14265"/>
                </a:lnTo>
                <a:lnTo>
                  <a:pt x="1475959" y="20261"/>
                </a:lnTo>
                <a:lnTo>
                  <a:pt x="1543918" y="27196"/>
                </a:lnTo>
                <a:lnTo>
                  <a:pt x="1608469" y="35023"/>
                </a:lnTo>
                <a:lnTo>
                  <a:pt x="1669351" y="43695"/>
                </a:lnTo>
                <a:lnTo>
                  <a:pt x="1726304" y="53165"/>
                </a:lnTo>
                <a:lnTo>
                  <a:pt x="1779068" y="63386"/>
                </a:lnTo>
                <a:lnTo>
                  <a:pt x="1827383" y="74313"/>
                </a:lnTo>
                <a:lnTo>
                  <a:pt x="1870989" y="85897"/>
                </a:lnTo>
                <a:lnTo>
                  <a:pt x="1909624" y="98093"/>
                </a:lnTo>
                <a:lnTo>
                  <a:pt x="1943030" y="110853"/>
                </a:lnTo>
                <a:lnTo>
                  <a:pt x="1993110" y="137879"/>
                </a:lnTo>
                <a:lnTo>
                  <a:pt x="2019148" y="166602"/>
                </a:lnTo>
                <a:lnTo>
                  <a:pt x="2022500" y="181482"/>
                </a:lnTo>
                <a:lnTo>
                  <a:pt x="2019148" y="196381"/>
                </a:lnTo>
                <a:lnTo>
                  <a:pt x="2009264" y="210948"/>
                </a:lnTo>
                <a:lnTo>
                  <a:pt x="1970945" y="238897"/>
                </a:lnTo>
                <a:lnTo>
                  <a:pt x="1909624" y="264956"/>
                </a:lnTo>
                <a:lnTo>
                  <a:pt x="1870989" y="277160"/>
                </a:lnTo>
                <a:lnTo>
                  <a:pt x="1827383" y="288752"/>
                </a:lnTo>
                <a:lnTo>
                  <a:pt x="1779068" y="299684"/>
                </a:lnTo>
                <a:lnTo>
                  <a:pt x="1726304" y="309911"/>
                </a:lnTo>
                <a:lnTo>
                  <a:pt x="1669351" y="319386"/>
                </a:lnTo>
                <a:lnTo>
                  <a:pt x="1608469" y="328061"/>
                </a:lnTo>
                <a:lnTo>
                  <a:pt x="1543918" y="335890"/>
                </a:lnTo>
                <a:lnTo>
                  <a:pt x="1475959" y="342827"/>
                </a:lnTo>
                <a:lnTo>
                  <a:pt x="1404851" y="348825"/>
                </a:lnTo>
                <a:lnTo>
                  <a:pt x="1330856" y="353837"/>
                </a:lnTo>
                <a:lnTo>
                  <a:pt x="1254233" y="357816"/>
                </a:lnTo>
                <a:lnTo>
                  <a:pt x="1175242" y="360716"/>
                </a:lnTo>
                <a:lnTo>
                  <a:pt x="1094144" y="362491"/>
                </a:lnTo>
                <a:lnTo>
                  <a:pt x="1011199" y="363093"/>
                </a:lnTo>
                <a:lnTo>
                  <a:pt x="928268" y="362491"/>
                </a:lnTo>
                <a:lnTo>
                  <a:pt x="847183" y="360716"/>
                </a:lnTo>
                <a:lnTo>
                  <a:pt x="768204" y="357816"/>
                </a:lnTo>
                <a:lnTo>
                  <a:pt x="691592" y="353837"/>
                </a:lnTo>
                <a:lnTo>
                  <a:pt x="617605" y="348825"/>
                </a:lnTo>
                <a:lnTo>
                  <a:pt x="546506" y="342827"/>
                </a:lnTo>
                <a:lnTo>
                  <a:pt x="478554" y="335890"/>
                </a:lnTo>
                <a:lnTo>
                  <a:pt x="414009" y="328061"/>
                </a:lnTo>
                <a:lnTo>
                  <a:pt x="353132" y="319386"/>
                </a:lnTo>
                <a:lnTo>
                  <a:pt x="296183" y="309911"/>
                </a:lnTo>
                <a:lnTo>
                  <a:pt x="243422" y="299684"/>
                </a:lnTo>
                <a:lnTo>
                  <a:pt x="195110" y="288752"/>
                </a:lnTo>
                <a:lnTo>
                  <a:pt x="151507" y="277160"/>
                </a:lnTo>
                <a:lnTo>
                  <a:pt x="112873" y="264956"/>
                </a:lnTo>
                <a:lnTo>
                  <a:pt x="79468" y="252186"/>
                </a:lnTo>
                <a:lnTo>
                  <a:pt x="51554" y="238897"/>
                </a:lnTo>
                <a:lnTo>
                  <a:pt x="13235" y="210948"/>
                </a:lnTo>
                <a:lnTo>
                  <a:pt x="0" y="18148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4" name="object 144"/>
          <p:cNvSpPr/>
          <p:nvPr/>
        </p:nvSpPr>
        <p:spPr>
          <a:xfrm>
            <a:off x="692505" y="4179063"/>
            <a:ext cx="0" cy="733425"/>
          </a:xfrm>
          <a:custGeom>
            <a:avLst/>
            <a:gdLst/>
            <a:ahLst/>
            <a:cxnLst/>
            <a:rect l="l" t="t" r="r" b="b"/>
            <a:pathLst>
              <a:path h="733425">
                <a:moveTo>
                  <a:pt x="0" y="0"/>
                </a:moveTo>
                <a:lnTo>
                  <a:pt x="0" y="7334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5" name="object 145"/>
          <p:cNvSpPr/>
          <p:nvPr/>
        </p:nvSpPr>
        <p:spPr>
          <a:xfrm>
            <a:off x="1034796" y="3355848"/>
            <a:ext cx="1158240" cy="403859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6" name="object 146"/>
          <p:cNvSpPr/>
          <p:nvPr/>
        </p:nvSpPr>
        <p:spPr>
          <a:xfrm>
            <a:off x="1217677" y="3354324"/>
            <a:ext cx="832103" cy="35204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7" name="object 147"/>
          <p:cNvSpPr/>
          <p:nvPr/>
        </p:nvSpPr>
        <p:spPr>
          <a:xfrm>
            <a:off x="1082319" y="3383725"/>
            <a:ext cx="1063980" cy="30841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8" name="object 148"/>
          <p:cNvSpPr/>
          <p:nvPr/>
        </p:nvSpPr>
        <p:spPr>
          <a:xfrm>
            <a:off x="1082319" y="3383725"/>
            <a:ext cx="1063980" cy="308419"/>
          </a:xfrm>
          <a:custGeom>
            <a:avLst/>
            <a:gdLst/>
            <a:ahLst/>
            <a:cxnLst/>
            <a:rect l="l" t="t" r="r" b="b"/>
            <a:pathLst>
              <a:path w="1063980" h="308419">
                <a:moveTo>
                  <a:pt x="0" y="308419"/>
                </a:moveTo>
                <a:lnTo>
                  <a:pt x="1063980" y="308419"/>
                </a:lnTo>
                <a:lnTo>
                  <a:pt x="1063980" y="0"/>
                </a:lnTo>
                <a:lnTo>
                  <a:pt x="0" y="0"/>
                </a:lnTo>
                <a:lnTo>
                  <a:pt x="0" y="308419"/>
                </a:lnTo>
                <a:close/>
              </a:path>
            </a:pathLst>
          </a:custGeom>
          <a:ln w="9524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9" name="object 149"/>
          <p:cNvSpPr/>
          <p:nvPr/>
        </p:nvSpPr>
        <p:spPr>
          <a:xfrm>
            <a:off x="1646428" y="3648076"/>
            <a:ext cx="0" cy="448818"/>
          </a:xfrm>
          <a:custGeom>
            <a:avLst/>
            <a:gdLst/>
            <a:ahLst/>
            <a:cxnLst/>
            <a:rect l="l" t="t" r="r" b="b"/>
            <a:pathLst>
              <a:path h="448818">
                <a:moveTo>
                  <a:pt x="0" y="448818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0" name="object 150"/>
          <p:cNvSpPr/>
          <p:nvPr/>
        </p:nvSpPr>
        <p:spPr>
          <a:xfrm>
            <a:off x="809447" y="4424388"/>
            <a:ext cx="1834388" cy="150025"/>
          </a:xfrm>
          <a:custGeom>
            <a:avLst/>
            <a:gdLst/>
            <a:ahLst/>
            <a:cxnLst/>
            <a:rect l="l" t="t" r="r" b="b"/>
            <a:pathLst>
              <a:path w="1834388" h="150025">
                <a:moveTo>
                  <a:pt x="0" y="150025"/>
                </a:moveTo>
                <a:lnTo>
                  <a:pt x="1834388" y="150025"/>
                </a:lnTo>
                <a:lnTo>
                  <a:pt x="1834388" y="0"/>
                </a:lnTo>
                <a:lnTo>
                  <a:pt x="0" y="0"/>
                </a:lnTo>
                <a:lnTo>
                  <a:pt x="0" y="15002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1" name="object 151"/>
          <p:cNvSpPr/>
          <p:nvPr/>
        </p:nvSpPr>
        <p:spPr>
          <a:xfrm>
            <a:off x="1346072" y="4425569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2" name="object 152"/>
          <p:cNvSpPr/>
          <p:nvPr/>
        </p:nvSpPr>
        <p:spPr>
          <a:xfrm>
            <a:off x="1667001" y="4425569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3" name="object 153"/>
          <p:cNvSpPr/>
          <p:nvPr/>
        </p:nvSpPr>
        <p:spPr>
          <a:xfrm>
            <a:off x="2199006" y="4425569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4" name="object 154"/>
          <p:cNvSpPr/>
          <p:nvPr/>
        </p:nvSpPr>
        <p:spPr>
          <a:xfrm>
            <a:off x="640080" y="3976116"/>
            <a:ext cx="2124456" cy="457200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5" name="object 155"/>
          <p:cNvSpPr/>
          <p:nvPr/>
        </p:nvSpPr>
        <p:spPr>
          <a:xfrm>
            <a:off x="687921" y="4002914"/>
            <a:ext cx="2029372" cy="363093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6" name="object 156"/>
          <p:cNvSpPr/>
          <p:nvPr/>
        </p:nvSpPr>
        <p:spPr>
          <a:xfrm>
            <a:off x="687921" y="4002914"/>
            <a:ext cx="2029372" cy="363093"/>
          </a:xfrm>
          <a:custGeom>
            <a:avLst/>
            <a:gdLst/>
            <a:ahLst/>
            <a:cxnLst/>
            <a:rect l="l" t="t" r="r" b="b"/>
            <a:pathLst>
              <a:path w="2029371" h="363092">
                <a:moveTo>
                  <a:pt x="0" y="181482"/>
                </a:moveTo>
                <a:lnTo>
                  <a:pt x="29488" y="137879"/>
                </a:lnTo>
                <a:lnTo>
                  <a:pt x="79736" y="110853"/>
                </a:lnTo>
                <a:lnTo>
                  <a:pt x="113254" y="98093"/>
                </a:lnTo>
                <a:lnTo>
                  <a:pt x="152018" y="85897"/>
                </a:lnTo>
                <a:lnTo>
                  <a:pt x="195769" y="74313"/>
                </a:lnTo>
                <a:lnTo>
                  <a:pt x="244245" y="63386"/>
                </a:lnTo>
                <a:lnTo>
                  <a:pt x="297184" y="53165"/>
                </a:lnTo>
                <a:lnTo>
                  <a:pt x="354327" y="43695"/>
                </a:lnTo>
                <a:lnTo>
                  <a:pt x="415411" y="35023"/>
                </a:lnTo>
                <a:lnTo>
                  <a:pt x="480175" y="27196"/>
                </a:lnTo>
                <a:lnTo>
                  <a:pt x="548358" y="20261"/>
                </a:lnTo>
                <a:lnTo>
                  <a:pt x="619700" y="14265"/>
                </a:lnTo>
                <a:lnTo>
                  <a:pt x="693939" y="9254"/>
                </a:lnTo>
                <a:lnTo>
                  <a:pt x="770813" y="5275"/>
                </a:lnTo>
                <a:lnTo>
                  <a:pt x="850063" y="2376"/>
                </a:lnTo>
                <a:lnTo>
                  <a:pt x="931425" y="601"/>
                </a:lnTo>
                <a:lnTo>
                  <a:pt x="1014641" y="0"/>
                </a:lnTo>
                <a:lnTo>
                  <a:pt x="1097868" y="601"/>
                </a:lnTo>
                <a:lnTo>
                  <a:pt x="1179243" y="2376"/>
                </a:lnTo>
                <a:lnTo>
                  <a:pt x="1258502" y="5275"/>
                </a:lnTo>
                <a:lnTo>
                  <a:pt x="1335386" y="9254"/>
                </a:lnTo>
                <a:lnTo>
                  <a:pt x="1409632" y="14265"/>
                </a:lnTo>
                <a:lnTo>
                  <a:pt x="1480981" y="20261"/>
                </a:lnTo>
                <a:lnTo>
                  <a:pt x="1549171" y="27196"/>
                </a:lnTo>
                <a:lnTo>
                  <a:pt x="1613940" y="35023"/>
                </a:lnTo>
                <a:lnTo>
                  <a:pt x="1675029" y="43695"/>
                </a:lnTo>
                <a:lnTo>
                  <a:pt x="1732175" y="53165"/>
                </a:lnTo>
                <a:lnTo>
                  <a:pt x="1785117" y="63386"/>
                </a:lnTo>
                <a:lnTo>
                  <a:pt x="1833596" y="74313"/>
                </a:lnTo>
                <a:lnTo>
                  <a:pt x="1877348" y="85897"/>
                </a:lnTo>
                <a:lnTo>
                  <a:pt x="1916114" y="98093"/>
                </a:lnTo>
                <a:lnTo>
                  <a:pt x="1949632" y="110853"/>
                </a:lnTo>
                <a:lnTo>
                  <a:pt x="1999882" y="137879"/>
                </a:lnTo>
                <a:lnTo>
                  <a:pt x="2026007" y="166602"/>
                </a:lnTo>
                <a:lnTo>
                  <a:pt x="2029371" y="181482"/>
                </a:lnTo>
                <a:lnTo>
                  <a:pt x="2026007" y="196381"/>
                </a:lnTo>
                <a:lnTo>
                  <a:pt x="2016090" y="210948"/>
                </a:lnTo>
                <a:lnTo>
                  <a:pt x="1977642" y="238897"/>
                </a:lnTo>
                <a:lnTo>
                  <a:pt x="1916114" y="264956"/>
                </a:lnTo>
                <a:lnTo>
                  <a:pt x="1877348" y="277160"/>
                </a:lnTo>
                <a:lnTo>
                  <a:pt x="1833596" y="288752"/>
                </a:lnTo>
                <a:lnTo>
                  <a:pt x="1785117" y="299684"/>
                </a:lnTo>
                <a:lnTo>
                  <a:pt x="1732175" y="309911"/>
                </a:lnTo>
                <a:lnTo>
                  <a:pt x="1675029" y="319386"/>
                </a:lnTo>
                <a:lnTo>
                  <a:pt x="1613940" y="328061"/>
                </a:lnTo>
                <a:lnTo>
                  <a:pt x="1549171" y="335890"/>
                </a:lnTo>
                <a:lnTo>
                  <a:pt x="1480981" y="342827"/>
                </a:lnTo>
                <a:lnTo>
                  <a:pt x="1409632" y="348825"/>
                </a:lnTo>
                <a:lnTo>
                  <a:pt x="1335386" y="353837"/>
                </a:lnTo>
                <a:lnTo>
                  <a:pt x="1258502" y="357816"/>
                </a:lnTo>
                <a:lnTo>
                  <a:pt x="1179243" y="360716"/>
                </a:lnTo>
                <a:lnTo>
                  <a:pt x="1097868" y="362491"/>
                </a:lnTo>
                <a:lnTo>
                  <a:pt x="1014641" y="363093"/>
                </a:lnTo>
                <a:lnTo>
                  <a:pt x="931425" y="362491"/>
                </a:lnTo>
                <a:lnTo>
                  <a:pt x="850063" y="360716"/>
                </a:lnTo>
                <a:lnTo>
                  <a:pt x="770813" y="357816"/>
                </a:lnTo>
                <a:lnTo>
                  <a:pt x="693939" y="353837"/>
                </a:lnTo>
                <a:lnTo>
                  <a:pt x="619700" y="348825"/>
                </a:lnTo>
                <a:lnTo>
                  <a:pt x="548358" y="342827"/>
                </a:lnTo>
                <a:lnTo>
                  <a:pt x="480175" y="335890"/>
                </a:lnTo>
                <a:lnTo>
                  <a:pt x="415411" y="328061"/>
                </a:lnTo>
                <a:lnTo>
                  <a:pt x="354327" y="319386"/>
                </a:lnTo>
                <a:lnTo>
                  <a:pt x="297184" y="309911"/>
                </a:lnTo>
                <a:lnTo>
                  <a:pt x="244245" y="299684"/>
                </a:lnTo>
                <a:lnTo>
                  <a:pt x="195769" y="288752"/>
                </a:lnTo>
                <a:lnTo>
                  <a:pt x="152018" y="277160"/>
                </a:lnTo>
                <a:lnTo>
                  <a:pt x="113254" y="264956"/>
                </a:lnTo>
                <a:lnTo>
                  <a:pt x="79736" y="252186"/>
                </a:lnTo>
                <a:lnTo>
                  <a:pt x="51727" y="238897"/>
                </a:lnTo>
                <a:lnTo>
                  <a:pt x="13280" y="210948"/>
                </a:lnTo>
                <a:lnTo>
                  <a:pt x="0" y="181482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7" name="object 157"/>
          <p:cNvSpPr/>
          <p:nvPr/>
        </p:nvSpPr>
        <p:spPr>
          <a:xfrm>
            <a:off x="701675" y="4693387"/>
            <a:ext cx="2022476" cy="235737"/>
          </a:xfrm>
          <a:custGeom>
            <a:avLst/>
            <a:gdLst/>
            <a:ahLst/>
            <a:cxnLst/>
            <a:rect l="l" t="t" r="r" b="b"/>
            <a:pathLst>
              <a:path w="2022475" h="235737">
                <a:moveTo>
                  <a:pt x="0" y="235737"/>
                </a:moveTo>
                <a:lnTo>
                  <a:pt x="2022475" y="235737"/>
                </a:lnTo>
                <a:lnTo>
                  <a:pt x="2022475" y="0"/>
                </a:lnTo>
                <a:lnTo>
                  <a:pt x="0" y="0"/>
                </a:lnTo>
                <a:lnTo>
                  <a:pt x="0" y="235737"/>
                </a:lnTo>
                <a:close/>
              </a:path>
            </a:pathLst>
          </a:custGeom>
          <a:solidFill>
            <a:srgbClr val="FFBB1D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8" name="object 158"/>
          <p:cNvSpPr/>
          <p:nvPr/>
        </p:nvSpPr>
        <p:spPr>
          <a:xfrm>
            <a:off x="832383" y="4745799"/>
            <a:ext cx="1834388" cy="157162"/>
          </a:xfrm>
          <a:custGeom>
            <a:avLst/>
            <a:gdLst/>
            <a:ahLst/>
            <a:cxnLst/>
            <a:rect l="l" t="t" r="r" b="b"/>
            <a:pathLst>
              <a:path w="1834388" h="157162">
                <a:moveTo>
                  <a:pt x="0" y="157162"/>
                </a:moveTo>
                <a:lnTo>
                  <a:pt x="1834388" y="157162"/>
                </a:lnTo>
                <a:lnTo>
                  <a:pt x="1834388" y="0"/>
                </a:lnTo>
                <a:lnTo>
                  <a:pt x="0" y="0"/>
                </a:lnTo>
                <a:lnTo>
                  <a:pt x="0" y="15716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9" name="object 159"/>
          <p:cNvSpPr/>
          <p:nvPr/>
        </p:nvSpPr>
        <p:spPr>
          <a:xfrm>
            <a:off x="1396493" y="4748149"/>
            <a:ext cx="0" cy="159638"/>
          </a:xfrm>
          <a:custGeom>
            <a:avLst/>
            <a:gdLst/>
            <a:ahLst/>
            <a:cxnLst/>
            <a:rect l="l" t="t" r="r" b="b"/>
            <a:pathLst>
              <a:path h="159638">
                <a:moveTo>
                  <a:pt x="0" y="0"/>
                </a:moveTo>
                <a:lnTo>
                  <a:pt x="0" y="15963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0" name="object 160"/>
          <p:cNvSpPr/>
          <p:nvPr/>
        </p:nvSpPr>
        <p:spPr>
          <a:xfrm>
            <a:off x="1717548" y="4748149"/>
            <a:ext cx="0" cy="159638"/>
          </a:xfrm>
          <a:custGeom>
            <a:avLst/>
            <a:gdLst/>
            <a:ahLst/>
            <a:cxnLst/>
            <a:rect l="l" t="t" r="r" b="b"/>
            <a:pathLst>
              <a:path h="159638">
                <a:moveTo>
                  <a:pt x="0" y="0"/>
                </a:moveTo>
                <a:lnTo>
                  <a:pt x="0" y="15963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1" name="object 161"/>
          <p:cNvSpPr/>
          <p:nvPr/>
        </p:nvSpPr>
        <p:spPr>
          <a:xfrm>
            <a:off x="2249551" y="4748149"/>
            <a:ext cx="0" cy="159638"/>
          </a:xfrm>
          <a:custGeom>
            <a:avLst/>
            <a:gdLst/>
            <a:ahLst/>
            <a:cxnLst/>
            <a:rect l="l" t="t" r="r" b="b"/>
            <a:pathLst>
              <a:path h="159638">
                <a:moveTo>
                  <a:pt x="0" y="0"/>
                </a:moveTo>
                <a:lnTo>
                  <a:pt x="0" y="15963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2" name="object 162"/>
          <p:cNvSpPr/>
          <p:nvPr/>
        </p:nvSpPr>
        <p:spPr>
          <a:xfrm>
            <a:off x="2710434" y="4207637"/>
            <a:ext cx="0" cy="733425"/>
          </a:xfrm>
          <a:custGeom>
            <a:avLst/>
            <a:gdLst/>
            <a:ahLst/>
            <a:cxnLst/>
            <a:rect l="l" t="t" r="r" b="b"/>
            <a:pathLst>
              <a:path h="733425">
                <a:moveTo>
                  <a:pt x="0" y="0"/>
                </a:moveTo>
                <a:lnTo>
                  <a:pt x="0" y="7334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9" name="object 119"/>
          <p:cNvSpPr/>
          <p:nvPr/>
        </p:nvSpPr>
        <p:spPr>
          <a:xfrm>
            <a:off x="2983232" y="4726814"/>
            <a:ext cx="2013330" cy="363093"/>
          </a:xfrm>
          <a:custGeom>
            <a:avLst/>
            <a:gdLst/>
            <a:ahLst/>
            <a:cxnLst/>
            <a:rect l="l" t="t" r="r" b="b"/>
            <a:pathLst>
              <a:path w="2013331" h="363092">
                <a:moveTo>
                  <a:pt x="0" y="181482"/>
                </a:moveTo>
                <a:lnTo>
                  <a:pt x="29257" y="137879"/>
                </a:lnTo>
                <a:lnTo>
                  <a:pt x="79113" y="110853"/>
                </a:lnTo>
                <a:lnTo>
                  <a:pt x="112368" y="98093"/>
                </a:lnTo>
                <a:lnTo>
                  <a:pt x="150829" y="85897"/>
                </a:lnTo>
                <a:lnTo>
                  <a:pt x="194238" y="74313"/>
                </a:lnTo>
                <a:lnTo>
                  <a:pt x="242336" y="63386"/>
                </a:lnTo>
                <a:lnTo>
                  <a:pt x="294862" y="53165"/>
                </a:lnTo>
                <a:lnTo>
                  <a:pt x="351558" y="43695"/>
                </a:lnTo>
                <a:lnTo>
                  <a:pt x="412165" y="35023"/>
                </a:lnTo>
                <a:lnTo>
                  <a:pt x="476424" y="27196"/>
                </a:lnTo>
                <a:lnTo>
                  <a:pt x="544076" y="20261"/>
                </a:lnTo>
                <a:lnTo>
                  <a:pt x="614862" y="14265"/>
                </a:lnTo>
                <a:lnTo>
                  <a:pt x="688522" y="9254"/>
                </a:lnTo>
                <a:lnTo>
                  <a:pt x="764798" y="5275"/>
                </a:lnTo>
                <a:lnTo>
                  <a:pt x="843431" y="2376"/>
                </a:lnTo>
                <a:lnTo>
                  <a:pt x="924160" y="601"/>
                </a:lnTo>
                <a:lnTo>
                  <a:pt x="1006729" y="0"/>
                </a:lnTo>
                <a:lnTo>
                  <a:pt x="1089278" y="601"/>
                </a:lnTo>
                <a:lnTo>
                  <a:pt x="1169992" y="2376"/>
                </a:lnTo>
                <a:lnTo>
                  <a:pt x="1248610" y="5275"/>
                </a:lnTo>
                <a:lnTo>
                  <a:pt x="1324873" y="9254"/>
                </a:lnTo>
                <a:lnTo>
                  <a:pt x="1398522" y="14265"/>
                </a:lnTo>
                <a:lnTo>
                  <a:pt x="1469297" y="20261"/>
                </a:lnTo>
                <a:lnTo>
                  <a:pt x="1536940" y="27196"/>
                </a:lnTo>
                <a:lnTo>
                  <a:pt x="1601192" y="35023"/>
                </a:lnTo>
                <a:lnTo>
                  <a:pt x="1661793" y="43695"/>
                </a:lnTo>
                <a:lnTo>
                  <a:pt x="1718484" y="53165"/>
                </a:lnTo>
                <a:lnTo>
                  <a:pt x="1771006" y="63386"/>
                </a:lnTo>
                <a:lnTo>
                  <a:pt x="1819100" y="74313"/>
                </a:lnTo>
                <a:lnTo>
                  <a:pt x="1862506" y="85897"/>
                </a:lnTo>
                <a:lnTo>
                  <a:pt x="1900966" y="98093"/>
                </a:lnTo>
                <a:lnTo>
                  <a:pt x="1934219" y="110853"/>
                </a:lnTo>
                <a:lnTo>
                  <a:pt x="1984073" y="137879"/>
                </a:lnTo>
                <a:lnTo>
                  <a:pt x="2009993" y="166602"/>
                </a:lnTo>
                <a:lnTo>
                  <a:pt x="2013331" y="181482"/>
                </a:lnTo>
                <a:lnTo>
                  <a:pt x="2009993" y="196381"/>
                </a:lnTo>
                <a:lnTo>
                  <a:pt x="2000154" y="210948"/>
                </a:lnTo>
                <a:lnTo>
                  <a:pt x="1962008" y="238897"/>
                </a:lnTo>
                <a:lnTo>
                  <a:pt x="1900966" y="264956"/>
                </a:lnTo>
                <a:lnTo>
                  <a:pt x="1862506" y="277160"/>
                </a:lnTo>
                <a:lnTo>
                  <a:pt x="1819100" y="288752"/>
                </a:lnTo>
                <a:lnTo>
                  <a:pt x="1771006" y="299684"/>
                </a:lnTo>
                <a:lnTo>
                  <a:pt x="1718484" y="309911"/>
                </a:lnTo>
                <a:lnTo>
                  <a:pt x="1661793" y="319386"/>
                </a:lnTo>
                <a:lnTo>
                  <a:pt x="1601192" y="328061"/>
                </a:lnTo>
                <a:lnTo>
                  <a:pt x="1536940" y="335890"/>
                </a:lnTo>
                <a:lnTo>
                  <a:pt x="1469297" y="342827"/>
                </a:lnTo>
                <a:lnTo>
                  <a:pt x="1398522" y="348825"/>
                </a:lnTo>
                <a:lnTo>
                  <a:pt x="1324873" y="353837"/>
                </a:lnTo>
                <a:lnTo>
                  <a:pt x="1248610" y="357816"/>
                </a:lnTo>
                <a:lnTo>
                  <a:pt x="1169992" y="360716"/>
                </a:lnTo>
                <a:lnTo>
                  <a:pt x="1089278" y="362491"/>
                </a:lnTo>
                <a:lnTo>
                  <a:pt x="1006729" y="363093"/>
                </a:lnTo>
                <a:lnTo>
                  <a:pt x="924160" y="362491"/>
                </a:lnTo>
                <a:lnTo>
                  <a:pt x="843431" y="360716"/>
                </a:lnTo>
                <a:lnTo>
                  <a:pt x="764798" y="357816"/>
                </a:lnTo>
                <a:lnTo>
                  <a:pt x="688522" y="353837"/>
                </a:lnTo>
                <a:lnTo>
                  <a:pt x="614862" y="348825"/>
                </a:lnTo>
                <a:lnTo>
                  <a:pt x="544076" y="342827"/>
                </a:lnTo>
                <a:lnTo>
                  <a:pt x="476424" y="335890"/>
                </a:lnTo>
                <a:lnTo>
                  <a:pt x="412165" y="328061"/>
                </a:lnTo>
                <a:lnTo>
                  <a:pt x="351558" y="319386"/>
                </a:lnTo>
                <a:lnTo>
                  <a:pt x="294862" y="309911"/>
                </a:lnTo>
                <a:lnTo>
                  <a:pt x="242336" y="299684"/>
                </a:lnTo>
                <a:lnTo>
                  <a:pt x="194238" y="288752"/>
                </a:lnTo>
                <a:lnTo>
                  <a:pt x="150829" y="277160"/>
                </a:lnTo>
                <a:lnTo>
                  <a:pt x="112368" y="264956"/>
                </a:lnTo>
                <a:lnTo>
                  <a:pt x="79113" y="252186"/>
                </a:lnTo>
                <a:lnTo>
                  <a:pt x="51323" y="238897"/>
                </a:lnTo>
                <a:lnTo>
                  <a:pt x="13176" y="210948"/>
                </a:lnTo>
                <a:lnTo>
                  <a:pt x="0" y="18148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0" name="object 120"/>
          <p:cNvSpPr/>
          <p:nvPr/>
        </p:nvSpPr>
        <p:spPr>
          <a:xfrm>
            <a:off x="2971801" y="4179063"/>
            <a:ext cx="2031619" cy="726313"/>
          </a:xfrm>
          <a:custGeom>
            <a:avLst/>
            <a:gdLst/>
            <a:ahLst/>
            <a:cxnLst/>
            <a:rect l="l" t="t" r="r" b="b"/>
            <a:pathLst>
              <a:path w="2031619" h="726313">
                <a:moveTo>
                  <a:pt x="0" y="0"/>
                </a:moveTo>
                <a:lnTo>
                  <a:pt x="0" y="726313"/>
                </a:lnTo>
                <a:lnTo>
                  <a:pt x="2031619" y="726313"/>
                </a:lnTo>
                <a:lnTo>
                  <a:pt x="20316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1" name="object 121"/>
          <p:cNvSpPr/>
          <p:nvPr/>
        </p:nvSpPr>
        <p:spPr>
          <a:xfrm>
            <a:off x="2971800" y="4179063"/>
            <a:ext cx="0" cy="733425"/>
          </a:xfrm>
          <a:custGeom>
            <a:avLst/>
            <a:gdLst/>
            <a:ahLst/>
            <a:cxnLst/>
            <a:rect l="l" t="t" r="r" b="b"/>
            <a:pathLst>
              <a:path h="733425">
                <a:moveTo>
                  <a:pt x="0" y="0"/>
                </a:moveTo>
                <a:lnTo>
                  <a:pt x="0" y="7334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2" name="object 122"/>
          <p:cNvSpPr/>
          <p:nvPr/>
        </p:nvSpPr>
        <p:spPr>
          <a:xfrm>
            <a:off x="5012563" y="4179063"/>
            <a:ext cx="0" cy="733425"/>
          </a:xfrm>
          <a:custGeom>
            <a:avLst/>
            <a:gdLst/>
            <a:ahLst/>
            <a:cxnLst/>
            <a:rect l="l" t="t" r="r" b="b"/>
            <a:pathLst>
              <a:path h="733425">
                <a:moveTo>
                  <a:pt x="0" y="0"/>
                </a:moveTo>
                <a:lnTo>
                  <a:pt x="0" y="7334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3" name="object 123"/>
          <p:cNvSpPr/>
          <p:nvPr/>
        </p:nvSpPr>
        <p:spPr>
          <a:xfrm>
            <a:off x="2919985" y="3976116"/>
            <a:ext cx="2124456" cy="457200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4" name="object 124"/>
          <p:cNvSpPr/>
          <p:nvPr/>
        </p:nvSpPr>
        <p:spPr>
          <a:xfrm>
            <a:off x="2967230" y="4002914"/>
            <a:ext cx="2029333" cy="363093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5" name="object 125"/>
          <p:cNvSpPr/>
          <p:nvPr/>
        </p:nvSpPr>
        <p:spPr>
          <a:xfrm>
            <a:off x="2967230" y="4002914"/>
            <a:ext cx="2029333" cy="363093"/>
          </a:xfrm>
          <a:custGeom>
            <a:avLst/>
            <a:gdLst/>
            <a:ahLst/>
            <a:cxnLst/>
            <a:rect l="l" t="t" r="r" b="b"/>
            <a:pathLst>
              <a:path w="2029333" h="363092">
                <a:moveTo>
                  <a:pt x="0" y="181482"/>
                </a:moveTo>
                <a:lnTo>
                  <a:pt x="29488" y="137879"/>
                </a:lnTo>
                <a:lnTo>
                  <a:pt x="79736" y="110853"/>
                </a:lnTo>
                <a:lnTo>
                  <a:pt x="113253" y="98093"/>
                </a:lnTo>
                <a:lnTo>
                  <a:pt x="152016" y="85897"/>
                </a:lnTo>
                <a:lnTo>
                  <a:pt x="195766" y="74313"/>
                </a:lnTo>
                <a:lnTo>
                  <a:pt x="244241" y="63386"/>
                </a:lnTo>
                <a:lnTo>
                  <a:pt x="297179" y="53165"/>
                </a:lnTo>
                <a:lnTo>
                  <a:pt x="354320" y="43695"/>
                </a:lnTo>
                <a:lnTo>
                  <a:pt x="415402" y="35023"/>
                </a:lnTo>
                <a:lnTo>
                  <a:pt x="480164" y="27196"/>
                </a:lnTo>
                <a:lnTo>
                  <a:pt x="548345" y="20261"/>
                </a:lnTo>
                <a:lnTo>
                  <a:pt x="619684" y="14265"/>
                </a:lnTo>
                <a:lnTo>
                  <a:pt x="693919" y="9254"/>
                </a:lnTo>
                <a:lnTo>
                  <a:pt x="770790" y="5275"/>
                </a:lnTo>
                <a:lnTo>
                  <a:pt x="850035" y="2376"/>
                </a:lnTo>
                <a:lnTo>
                  <a:pt x="931393" y="601"/>
                </a:lnTo>
                <a:lnTo>
                  <a:pt x="1014602" y="0"/>
                </a:lnTo>
                <a:lnTo>
                  <a:pt x="1097830" y="601"/>
                </a:lnTo>
                <a:lnTo>
                  <a:pt x="1179205" y="2376"/>
                </a:lnTo>
                <a:lnTo>
                  <a:pt x="1258464" y="5275"/>
                </a:lnTo>
                <a:lnTo>
                  <a:pt x="1335348" y="9254"/>
                </a:lnTo>
                <a:lnTo>
                  <a:pt x="1409594" y="14265"/>
                </a:lnTo>
                <a:lnTo>
                  <a:pt x="1480943" y="20261"/>
                </a:lnTo>
                <a:lnTo>
                  <a:pt x="1549133" y="27196"/>
                </a:lnTo>
                <a:lnTo>
                  <a:pt x="1613902" y="35023"/>
                </a:lnTo>
                <a:lnTo>
                  <a:pt x="1674991" y="43695"/>
                </a:lnTo>
                <a:lnTo>
                  <a:pt x="1732137" y="53165"/>
                </a:lnTo>
                <a:lnTo>
                  <a:pt x="1785079" y="63386"/>
                </a:lnTo>
                <a:lnTo>
                  <a:pt x="1833557" y="74313"/>
                </a:lnTo>
                <a:lnTo>
                  <a:pt x="1877310" y="85897"/>
                </a:lnTo>
                <a:lnTo>
                  <a:pt x="1916076" y="98093"/>
                </a:lnTo>
                <a:lnTo>
                  <a:pt x="1949594" y="110853"/>
                </a:lnTo>
                <a:lnTo>
                  <a:pt x="1999844" y="137879"/>
                </a:lnTo>
                <a:lnTo>
                  <a:pt x="2025969" y="166602"/>
                </a:lnTo>
                <a:lnTo>
                  <a:pt x="2029333" y="181482"/>
                </a:lnTo>
                <a:lnTo>
                  <a:pt x="2025969" y="196381"/>
                </a:lnTo>
                <a:lnTo>
                  <a:pt x="2016052" y="210948"/>
                </a:lnTo>
                <a:lnTo>
                  <a:pt x="1977604" y="238897"/>
                </a:lnTo>
                <a:lnTo>
                  <a:pt x="1916076" y="264956"/>
                </a:lnTo>
                <a:lnTo>
                  <a:pt x="1877310" y="277160"/>
                </a:lnTo>
                <a:lnTo>
                  <a:pt x="1833557" y="288752"/>
                </a:lnTo>
                <a:lnTo>
                  <a:pt x="1785079" y="299684"/>
                </a:lnTo>
                <a:lnTo>
                  <a:pt x="1732137" y="309911"/>
                </a:lnTo>
                <a:lnTo>
                  <a:pt x="1674991" y="319386"/>
                </a:lnTo>
                <a:lnTo>
                  <a:pt x="1613902" y="328061"/>
                </a:lnTo>
                <a:lnTo>
                  <a:pt x="1549133" y="335890"/>
                </a:lnTo>
                <a:lnTo>
                  <a:pt x="1480943" y="342827"/>
                </a:lnTo>
                <a:lnTo>
                  <a:pt x="1409594" y="348825"/>
                </a:lnTo>
                <a:lnTo>
                  <a:pt x="1335348" y="353837"/>
                </a:lnTo>
                <a:lnTo>
                  <a:pt x="1258464" y="357816"/>
                </a:lnTo>
                <a:lnTo>
                  <a:pt x="1179205" y="360716"/>
                </a:lnTo>
                <a:lnTo>
                  <a:pt x="1097830" y="362491"/>
                </a:lnTo>
                <a:lnTo>
                  <a:pt x="1014602" y="363093"/>
                </a:lnTo>
                <a:lnTo>
                  <a:pt x="931393" y="362491"/>
                </a:lnTo>
                <a:lnTo>
                  <a:pt x="850035" y="360716"/>
                </a:lnTo>
                <a:lnTo>
                  <a:pt x="770790" y="357816"/>
                </a:lnTo>
                <a:lnTo>
                  <a:pt x="693919" y="353837"/>
                </a:lnTo>
                <a:lnTo>
                  <a:pt x="619684" y="348825"/>
                </a:lnTo>
                <a:lnTo>
                  <a:pt x="548345" y="342827"/>
                </a:lnTo>
                <a:lnTo>
                  <a:pt x="480164" y="335890"/>
                </a:lnTo>
                <a:lnTo>
                  <a:pt x="415402" y="328061"/>
                </a:lnTo>
                <a:lnTo>
                  <a:pt x="354320" y="319386"/>
                </a:lnTo>
                <a:lnTo>
                  <a:pt x="297179" y="309911"/>
                </a:lnTo>
                <a:lnTo>
                  <a:pt x="244241" y="299684"/>
                </a:lnTo>
                <a:lnTo>
                  <a:pt x="195766" y="288752"/>
                </a:lnTo>
                <a:lnTo>
                  <a:pt x="152016" y="277160"/>
                </a:lnTo>
                <a:lnTo>
                  <a:pt x="113253" y="264956"/>
                </a:lnTo>
                <a:lnTo>
                  <a:pt x="79736" y="252186"/>
                </a:lnTo>
                <a:lnTo>
                  <a:pt x="51727" y="238897"/>
                </a:lnTo>
                <a:lnTo>
                  <a:pt x="13280" y="210948"/>
                </a:lnTo>
                <a:lnTo>
                  <a:pt x="0" y="181482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6" name="object 126"/>
          <p:cNvSpPr/>
          <p:nvPr/>
        </p:nvSpPr>
        <p:spPr>
          <a:xfrm>
            <a:off x="3086482" y="4800613"/>
            <a:ext cx="1836800" cy="148831"/>
          </a:xfrm>
          <a:custGeom>
            <a:avLst/>
            <a:gdLst/>
            <a:ahLst/>
            <a:cxnLst/>
            <a:rect l="l" t="t" r="r" b="b"/>
            <a:pathLst>
              <a:path w="1836800" h="148831">
                <a:moveTo>
                  <a:pt x="0" y="148831"/>
                </a:moveTo>
                <a:lnTo>
                  <a:pt x="1836800" y="148831"/>
                </a:lnTo>
                <a:lnTo>
                  <a:pt x="1836800" y="0"/>
                </a:lnTo>
                <a:lnTo>
                  <a:pt x="0" y="0"/>
                </a:lnTo>
                <a:lnTo>
                  <a:pt x="0" y="148831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7" name="object 127"/>
          <p:cNvSpPr/>
          <p:nvPr/>
        </p:nvSpPr>
        <p:spPr>
          <a:xfrm>
            <a:off x="3623056" y="4800601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8" name="object 128"/>
          <p:cNvSpPr/>
          <p:nvPr/>
        </p:nvSpPr>
        <p:spPr>
          <a:xfrm>
            <a:off x="3944112" y="4800601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9" name="object 129"/>
          <p:cNvSpPr/>
          <p:nvPr/>
        </p:nvSpPr>
        <p:spPr>
          <a:xfrm>
            <a:off x="4475987" y="4800601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0" name="object 130"/>
          <p:cNvSpPr/>
          <p:nvPr/>
        </p:nvSpPr>
        <p:spPr>
          <a:xfrm>
            <a:off x="3088768" y="4401706"/>
            <a:ext cx="1834386" cy="148831"/>
          </a:xfrm>
          <a:custGeom>
            <a:avLst/>
            <a:gdLst/>
            <a:ahLst/>
            <a:cxnLst/>
            <a:rect l="l" t="t" r="r" b="b"/>
            <a:pathLst>
              <a:path w="1834387" h="148831">
                <a:moveTo>
                  <a:pt x="0" y="148831"/>
                </a:moveTo>
                <a:lnTo>
                  <a:pt x="1834387" y="148831"/>
                </a:lnTo>
                <a:lnTo>
                  <a:pt x="1834387" y="0"/>
                </a:lnTo>
                <a:lnTo>
                  <a:pt x="0" y="0"/>
                </a:lnTo>
                <a:lnTo>
                  <a:pt x="0" y="1488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1" name="object 131"/>
          <p:cNvSpPr/>
          <p:nvPr/>
        </p:nvSpPr>
        <p:spPr>
          <a:xfrm>
            <a:off x="3625340" y="4401693"/>
            <a:ext cx="0" cy="153669"/>
          </a:xfrm>
          <a:custGeom>
            <a:avLst/>
            <a:gdLst/>
            <a:ahLst/>
            <a:cxnLst/>
            <a:rect l="l" t="t" r="r" b="b"/>
            <a:pathLst>
              <a:path h="153670">
                <a:moveTo>
                  <a:pt x="0" y="0"/>
                </a:moveTo>
                <a:lnTo>
                  <a:pt x="0" y="15366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2" name="object 132"/>
          <p:cNvSpPr/>
          <p:nvPr/>
        </p:nvSpPr>
        <p:spPr>
          <a:xfrm>
            <a:off x="3946398" y="4401693"/>
            <a:ext cx="0" cy="153669"/>
          </a:xfrm>
          <a:custGeom>
            <a:avLst/>
            <a:gdLst/>
            <a:ahLst/>
            <a:cxnLst/>
            <a:rect l="l" t="t" r="r" b="b"/>
            <a:pathLst>
              <a:path h="153670">
                <a:moveTo>
                  <a:pt x="0" y="0"/>
                </a:moveTo>
                <a:lnTo>
                  <a:pt x="0" y="15366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3" name="object 133"/>
          <p:cNvSpPr/>
          <p:nvPr/>
        </p:nvSpPr>
        <p:spPr>
          <a:xfrm>
            <a:off x="4478401" y="4401693"/>
            <a:ext cx="0" cy="153669"/>
          </a:xfrm>
          <a:custGeom>
            <a:avLst/>
            <a:gdLst/>
            <a:ahLst/>
            <a:cxnLst/>
            <a:rect l="l" t="t" r="r" b="b"/>
            <a:pathLst>
              <a:path h="153670">
                <a:moveTo>
                  <a:pt x="0" y="0"/>
                </a:moveTo>
                <a:lnTo>
                  <a:pt x="0" y="15366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4" name="object 134"/>
          <p:cNvSpPr/>
          <p:nvPr/>
        </p:nvSpPr>
        <p:spPr>
          <a:xfrm>
            <a:off x="3086482" y="4618368"/>
            <a:ext cx="1836800" cy="148831"/>
          </a:xfrm>
          <a:custGeom>
            <a:avLst/>
            <a:gdLst/>
            <a:ahLst/>
            <a:cxnLst/>
            <a:rect l="l" t="t" r="r" b="b"/>
            <a:pathLst>
              <a:path w="1836800" h="148831">
                <a:moveTo>
                  <a:pt x="0" y="148831"/>
                </a:moveTo>
                <a:lnTo>
                  <a:pt x="1836800" y="148831"/>
                </a:lnTo>
                <a:lnTo>
                  <a:pt x="1836800" y="0"/>
                </a:lnTo>
                <a:lnTo>
                  <a:pt x="0" y="0"/>
                </a:lnTo>
                <a:lnTo>
                  <a:pt x="0" y="148831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5" name="object 135"/>
          <p:cNvSpPr/>
          <p:nvPr/>
        </p:nvSpPr>
        <p:spPr>
          <a:xfrm>
            <a:off x="3623056" y="4618483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6" name="object 136"/>
          <p:cNvSpPr/>
          <p:nvPr/>
        </p:nvSpPr>
        <p:spPr>
          <a:xfrm>
            <a:off x="3944112" y="4618483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7" name="object 137"/>
          <p:cNvSpPr/>
          <p:nvPr/>
        </p:nvSpPr>
        <p:spPr>
          <a:xfrm>
            <a:off x="4475987" y="4618483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8" name="object 138"/>
          <p:cNvSpPr/>
          <p:nvPr/>
        </p:nvSpPr>
        <p:spPr>
          <a:xfrm>
            <a:off x="3323846" y="3354324"/>
            <a:ext cx="979931" cy="402336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9" name="object 139"/>
          <p:cNvSpPr/>
          <p:nvPr/>
        </p:nvSpPr>
        <p:spPr>
          <a:xfrm>
            <a:off x="3416809" y="3351276"/>
            <a:ext cx="832103" cy="35204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0" name="object 140"/>
          <p:cNvSpPr/>
          <p:nvPr/>
        </p:nvSpPr>
        <p:spPr>
          <a:xfrm>
            <a:off x="3370834" y="3381312"/>
            <a:ext cx="885113" cy="308419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1" name="object 141"/>
          <p:cNvSpPr/>
          <p:nvPr/>
        </p:nvSpPr>
        <p:spPr>
          <a:xfrm>
            <a:off x="3370834" y="3381312"/>
            <a:ext cx="885113" cy="308419"/>
          </a:xfrm>
          <a:custGeom>
            <a:avLst/>
            <a:gdLst/>
            <a:ahLst/>
            <a:cxnLst/>
            <a:rect l="l" t="t" r="r" b="b"/>
            <a:pathLst>
              <a:path w="885113" h="308419">
                <a:moveTo>
                  <a:pt x="0" y="308419"/>
                </a:moveTo>
                <a:lnTo>
                  <a:pt x="885113" y="308419"/>
                </a:lnTo>
                <a:lnTo>
                  <a:pt x="885113" y="0"/>
                </a:lnTo>
                <a:lnTo>
                  <a:pt x="0" y="0"/>
                </a:lnTo>
                <a:lnTo>
                  <a:pt x="0" y="308419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2" name="object 142"/>
          <p:cNvSpPr/>
          <p:nvPr/>
        </p:nvSpPr>
        <p:spPr>
          <a:xfrm>
            <a:off x="3934841" y="3648076"/>
            <a:ext cx="0" cy="448818"/>
          </a:xfrm>
          <a:custGeom>
            <a:avLst/>
            <a:gdLst/>
            <a:ahLst/>
            <a:cxnLst/>
            <a:rect l="l" t="t" r="r" b="b"/>
            <a:pathLst>
              <a:path h="448818">
                <a:moveTo>
                  <a:pt x="0" y="448818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7900417" y="3351276"/>
            <a:ext cx="979931" cy="403860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0" name="object 100"/>
          <p:cNvSpPr/>
          <p:nvPr/>
        </p:nvSpPr>
        <p:spPr>
          <a:xfrm>
            <a:off x="7994906" y="3349752"/>
            <a:ext cx="832103" cy="35204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1" name="object 101"/>
          <p:cNvSpPr/>
          <p:nvPr/>
        </p:nvSpPr>
        <p:spPr>
          <a:xfrm>
            <a:off x="7947787" y="3379026"/>
            <a:ext cx="885113" cy="308419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2" name="object 102"/>
          <p:cNvSpPr/>
          <p:nvPr/>
        </p:nvSpPr>
        <p:spPr>
          <a:xfrm>
            <a:off x="7947787" y="3379026"/>
            <a:ext cx="885113" cy="308419"/>
          </a:xfrm>
          <a:custGeom>
            <a:avLst/>
            <a:gdLst/>
            <a:ahLst/>
            <a:cxnLst/>
            <a:rect l="l" t="t" r="r" b="b"/>
            <a:pathLst>
              <a:path w="885113" h="308419">
                <a:moveTo>
                  <a:pt x="0" y="308419"/>
                </a:moveTo>
                <a:lnTo>
                  <a:pt x="885113" y="308419"/>
                </a:lnTo>
                <a:lnTo>
                  <a:pt x="885113" y="0"/>
                </a:lnTo>
                <a:lnTo>
                  <a:pt x="0" y="0"/>
                </a:lnTo>
                <a:lnTo>
                  <a:pt x="0" y="308419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3" name="object 103"/>
          <p:cNvSpPr/>
          <p:nvPr/>
        </p:nvSpPr>
        <p:spPr>
          <a:xfrm>
            <a:off x="7578600" y="4726814"/>
            <a:ext cx="2013203" cy="363093"/>
          </a:xfrm>
          <a:custGeom>
            <a:avLst/>
            <a:gdLst/>
            <a:ahLst/>
            <a:cxnLst/>
            <a:rect l="l" t="t" r="r" b="b"/>
            <a:pathLst>
              <a:path w="2013203" h="363092">
                <a:moveTo>
                  <a:pt x="0" y="181482"/>
                </a:moveTo>
                <a:lnTo>
                  <a:pt x="29250" y="137879"/>
                </a:lnTo>
                <a:lnTo>
                  <a:pt x="79093" y="110853"/>
                </a:lnTo>
                <a:lnTo>
                  <a:pt x="112340" y="98093"/>
                </a:lnTo>
                <a:lnTo>
                  <a:pt x="150794" y="85897"/>
                </a:lnTo>
                <a:lnTo>
                  <a:pt x="194194" y="74313"/>
                </a:lnTo>
                <a:lnTo>
                  <a:pt x="242281" y="63386"/>
                </a:lnTo>
                <a:lnTo>
                  <a:pt x="294798" y="53165"/>
                </a:lnTo>
                <a:lnTo>
                  <a:pt x="351485" y="43695"/>
                </a:lnTo>
                <a:lnTo>
                  <a:pt x="412083" y="35023"/>
                </a:lnTo>
                <a:lnTo>
                  <a:pt x="476333" y="27196"/>
                </a:lnTo>
                <a:lnTo>
                  <a:pt x="543977" y="20261"/>
                </a:lnTo>
                <a:lnTo>
                  <a:pt x="614755" y="14265"/>
                </a:lnTo>
                <a:lnTo>
                  <a:pt x="688409" y="9254"/>
                </a:lnTo>
                <a:lnTo>
                  <a:pt x="764679" y="5275"/>
                </a:lnTo>
                <a:lnTo>
                  <a:pt x="843307" y="2376"/>
                </a:lnTo>
                <a:lnTo>
                  <a:pt x="924034" y="601"/>
                </a:lnTo>
                <a:lnTo>
                  <a:pt x="1006601" y="0"/>
                </a:lnTo>
                <a:lnTo>
                  <a:pt x="1089169" y="601"/>
                </a:lnTo>
                <a:lnTo>
                  <a:pt x="1169896" y="2376"/>
                </a:lnTo>
                <a:lnTo>
                  <a:pt x="1248524" y="5275"/>
                </a:lnTo>
                <a:lnTo>
                  <a:pt x="1324794" y="9254"/>
                </a:lnTo>
                <a:lnTo>
                  <a:pt x="1398448" y="14265"/>
                </a:lnTo>
                <a:lnTo>
                  <a:pt x="1469226" y="20261"/>
                </a:lnTo>
                <a:lnTo>
                  <a:pt x="1536870" y="27196"/>
                </a:lnTo>
                <a:lnTo>
                  <a:pt x="1601120" y="35023"/>
                </a:lnTo>
                <a:lnTo>
                  <a:pt x="1661718" y="43695"/>
                </a:lnTo>
                <a:lnTo>
                  <a:pt x="1718405" y="53165"/>
                </a:lnTo>
                <a:lnTo>
                  <a:pt x="1770922" y="63386"/>
                </a:lnTo>
                <a:lnTo>
                  <a:pt x="1819009" y="74313"/>
                </a:lnTo>
                <a:lnTo>
                  <a:pt x="1862409" y="85897"/>
                </a:lnTo>
                <a:lnTo>
                  <a:pt x="1900863" y="98093"/>
                </a:lnTo>
                <a:lnTo>
                  <a:pt x="1934110" y="110853"/>
                </a:lnTo>
                <a:lnTo>
                  <a:pt x="1983953" y="137879"/>
                </a:lnTo>
                <a:lnTo>
                  <a:pt x="2009867" y="166602"/>
                </a:lnTo>
                <a:lnTo>
                  <a:pt x="2013203" y="181482"/>
                </a:lnTo>
                <a:lnTo>
                  <a:pt x="2009867" y="196381"/>
                </a:lnTo>
                <a:lnTo>
                  <a:pt x="2000031" y="210948"/>
                </a:lnTo>
                <a:lnTo>
                  <a:pt x="1961893" y="238897"/>
                </a:lnTo>
                <a:lnTo>
                  <a:pt x="1900863" y="264956"/>
                </a:lnTo>
                <a:lnTo>
                  <a:pt x="1862409" y="277160"/>
                </a:lnTo>
                <a:lnTo>
                  <a:pt x="1819009" y="288752"/>
                </a:lnTo>
                <a:lnTo>
                  <a:pt x="1770922" y="299684"/>
                </a:lnTo>
                <a:lnTo>
                  <a:pt x="1718405" y="309911"/>
                </a:lnTo>
                <a:lnTo>
                  <a:pt x="1661718" y="319386"/>
                </a:lnTo>
                <a:lnTo>
                  <a:pt x="1601120" y="328061"/>
                </a:lnTo>
                <a:lnTo>
                  <a:pt x="1536870" y="335890"/>
                </a:lnTo>
                <a:lnTo>
                  <a:pt x="1469226" y="342827"/>
                </a:lnTo>
                <a:lnTo>
                  <a:pt x="1398448" y="348825"/>
                </a:lnTo>
                <a:lnTo>
                  <a:pt x="1324794" y="353837"/>
                </a:lnTo>
                <a:lnTo>
                  <a:pt x="1248524" y="357816"/>
                </a:lnTo>
                <a:lnTo>
                  <a:pt x="1169896" y="360716"/>
                </a:lnTo>
                <a:lnTo>
                  <a:pt x="1089169" y="362491"/>
                </a:lnTo>
                <a:lnTo>
                  <a:pt x="1006601" y="363093"/>
                </a:lnTo>
                <a:lnTo>
                  <a:pt x="924034" y="362491"/>
                </a:lnTo>
                <a:lnTo>
                  <a:pt x="843307" y="360716"/>
                </a:lnTo>
                <a:lnTo>
                  <a:pt x="764679" y="357816"/>
                </a:lnTo>
                <a:lnTo>
                  <a:pt x="688409" y="353837"/>
                </a:lnTo>
                <a:lnTo>
                  <a:pt x="614755" y="348825"/>
                </a:lnTo>
                <a:lnTo>
                  <a:pt x="543977" y="342827"/>
                </a:lnTo>
                <a:lnTo>
                  <a:pt x="476333" y="335890"/>
                </a:lnTo>
                <a:lnTo>
                  <a:pt x="412083" y="328061"/>
                </a:lnTo>
                <a:lnTo>
                  <a:pt x="351485" y="319386"/>
                </a:lnTo>
                <a:lnTo>
                  <a:pt x="294798" y="309911"/>
                </a:lnTo>
                <a:lnTo>
                  <a:pt x="242281" y="299684"/>
                </a:lnTo>
                <a:lnTo>
                  <a:pt x="194194" y="288752"/>
                </a:lnTo>
                <a:lnTo>
                  <a:pt x="150794" y="277160"/>
                </a:lnTo>
                <a:lnTo>
                  <a:pt x="112340" y="264956"/>
                </a:lnTo>
                <a:lnTo>
                  <a:pt x="79093" y="252186"/>
                </a:lnTo>
                <a:lnTo>
                  <a:pt x="51310" y="238897"/>
                </a:lnTo>
                <a:lnTo>
                  <a:pt x="13172" y="210948"/>
                </a:lnTo>
                <a:lnTo>
                  <a:pt x="0" y="18148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4" name="object 104"/>
          <p:cNvSpPr/>
          <p:nvPr/>
        </p:nvSpPr>
        <p:spPr>
          <a:xfrm>
            <a:off x="7587743" y="4179063"/>
            <a:ext cx="2031618" cy="726313"/>
          </a:xfrm>
          <a:custGeom>
            <a:avLst/>
            <a:gdLst/>
            <a:ahLst/>
            <a:cxnLst/>
            <a:rect l="l" t="t" r="r" b="b"/>
            <a:pathLst>
              <a:path w="2031618" h="726313">
                <a:moveTo>
                  <a:pt x="0" y="0"/>
                </a:moveTo>
                <a:lnTo>
                  <a:pt x="0" y="726313"/>
                </a:lnTo>
                <a:lnTo>
                  <a:pt x="2031618" y="726313"/>
                </a:lnTo>
                <a:lnTo>
                  <a:pt x="2031618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5" name="object 105"/>
          <p:cNvSpPr/>
          <p:nvPr/>
        </p:nvSpPr>
        <p:spPr>
          <a:xfrm>
            <a:off x="7560183" y="4186302"/>
            <a:ext cx="0" cy="733425"/>
          </a:xfrm>
          <a:custGeom>
            <a:avLst/>
            <a:gdLst/>
            <a:ahLst/>
            <a:cxnLst/>
            <a:rect l="l" t="t" r="r" b="b"/>
            <a:pathLst>
              <a:path h="733425">
                <a:moveTo>
                  <a:pt x="0" y="0"/>
                </a:moveTo>
                <a:lnTo>
                  <a:pt x="0" y="7334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6" name="object 106"/>
          <p:cNvSpPr/>
          <p:nvPr/>
        </p:nvSpPr>
        <p:spPr>
          <a:xfrm>
            <a:off x="9603359" y="4179063"/>
            <a:ext cx="0" cy="733425"/>
          </a:xfrm>
          <a:custGeom>
            <a:avLst/>
            <a:gdLst/>
            <a:ahLst/>
            <a:cxnLst/>
            <a:rect l="l" t="t" r="r" b="b"/>
            <a:pathLst>
              <a:path h="733425">
                <a:moveTo>
                  <a:pt x="0" y="0"/>
                </a:moveTo>
                <a:lnTo>
                  <a:pt x="0" y="7334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7" name="object 107"/>
          <p:cNvSpPr/>
          <p:nvPr/>
        </p:nvSpPr>
        <p:spPr>
          <a:xfrm>
            <a:off x="7536181" y="3976116"/>
            <a:ext cx="2124455" cy="4572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8" name="object 108"/>
          <p:cNvSpPr/>
          <p:nvPr/>
        </p:nvSpPr>
        <p:spPr>
          <a:xfrm>
            <a:off x="7583170" y="4002914"/>
            <a:ext cx="2029332" cy="36309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9" name="object 109"/>
          <p:cNvSpPr/>
          <p:nvPr/>
        </p:nvSpPr>
        <p:spPr>
          <a:xfrm>
            <a:off x="7583170" y="4002914"/>
            <a:ext cx="2029332" cy="363093"/>
          </a:xfrm>
          <a:custGeom>
            <a:avLst/>
            <a:gdLst/>
            <a:ahLst/>
            <a:cxnLst/>
            <a:rect l="l" t="t" r="r" b="b"/>
            <a:pathLst>
              <a:path w="2029332" h="363092">
                <a:moveTo>
                  <a:pt x="0" y="181482"/>
                </a:moveTo>
                <a:lnTo>
                  <a:pt x="29488" y="137879"/>
                </a:lnTo>
                <a:lnTo>
                  <a:pt x="79736" y="110853"/>
                </a:lnTo>
                <a:lnTo>
                  <a:pt x="113253" y="98093"/>
                </a:lnTo>
                <a:lnTo>
                  <a:pt x="152016" y="85897"/>
                </a:lnTo>
                <a:lnTo>
                  <a:pt x="195766" y="74313"/>
                </a:lnTo>
                <a:lnTo>
                  <a:pt x="244241" y="63386"/>
                </a:lnTo>
                <a:lnTo>
                  <a:pt x="297179" y="53165"/>
                </a:lnTo>
                <a:lnTo>
                  <a:pt x="354320" y="43695"/>
                </a:lnTo>
                <a:lnTo>
                  <a:pt x="415402" y="35023"/>
                </a:lnTo>
                <a:lnTo>
                  <a:pt x="480164" y="27196"/>
                </a:lnTo>
                <a:lnTo>
                  <a:pt x="548345" y="20261"/>
                </a:lnTo>
                <a:lnTo>
                  <a:pt x="619684" y="14265"/>
                </a:lnTo>
                <a:lnTo>
                  <a:pt x="693919" y="9254"/>
                </a:lnTo>
                <a:lnTo>
                  <a:pt x="770790" y="5275"/>
                </a:lnTo>
                <a:lnTo>
                  <a:pt x="850035" y="2376"/>
                </a:lnTo>
                <a:lnTo>
                  <a:pt x="931393" y="601"/>
                </a:lnTo>
                <a:lnTo>
                  <a:pt x="1014602" y="0"/>
                </a:lnTo>
                <a:lnTo>
                  <a:pt x="1097830" y="601"/>
                </a:lnTo>
                <a:lnTo>
                  <a:pt x="1179205" y="2376"/>
                </a:lnTo>
                <a:lnTo>
                  <a:pt x="1258464" y="5275"/>
                </a:lnTo>
                <a:lnTo>
                  <a:pt x="1335348" y="9254"/>
                </a:lnTo>
                <a:lnTo>
                  <a:pt x="1409594" y="14265"/>
                </a:lnTo>
                <a:lnTo>
                  <a:pt x="1480943" y="20261"/>
                </a:lnTo>
                <a:lnTo>
                  <a:pt x="1549133" y="27196"/>
                </a:lnTo>
                <a:lnTo>
                  <a:pt x="1613902" y="35023"/>
                </a:lnTo>
                <a:lnTo>
                  <a:pt x="1674991" y="43695"/>
                </a:lnTo>
                <a:lnTo>
                  <a:pt x="1732137" y="53165"/>
                </a:lnTo>
                <a:lnTo>
                  <a:pt x="1785079" y="63386"/>
                </a:lnTo>
                <a:lnTo>
                  <a:pt x="1833557" y="74313"/>
                </a:lnTo>
                <a:lnTo>
                  <a:pt x="1877310" y="85897"/>
                </a:lnTo>
                <a:lnTo>
                  <a:pt x="1916076" y="98093"/>
                </a:lnTo>
                <a:lnTo>
                  <a:pt x="1949594" y="110853"/>
                </a:lnTo>
                <a:lnTo>
                  <a:pt x="1999844" y="137879"/>
                </a:lnTo>
                <a:lnTo>
                  <a:pt x="2025969" y="166602"/>
                </a:lnTo>
                <a:lnTo>
                  <a:pt x="2029332" y="181482"/>
                </a:lnTo>
                <a:lnTo>
                  <a:pt x="2025969" y="196381"/>
                </a:lnTo>
                <a:lnTo>
                  <a:pt x="2016052" y="210948"/>
                </a:lnTo>
                <a:lnTo>
                  <a:pt x="1977604" y="238897"/>
                </a:lnTo>
                <a:lnTo>
                  <a:pt x="1916076" y="264956"/>
                </a:lnTo>
                <a:lnTo>
                  <a:pt x="1877310" y="277160"/>
                </a:lnTo>
                <a:lnTo>
                  <a:pt x="1833557" y="288752"/>
                </a:lnTo>
                <a:lnTo>
                  <a:pt x="1785079" y="299684"/>
                </a:lnTo>
                <a:lnTo>
                  <a:pt x="1732137" y="309911"/>
                </a:lnTo>
                <a:lnTo>
                  <a:pt x="1674991" y="319386"/>
                </a:lnTo>
                <a:lnTo>
                  <a:pt x="1613902" y="328061"/>
                </a:lnTo>
                <a:lnTo>
                  <a:pt x="1549133" y="335890"/>
                </a:lnTo>
                <a:lnTo>
                  <a:pt x="1480943" y="342827"/>
                </a:lnTo>
                <a:lnTo>
                  <a:pt x="1409594" y="348825"/>
                </a:lnTo>
                <a:lnTo>
                  <a:pt x="1335348" y="353837"/>
                </a:lnTo>
                <a:lnTo>
                  <a:pt x="1258464" y="357816"/>
                </a:lnTo>
                <a:lnTo>
                  <a:pt x="1179205" y="360716"/>
                </a:lnTo>
                <a:lnTo>
                  <a:pt x="1097830" y="362491"/>
                </a:lnTo>
                <a:lnTo>
                  <a:pt x="1014602" y="363093"/>
                </a:lnTo>
                <a:lnTo>
                  <a:pt x="931393" y="362491"/>
                </a:lnTo>
                <a:lnTo>
                  <a:pt x="850035" y="360716"/>
                </a:lnTo>
                <a:lnTo>
                  <a:pt x="770790" y="357816"/>
                </a:lnTo>
                <a:lnTo>
                  <a:pt x="693919" y="353837"/>
                </a:lnTo>
                <a:lnTo>
                  <a:pt x="619684" y="348825"/>
                </a:lnTo>
                <a:lnTo>
                  <a:pt x="548345" y="342827"/>
                </a:lnTo>
                <a:lnTo>
                  <a:pt x="480164" y="335890"/>
                </a:lnTo>
                <a:lnTo>
                  <a:pt x="415402" y="328061"/>
                </a:lnTo>
                <a:lnTo>
                  <a:pt x="354320" y="319386"/>
                </a:lnTo>
                <a:lnTo>
                  <a:pt x="297179" y="309911"/>
                </a:lnTo>
                <a:lnTo>
                  <a:pt x="244241" y="299684"/>
                </a:lnTo>
                <a:lnTo>
                  <a:pt x="195766" y="288752"/>
                </a:lnTo>
                <a:lnTo>
                  <a:pt x="152016" y="277160"/>
                </a:lnTo>
                <a:lnTo>
                  <a:pt x="113253" y="264956"/>
                </a:lnTo>
                <a:lnTo>
                  <a:pt x="79736" y="252186"/>
                </a:lnTo>
                <a:lnTo>
                  <a:pt x="51727" y="238897"/>
                </a:lnTo>
                <a:lnTo>
                  <a:pt x="13280" y="210948"/>
                </a:lnTo>
                <a:lnTo>
                  <a:pt x="0" y="181482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7702423" y="4788750"/>
            <a:ext cx="1834388" cy="150025"/>
          </a:xfrm>
          <a:custGeom>
            <a:avLst/>
            <a:gdLst/>
            <a:ahLst/>
            <a:cxnLst/>
            <a:rect l="l" t="t" r="r" b="b"/>
            <a:pathLst>
              <a:path w="1834388" h="150025">
                <a:moveTo>
                  <a:pt x="0" y="150025"/>
                </a:moveTo>
                <a:lnTo>
                  <a:pt x="1834388" y="150025"/>
                </a:lnTo>
                <a:lnTo>
                  <a:pt x="1834388" y="0"/>
                </a:lnTo>
                <a:lnTo>
                  <a:pt x="0" y="0"/>
                </a:lnTo>
                <a:lnTo>
                  <a:pt x="0" y="15002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1" name="object 111"/>
          <p:cNvSpPr/>
          <p:nvPr/>
        </p:nvSpPr>
        <p:spPr>
          <a:xfrm>
            <a:off x="8238998" y="4789933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2" name="object 112"/>
          <p:cNvSpPr/>
          <p:nvPr/>
        </p:nvSpPr>
        <p:spPr>
          <a:xfrm>
            <a:off x="8559927" y="4789933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3" name="object 113"/>
          <p:cNvSpPr/>
          <p:nvPr/>
        </p:nvSpPr>
        <p:spPr>
          <a:xfrm>
            <a:off x="9091930" y="4789933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4" name="object 114"/>
          <p:cNvSpPr/>
          <p:nvPr/>
        </p:nvSpPr>
        <p:spPr>
          <a:xfrm>
            <a:off x="7702424" y="4566044"/>
            <a:ext cx="1836674" cy="148831"/>
          </a:xfrm>
          <a:custGeom>
            <a:avLst/>
            <a:gdLst/>
            <a:ahLst/>
            <a:cxnLst/>
            <a:rect l="l" t="t" r="r" b="b"/>
            <a:pathLst>
              <a:path w="1836674" h="148831">
                <a:moveTo>
                  <a:pt x="0" y="148831"/>
                </a:moveTo>
                <a:lnTo>
                  <a:pt x="1836674" y="148831"/>
                </a:lnTo>
                <a:lnTo>
                  <a:pt x="1836674" y="0"/>
                </a:lnTo>
                <a:lnTo>
                  <a:pt x="0" y="0"/>
                </a:lnTo>
                <a:lnTo>
                  <a:pt x="0" y="1488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5" name="object 115"/>
          <p:cNvSpPr/>
          <p:nvPr/>
        </p:nvSpPr>
        <p:spPr>
          <a:xfrm>
            <a:off x="8238998" y="4566032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6" name="object 116"/>
          <p:cNvSpPr/>
          <p:nvPr/>
        </p:nvSpPr>
        <p:spPr>
          <a:xfrm>
            <a:off x="8559927" y="4566032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7" name="object 117"/>
          <p:cNvSpPr/>
          <p:nvPr/>
        </p:nvSpPr>
        <p:spPr>
          <a:xfrm>
            <a:off x="9094217" y="4566032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8" name="object 118"/>
          <p:cNvSpPr/>
          <p:nvPr/>
        </p:nvSpPr>
        <p:spPr>
          <a:xfrm>
            <a:off x="8514080" y="3648076"/>
            <a:ext cx="0" cy="448818"/>
          </a:xfrm>
          <a:custGeom>
            <a:avLst/>
            <a:gdLst/>
            <a:ahLst/>
            <a:cxnLst/>
            <a:rect l="l" t="t" r="r" b="b"/>
            <a:pathLst>
              <a:path h="448818">
                <a:moveTo>
                  <a:pt x="0" y="448818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3" name="object 93"/>
          <p:cNvSpPr txBox="1"/>
          <p:nvPr/>
        </p:nvSpPr>
        <p:spPr>
          <a:xfrm>
            <a:off x="1072388" y="1200666"/>
            <a:ext cx="497747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-4" dirty="0" smtClean="0">
                <a:latin typeface="+mj-lt"/>
                <a:cs typeface="Cambria"/>
              </a:rPr>
              <a:t>O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der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2" name="object 92"/>
          <p:cNvSpPr txBox="1"/>
          <p:nvPr/>
        </p:nvSpPr>
        <p:spPr>
          <a:xfrm>
            <a:off x="3131948" y="4443738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325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1" name="object 91"/>
          <p:cNvSpPr txBox="1"/>
          <p:nvPr/>
        </p:nvSpPr>
        <p:spPr>
          <a:xfrm>
            <a:off x="3670808" y="4449580"/>
            <a:ext cx="1012978" cy="2061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70"/>
              </a:lnSpc>
              <a:spcBef>
                <a:spcPts val="78"/>
              </a:spcBef>
            </a:pPr>
            <a:r>
              <a:rPr sz="1400" spc="0" dirty="0" smtClean="0">
                <a:latin typeface="+mj-lt"/>
                <a:cs typeface="Cambria"/>
              </a:rPr>
              <a:t>2    </a:t>
            </a:r>
            <a:r>
              <a:rPr sz="1400" spc="13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4/13   </a:t>
            </a:r>
            <a:r>
              <a:rPr sz="1400" spc="5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0" name="object 90"/>
          <p:cNvSpPr txBox="1"/>
          <p:nvPr/>
        </p:nvSpPr>
        <p:spPr>
          <a:xfrm>
            <a:off x="5434332" y="4467488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188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9" name="object 89"/>
          <p:cNvSpPr txBox="1"/>
          <p:nvPr/>
        </p:nvSpPr>
        <p:spPr>
          <a:xfrm>
            <a:off x="5973573" y="4473329"/>
            <a:ext cx="1012405" cy="2048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60"/>
              </a:lnSpc>
              <a:spcBef>
                <a:spcPts val="78"/>
              </a:spcBef>
            </a:pPr>
            <a:r>
              <a:rPr sz="1400" spc="0" dirty="0" smtClean="0">
                <a:latin typeface="+mj-lt"/>
                <a:cs typeface="Cambria"/>
              </a:rPr>
              <a:t>1    </a:t>
            </a:r>
            <a:r>
              <a:rPr sz="1400" spc="13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4/13   </a:t>
            </a:r>
            <a:r>
              <a:rPr sz="1400" spc="5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8" name="object 88"/>
          <p:cNvSpPr txBox="1"/>
          <p:nvPr/>
        </p:nvSpPr>
        <p:spPr>
          <a:xfrm>
            <a:off x="7748399" y="4608077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324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7" name="object 87"/>
          <p:cNvSpPr txBox="1"/>
          <p:nvPr/>
        </p:nvSpPr>
        <p:spPr>
          <a:xfrm>
            <a:off x="8287638" y="4613926"/>
            <a:ext cx="745596" cy="2059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65"/>
              </a:lnSpc>
              <a:spcBef>
                <a:spcPts val="78"/>
              </a:spcBef>
            </a:pPr>
            <a:r>
              <a:rPr sz="1400" spc="0" dirty="0" smtClean="0">
                <a:latin typeface="+mj-lt"/>
                <a:cs typeface="Cambria"/>
              </a:rPr>
              <a:t>3    </a:t>
            </a:r>
            <a:r>
              <a:rPr sz="1400" spc="11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4</a:t>
            </a:r>
            <a:r>
              <a:rPr sz="1400" spc="-4" dirty="0" smtClean="0">
                <a:latin typeface="+mj-lt"/>
                <a:cs typeface="Cambria"/>
              </a:rPr>
              <a:t>/</a:t>
            </a:r>
            <a:r>
              <a:rPr sz="1400" spc="0" dirty="0" smtClean="0">
                <a:latin typeface="+mj-lt"/>
                <a:cs typeface="Cambria"/>
              </a:rPr>
              <a:t>13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6" name="object 86"/>
          <p:cNvSpPr txBox="1"/>
          <p:nvPr/>
        </p:nvSpPr>
        <p:spPr>
          <a:xfrm>
            <a:off x="9145271" y="4616205"/>
            <a:ext cx="152444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5432299" y="4725932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225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5973574" y="4730505"/>
            <a:ext cx="1010582" cy="2062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70"/>
              </a:lnSpc>
              <a:spcBef>
                <a:spcPts val="78"/>
              </a:spcBef>
            </a:pPr>
            <a:r>
              <a:rPr sz="1400" spc="0" dirty="0" smtClean="0">
                <a:latin typeface="+mj-lt"/>
                <a:cs typeface="Cambria"/>
              </a:rPr>
              <a:t>2    </a:t>
            </a:r>
            <a:r>
              <a:rPr sz="1400" spc="11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4/15   </a:t>
            </a:r>
            <a:r>
              <a:rPr sz="1400" spc="6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902616" y="4789051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415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2" name="object 82"/>
          <p:cNvSpPr txBox="1"/>
          <p:nvPr/>
        </p:nvSpPr>
        <p:spPr>
          <a:xfrm>
            <a:off x="1441832" y="4793623"/>
            <a:ext cx="1012596" cy="2061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70"/>
              </a:lnSpc>
              <a:spcBef>
                <a:spcPts val="78"/>
              </a:spcBef>
            </a:pPr>
            <a:r>
              <a:rPr sz="1400" spc="0" dirty="0" smtClean="0">
                <a:latin typeface="+mj-lt"/>
                <a:cs typeface="Cambria"/>
              </a:rPr>
              <a:t>1    </a:t>
            </a:r>
            <a:r>
              <a:rPr sz="1400" spc="13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4/13   </a:t>
            </a:r>
            <a:r>
              <a:rPr sz="1400" spc="5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1" name="object 81"/>
          <p:cNvSpPr txBox="1"/>
          <p:nvPr/>
        </p:nvSpPr>
        <p:spPr>
          <a:xfrm>
            <a:off x="7746239" y="4831857"/>
            <a:ext cx="448225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384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0" name="object 80"/>
          <p:cNvSpPr txBox="1"/>
          <p:nvPr/>
        </p:nvSpPr>
        <p:spPr>
          <a:xfrm>
            <a:off x="8285226" y="4839089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1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8597012" y="4836676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4/12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9145271" y="4839089"/>
            <a:ext cx="152444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3129536" y="4843668"/>
            <a:ext cx="448225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402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3670808" y="4848487"/>
            <a:ext cx="1010564" cy="2061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70"/>
              </a:lnSpc>
              <a:spcBef>
                <a:spcPts val="78"/>
              </a:spcBef>
            </a:pPr>
            <a:r>
              <a:rPr sz="1400" spc="0" dirty="0" smtClean="0">
                <a:latin typeface="+mj-lt"/>
                <a:cs typeface="Cambria"/>
              </a:rPr>
              <a:t>3    </a:t>
            </a:r>
            <a:r>
              <a:rPr sz="1400" spc="11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4/16   </a:t>
            </a:r>
            <a:r>
              <a:rPr sz="1400" spc="6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652069" y="5231012"/>
            <a:ext cx="5291748" cy="105753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31266">
              <a:lnSpc>
                <a:spcPts val="1550"/>
              </a:lnSpc>
              <a:spcBef>
                <a:spcPts val="77"/>
              </a:spcBef>
            </a:pPr>
            <a:r>
              <a:rPr sz="1400" spc="-4" dirty="0" smtClean="0">
                <a:latin typeface="+mj-lt"/>
                <a:cs typeface="Cambria"/>
              </a:rPr>
              <a:t>T</a:t>
            </a:r>
            <a:r>
              <a:rPr sz="1400" spc="4" dirty="0" smtClean="0">
                <a:latin typeface="+mj-lt"/>
                <a:cs typeface="Cambria"/>
              </a:rPr>
              <a:t>h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-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K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ol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m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(s)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wi</a:t>
            </a:r>
            <a:r>
              <a:rPr sz="1400" spc="0" dirty="0" smtClean="0">
                <a:latin typeface="+mj-lt"/>
                <a:cs typeface="Cambria"/>
              </a:rPr>
              <a:t>ll</a:t>
            </a:r>
            <a:r>
              <a:rPr sz="1400" spc="-2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f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n</a:t>
            </a:r>
            <a:r>
              <a:rPr sz="1400" spc="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be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d as a</a:t>
            </a:r>
            <a:r>
              <a:rPr sz="1400" spc="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UPI.</a:t>
            </a:r>
            <a:endParaRPr sz="1400" dirty="0">
              <a:latin typeface="+mj-lt"/>
              <a:cs typeface="Cambria"/>
            </a:endParaRPr>
          </a:p>
          <a:p>
            <a:pPr marL="12700" marR="31266">
              <a:lnSpc>
                <a:spcPct val="97696"/>
              </a:lnSpc>
            </a:pPr>
            <a:r>
              <a:rPr sz="1400" spc="-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I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-25" dirty="0" smtClean="0">
                <a:latin typeface="+mj-lt"/>
                <a:cs typeface="Cambria"/>
              </a:rPr>
              <a:t>v</a:t>
            </a:r>
            <a:r>
              <a:rPr sz="1400" spc="0" dirty="0" smtClean="0">
                <a:latin typeface="+mj-lt"/>
                <a:cs typeface="Cambria"/>
              </a:rPr>
              <a:t>al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es</a:t>
            </a:r>
            <a:r>
              <a:rPr sz="1400" spc="-25" dirty="0" smtClean="0">
                <a:latin typeface="+mj-lt"/>
                <a:cs typeface="Cambria"/>
              </a:rPr>
              <a:t> </a:t>
            </a:r>
            <a:r>
              <a:rPr sz="1400" spc="-14" dirty="0" smtClean="0">
                <a:latin typeface="+mj-lt"/>
                <a:cs typeface="Cambria"/>
              </a:rPr>
              <a:t>f</a:t>
            </a:r>
            <a:r>
              <a:rPr sz="1400" spc="0" dirty="0" smtClean="0">
                <a:latin typeface="+mj-lt"/>
                <a:cs typeface="Cambria"/>
              </a:rPr>
              <a:t>or </a:t>
            </a:r>
            <a:r>
              <a:rPr sz="1400" spc="-4" dirty="0" smtClean="0">
                <a:latin typeface="+mj-lt"/>
                <a:cs typeface="Cambria"/>
              </a:rPr>
              <a:t>O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de</a:t>
            </a:r>
            <a:r>
              <a:rPr sz="1400" spc="-4" dirty="0" smtClean="0">
                <a:latin typeface="+mj-lt"/>
                <a:cs typeface="Cambria"/>
              </a:rPr>
              <a:t>r_</a:t>
            </a: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mb</a:t>
            </a:r>
            <a:r>
              <a:rPr sz="1400" spc="-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r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k</a:t>
            </a:r>
            <a:r>
              <a:rPr sz="1400" spc="-9" dirty="0" smtClean="0">
                <a:latin typeface="+mj-lt"/>
                <a:cs typeface="Cambria"/>
              </a:rPr>
              <a:t>n</a:t>
            </a:r>
            <a:r>
              <a:rPr sz="1400" spc="-14" dirty="0" smtClean="0">
                <a:latin typeface="+mj-lt"/>
                <a:cs typeface="Cambria"/>
              </a:rPr>
              <a:t>o</a:t>
            </a:r>
            <a:r>
              <a:rPr sz="1400" spc="4" dirty="0" smtClean="0">
                <a:latin typeface="+mj-lt"/>
                <a:cs typeface="Cambria"/>
              </a:rPr>
              <a:t>w</a:t>
            </a: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9" dirty="0" smtClean="0">
                <a:latin typeface="+mj-lt"/>
                <a:cs typeface="Cambria"/>
              </a:rPr>
              <a:t> 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be 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niq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e</a:t>
            </a:r>
            <a:endParaRPr sz="1400" dirty="0">
              <a:latin typeface="+mj-lt"/>
              <a:cs typeface="Cambria"/>
            </a:endParaRPr>
          </a:p>
          <a:p>
            <a:pPr marL="12700" marR="31266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(</a:t>
            </a:r>
            <a:r>
              <a:rPr sz="1400" spc="9" dirty="0" smtClean="0">
                <a:latin typeface="+mj-lt"/>
                <a:cs typeface="Cambria"/>
              </a:rPr>
              <a:t>i</a:t>
            </a:r>
            <a:r>
              <a:rPr sz="1400" spc="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’s</a:t>
            </a:r>
            <a:r>
              <a:rPr sz="1400" spc="-1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 PK</a:t>
            </a:r>
            <a:r>
              <a:rPr sz="1400" spc="4" dirty="0" smtClean="0">
                <a:latin typeface="+mj-lt"/>
                <a:cs typeface="Cambria"/>
              </a:rPr>
              <a:t>)</a:t>
            </a:r>
            <a:r>
              <a:rPr sz="1400" spc="0" dirty="0" smtClean="0">
                <a:latin typeface="+mj-lt"/>
                <a:cs typeface="Cambria"/>
              </a:rPr>
              <a:t>.</a:t>
            </a:r>
            <a:endParaRPr sz="1400" dirty="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  <a:spcBef>
                <a:spcPts val="35"/>
              </a:spcBef>
            </a:pPr>
            <a:r>
              <a:rPr sz="1400" spc="-10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adata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wi</a:t>
            </a:r>
            <a:r>
              <a:rPr sz="1400" spc="0" dirty="0" smtClean="0">
                <a:latin typeface="+mj-lt"/>
                <a:cs typeface="Cambria"/>
              </a:rPr>
              <a:t>ll</a:t>
            </a:r>
            <a:r>
              <a:rPr sz="1400" spc="-25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d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strib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3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d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-4" dirty="0" smtClean="0">
                <a:latin typeface="+mj-lt"/>
                <a:cs typeface="Cambria"/>
              </a:rPr>
              <a:t>f</a:t>
            </a:r>
            <a:r>
              <a:rPr sz="1400" spc="-14" dirty="0" smtClean="0">
                <a:latin typeface="+mj-lt"/>
                <a:cs typeface="Cambria"/>
              </a:rPr>
              <a:t>f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t</a:t>
            </a:r>
            <a:r>
              <a:rPr sz="1400" spc="4" dirty="0" smtClean="0">
                <a:latin typeface="+mj-lt"/>
                <a:cs typeface="Cambria"/>
              </a:rPr>
              <a:t> i</a:t>
            </a:r>
            <a:r>
              <a:rPr sz="1400" spc="0" dirty="0" smtClean="0">
                <a:latin typeface="+mj-lt"/>
                <a:cs typeface="Cambria"/>
              </a:rPr>
              <a:t>nd</a:t>
            </a:r>
            <a:r>
              <a:rPr sz="1400" spc="-1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x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-25" dirty="0" smtClean="0">
                <a:latin typeface="+mj-lt"/>
                <a:cs typeface="Cambria"/>
              </a:rPr>
              <a:t>v</a:t>
            </a:r>
            <a:r>
              <a:rPr sz="1400" spc="0" dirty="0" smtClean="0">
                <a:latin typeface="+mj-lt"/>
                <a:cs typeface="Cambria"/>
              </a:rPr>
              <a:t>al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es</a:t>
            </a:r>
            <a:r>
              <a:rPr sz="1400" spc="-25" dirty="0" smtClean="0">
                <a:latin typeface="+mj-lt"/>
                <a:cs typeface="Cambria"/>
              </a:rPr>
              <a:t> </a:t>
            </a:r>
            <a:r>
              <a:rPr sz="1400" spc="-9" dirty="0" smtClean="0">
                <a:latin typeface="+mj-lt"/>
                <a:cs typeface="Cambria"/>
              </a:rPr>
              <a:t>e</a:t>
            </a:r>
            <a:r>
              <a:rPr sz="1400" spc="-25" dirty="0" smtClean="0">
                <a:latin typeface="+mj-lt"/>
                <a:cs typeface="Cambria"/>
              </a:rPr>
              <a:t>v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-19" dirty="0" smtClean="0">
                <a:latin typeface="+mj-lt"/>
                <a:cs typeface="Cambria"/>
              </a:rPr>
              <a:t>l</a:t>
            </a:r>
            <a:r>
              <a:rPr sz="1400" spc="0" dirty="0" smtClean="0">
                <a:latin typeface="+mj-lt"/>
                <a:cs typeface="Cambria"/>
              </a:rPr>
              <a:t>y</a:t>
            </a:r>
            <a:r>
              <a:rPr sz="1400" spc="-1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c</a:t>
            </a:r>
            <a:r>
              <a:rPr sz="1400" spc="-25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s</a:t>
            </a:r>
            <a:r>
              <a:rPr sz="1400" spc="0" dirty="0" smtClean="0">
                <a:latin typeface="+mj-lt"/>
                <a:cs typeface="Cambria"/>
              </a:rPr>
              <a:t>s all</a:t>
            </a:r>
            <a:r>
              <a:rPr sz="1400" spc="-1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M</a:t>
            </a:r>
            <a:r>
              <a:rPr sz="1400" spc="-19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s.</a:t>
            </a:r>
            <a:endParaRPr sz="1400" dirty="0">
              <a:latin typeface="+mj-lt"/>
              <a:cs typeface="Cambria"/>
            </a:endParaRPr>
          </a:p>
          <a:p>
            <a:pPr marL="12700" marR="31266">
              <a:lnSpc>
                <a:spcPct val="97696"/>
              </a:lnSpc>
              <a:spcBef>
                <a:spcPts val="40"/>
              </a:spcBef>
            </a:pPr>
            <a:r>
              <a:rPr sz="1400" spc="-1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s</a:t>
            </a:r>
            <a:r>
              <a:rPr sz="1400" spc="0" dirty="0" smtClean="0">
                <a:latin typeface="+mj-lt"/>
                <a:cs typeface="Cambria"/>
              </a:rPr>
              <a:t>u</a:t>
            </a:r>
            <a:r>
              <a:rPr sz="1400" spc="4" dirty="0" smtClean="0">
                <a:latin typeface="+mj-lt"/>
                <a:cs typeface="Cambria"/>
              </a:rPr>
              <a:t>l</a:t>
            </a:r>
            <a:r>
              <a:rPr sz="1400" spc="0" dirty="0" smtClean="0">
                <a:latin typeface="+mj-lt"/>
                <a:cs typeface="Cambria"/>
              </a:rPr>
              <a:t>t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g</a:t>
            </a:r>
            <a:r>
              <a:rPr sz="1400" spc="-29" dirty="0" smtClean="0">
                <a:latin typeface="+mj-lt"/>
                <a:cs typeface="Cambria"/>
              </a:rPr>
              <a:t> r</a:t>
            </a:r>
            <a:r>
              <a:rPr sz="1400" spc="-1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w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d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-4" dirty="0" smtClean="0">
                <a:latin typeface="+mj-lt"/>
                <a:cs typeface="Cambria"/>
              </a:rPr>
              <a:t>s</a:t>
            </a:r>
            <a:r>
              <a:rPr sz="1400" spc="0" dirty="0" smtClean="0">
                <a:latin typeface="+mj-lt"/>
                <a:cs typeface="Cambria"/>
              </a:rPr>
              <a:t>t</a:t>
            </a:r>
            <a:r>
              <a:rPr sz="1400" spc="-4" dirty="0" smtClean="0">
                <a:latin typeface="+mj-lt"/>
                <a:cs typeface="Cambria"/>
              </a:rPr>
              <a:t>r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bu</a:t>
            </a:r>
            <a:r>
              <a:rPr sz="1400" spc="4" dirty="0" smtClean="0">
                <a:latin typeface="+mj-lt"/>
                <a:cs typeface="Cambria"/>
              </a:rPr>
              <a:t>ti</a:t>
            </a:r>
            <a:r>
              <a:rPr sz="1400" spc="0" dirty="0" smtClean="0">
                <a:latin typeface="+mj-lt"/>
                <a:cs typeface="Cambria"/>
              </a:rPr>
              <a:t>on</a:t>
            </a:r>
            <a:r>
              <a:rPr sz="1400" spc="-4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9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g AM</a:t>
            </a:r>
            <a:r>
              <a:rPr sz="1400" spc="-19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s 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s 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-19" dirty="0" smtClean="0">
                <a:latin typeface="+mj-lt"/>
                <a:cs typeface="Cambria"/>
              </a:rPr>
              <a:t>f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9" dirty="0" smtClean="0">
                <a:latin typeface="+mj-lt"/>
                <a:cs typeface="Cambria"/>
              </a:rPr>
              <a:t>r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.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472235" y="5871215"/>
            <a:ext cx="133996" cy="4174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85">
              <a:lnSpc>
                <a:spcPts val="1530"/>
              </a:lnSpc>
              <a:spcBef>
                <a:spcPts val="76"/>
              </a:spcBef>
            </a:pPr>
            <a:r>
              <a:rPr sz="1400" spc="0" dirty="0" smtClean="0">
                <a:solidFill>
                  <a:srgbClr val="AC2B37"/>
                </a:solidFill>
                <a:latin typeface="+mj-lt"/>
                <a:cs typeface="Wingdings"/>
              </a:rPr>
              <a:t></a:t>
            </a:r>
            <a:endParaRPr sz="1400">
              <a:latin typeface="+mj-lt"/>
              <a:cs typeface="Wingdings"/>
            </a:endParaRPr>
          </a:p>
          <a:p>
            <a:pPr marL="12700">
              <a:lnSpc>
                <a:spcPct val="92488"/>
              </a:lnSpc>
              <a:spcBef>
                <a:spcPts val="48"/>
              </a:spcBef>
            </a:pPr>
            <a:r>
              <a:rPr sz="1400" spc="0" dirty="0" smtClean="0">
                <a:solidFill>
                  <a:srgbClr val="AC2B37"/>
                </a:solidFill>
                <a:latin typeface="+mj-lt"/>
                <a:cs typeface="Wingdings"/>
              </a:rPr>
              <a:t></a:t>
            </a:r>
            <a:endParaRPr sz="1400">
              <a:latin typeface="+mj-lt"/>
              <a:cs typeface="Wingdings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7702423" y="4788750"/>
            <a:ext cx="536576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8238999" y="4788750"/>
            <a:ext cx="320928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8559927" y="4788750"/>
            <a:ext cx="532002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9091931" y="4788750"/>
            <a:ext cx="444880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5388738" y="4682705"/>
            <a:ext cx="536576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5925313" y="4682705"/>
            <a:ext cx="320928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6246242" y="4682705"/>
            <a:ext cx="534288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6780529" y="4682705"/>
            <a:ext cx="445008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692506" y="4179062"/>
            <a:ext cx="2017927" cy="5143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>
              <a:latin typeface="+mj-lt"/>
            </a:endParaRPr>
          </a:p>
          <a:p>
            <a:pPr marL="172516">
              <a:lnSpc>
                <a:spcPts val="1691"/>
              </a:lnSpc>
              <a:spcBef>
                <a:spcPts val="1183"/>
              </a:spcBef>
            </a:pPr>
            <a:r>
              <a:rPr sz="2100" spc="0" baseline="2030" dirty="0" smtClean="0">
                <a:latin typeface="+mj-lt"/>
                <a:cs typeface="Cambria"/>
              </a:rPr>
              <a:t>7202  </a:t>
            </a:r>
            <a:r>
              <a:rPr sz="2100" spc="202" baseline="2030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2    </a:t>
            </a:r>
            <a:r>
              <a:rPr sz="1400" spc="13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4/09   </a:t>
            </a:r>
            <a:r>
              <a:rPr sz="1400" spc="6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692506" y="4693386"/>
            <a:ext cx="2017927" cy="524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692506" y="4745800"/>
            <a:ext cx="139876" cy="1670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832384" y="4745800"/>
            <a:ext cx="564108" cy="1670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1396492" y="4745800"/>
            <a:ext cx="321057" cy="1670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1717547" y="4745800"/>
            <a:ext cx="532002" cy="1670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2249550" y="4745800"/>
            <a:ext cx="417220" cy="1670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2666772" y="4745800"/>
            <a:ext cx="43662" cy="1670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3086481" y="4618367"/>
            <a:ext cx="536574" cy="1655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5752">
              <a:lnSpc>
                <a:spcPts val="1065"/>
              </a:lnSpc>
              <a:spcBef>
                <a:spcPts val="288"/>
              </a:spcBef>
            </a:pPr>
            <a:r>
              <a:rPr sz="2100" spc="0" baseline="-20308" dirty="0" smtClean="0">
                <a:latin typeface="+mj-lt"/>
                <a:cs typeface="Cambria"/>
              </a:rPr>
              <a:t>7103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3623055" y="4618367"/>
            <a:ext cx="321057" cy="1655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0452">
              <a:lnSpc>
                <a:spcPts val="1000"/>
              </a:lnSpc>
              <a:spcBef>
                <a:spcPts val="350"/>
              </a:spcBef>
            </a:pPr>
            <a:r>
              <a:rPr sz="2100" spc="0" baseline="-22339" dirty="0" smtClean="0">
                <a:latin typeface="+mj-lt"/>
                <a:cs typeface="Cambria"/>
              </a:rPr>
              <a:t>1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3944112" y="4618367"/>
            <a:ext cx="531875" cy="1655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9022">
              <a:lnSpc>
                <a:spcPts val="1019"/>
              </a:lnSpc>
              <a:spcBef>
                <a:spcPts val="335"/>
              </a:spcBef>
            </a:pPr>
            <a:r>
              <a:rPr sz="2100" spc="0" baseline="-20308" dirty="0" smtClean="0">
                <a:latin typeface="+mj-lt"/>
                <a:cs typeface="Cambria"/>
              </a:rPr>
              <a:t>4/10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4475989" y="4618367"/>
            <a:ext cx="447293" cy="1655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5277">
              <a:lnSpc>
                <a:spcPts val="1000"/>
              </a:lnSpc>
              <a:spcBef>
                <a:spcPts val="350"/>
              </a:spcBef>
            </a:pPr>
            <a:r>
              <a:rPr sz="2100" spc="0" baseline="-22339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3086481" y="4783905"/>
            <a:ext cx="536574" cy="1655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3623055" y="4783905"/>
            <a:ext cx="321057" cy="1655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3944112" y="4783905"/>
            <a:ext cx="531875" cy="1655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4475989" y="4783905"/>
            <a:ext cx="447293" cy="1655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7702423" y="4566044"/>
            <a:ext cx="536576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8238999" y="4566044"/>
            <a:ext cx="320928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8559928" y="4566044"/>
            <a:ext cx="534289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9094217" y="4566044"/>
            <a:ext cx="444880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5391024" y="4424388"/>
            <a:ext cx="536576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5927599" y="4424388"/>
            <a:ext cx="320928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6248528" y="4424388"/>
            <a:ext cx="532002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6780531" y="4424388"/>
            <a:ext cx="447167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3088766" y="4401706"/>
            <a:ext cx="536574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3625341" y="4401706"/>
            <a:ext cx="321057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3946398" y="4401706"/>
            <a:ext cx="532002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4478401" y="4401706"/>
            <a:ext cx="444753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809449" y="4424388"/>
            <a:ext cx="536624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1346074" y="4424388"/>
            <a:ext cx="320928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1667003" y="4424388"/>
            <a:ext cx="532003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2199004" y="4424388"/>
            <a:ext cx="444830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7947787" y="3379026"/>
            <a:ext cx="885113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97104">
              <a:lnSpc>
                <a:spcPct val="97696"/>
              </a:lnSpc>
              <a:spcBef>
                <a:spcPts val="395"/>
              </a:spcBef>
            </a:pPr>
            <a:r>
              <a:rPr sz="1400" spc="0" dirty="0" smtClean="0">
                <a:latin typeface="+mj-lt"/>
                <a:cs typeface="Cambria"/>
              </a:rPr>
              <a:t>AMP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4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7947787" y="3687445"/>
            <a:ext cx="566293" cy="4094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8514079" y="3687445"/>
            <a:ext cx="318821" cy="4094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5659248" y="3380169"/>
            <a:ext cx="885113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96850">
              <a:lnSpc>
                <a:spcPct val="97696"/>
              </a:lnSpc>
              <a:spcBef>
                <a:spcPts val="395"/>
              </a:spcBef>
            </a:pPr>
            <a:r>
              <a:rPr sz="1400" spc="0" dirty="0" smtClean="0">
                <a:latin typeface="+mj-lt"/>
                <a:cs typeface="Cambria"/>
              </a:rPr>
              <a:t>AMP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3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5659247" y="3688589"/>
            <a:ext cx="564133" cy="40830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6223382" y="3688589"/>
            <a:ext cx="320979" cy="40830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3370834" y="3381312"/>
            <a:ext cx="885113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96595">
              <a:lnSpc>
                <a:spcPct val="97696"/>
              </a:lnSpc>
              <a:spcBef>
                <a:spcPts val="395"/>
              </a:spcBef>
            </a:pPr>
            <a:r>
              <a:rPr sz="1400" spc="0" dirty="0" smtClean="0">
                <a:latin typeface="+mj-lt"/>
                <a:cs typeface="Cambria"/>
              </a:rPr>
              <a:t>AMP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2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370834" y="3689730"/>
            <a:ext cx="564007" cy="4071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3934842" y="3689730"/>
            <a:ext cx="321105" cy="4071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082319" y="3383725"/>
            <a:ext cx="1063980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84454">
              <a:lnSpc>
                <a:spcPct val="97696"/>
              </a:lnSpc>
              <a:spcBef>
                <a:spcPts val="395"/>
              </a:spcBef>
            </a:pP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9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P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1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082320" y="3692144"/>
            <a:ext cx="564108" cy="4047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646428" y="3692144"/>
            <a:ext cx="499872" cy="4047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377922" y="1141868"/>
            <a:ext cx="931125" cy="2936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35981" marR="244540" algn="ctr">
              <a:lnSpc>
                <a:spcPct val="95825"/>
              </a:lnSpc>
              <a:spcBef>
                <a:spcPts val="210"/>
              </a:spcBef>
            </a:pPr>
            <a:r>
              <a:rPr sz="800" b="1" spc="-4" dirty="0" smtClean="0">
                <a:latin typeface="+mj-lt"/>
                <a:cs typeface="Arial"/>
              </a:rPr>
              <a:t>O</a:t>
            </a:r>
            <a:r>
              <a:rPr sz="800" b="1" spc="4" dirty="0" smtClean="0">
                <a:latin typeface="+mj-lt"/>
                <a:cs typeface="Arial"/>
              </a:rPr>
              <a:t>r</a:t>
            </a:r>
            <a:r>
              <a:rPr sz="800" b="1" spc="-9" dirty="0" smtClean="0">
                <a:latin typeface="+mj-lt"/>
                <a:cs typeface="Arial"/>
              </a:rPr>
              <a:t>d</a:t>
            </a:r>
            <a:r>
              <a:rPr sz="800" b="1" spc="-4" dirty="0" smtClean="0">
                <a:latin typeface="+mj-lt"/>
                <a:cs typeface="Arial"/>
              </a:rPr>
              <a:t>e</a:t>
            </a:r>
            <a:r>
              <a:rPr sz="800" b="1" spc="0" dirty="0" smtClean="0">
                <a:latin typeface="+mj-lt"/>
                <a:cs typeface="Arial"/>
              </a:rPr>
              <a:t>r</a:t>
            </a:r>
            <a:endParaRPr sz="800">
              <a:latin typeface="+mj-lt"/>
              <a:cs typeface="Arial"/>
            </a:endParaRPr>
          </a:p>
          <a:p>
            <a:pPr marL="159494" marR="165677" algn="ctr">
              <a:lnSpc>
                <a:spcPct val="95825"/>
              </a:lnSpc>
              <a:spcBef>
                <a:spcPts val="215"/>
              </a:spcBef>
            </a:pPr>
            <a:r>
              <a:rPr sz="800" b="1" dirty="0" smtClean="0">
                <a:latin typeface="+mj-lt"/>
                <a:cs typeface="Arial"/>
              </a:rPr>
              <a:t>N</a:t>
            </a:r>
            <a:r>
              <a:rPr sz="800" b="1" spc="-14" dirty="0" smtClean="0">
                <a:latin typeface="+mj-lt"/>
                <a:cs typeface="Arial"/>
              </a:rPr>
              <a:t>u</a:t>
            </a:r>
            <a:r>
              <a:rPr sz="800" b="1" spc="4" dirty="0" smtClean="0">
                <a:latin typeface="+mj-lt"/>
                <a:cs typeface="Arial"/>
              </a:rPr>
              <a:t>m</a:t>
            </a:r>
            <a:r>
              <a:rPr sz="800" b="1" spc="-9" dirty="0" smtClean="0">
                <a:latin typeface="+mj-lt"/>
                <a:cs typeface="Arial"/>
              </a:rPr>
              <a:t>b</a:t>
            </a:r>
            <a:r>
              <a:rPr sz="800" b="1" spc="-4" dirty="0" smtClean="0">
                <a:latin typeface="+mj-lt"/>
                <a:cs typeface="Arial"/>
              </a:rPr>
              <a:t>e</a:t>
            </a:r>
            <a:r>
              <a:rPr sz="800" b="1" spc="0" dirty="0" smtClean="0">
                <a:latin typeface="+mj-lt"/>
                <a:cs typeface="Arial"/>
              </a:rPr>
              <a:t>r</a:t>
            </a:r>
            <a:endParaRPr sz="800">
              <a:latin typeface="+mj-lt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309046" y="1141868"/>
            <a:ext cx="1008581" cy="2936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9687" marR="138751" algn="ctr">
              <a:lnSpc>
                <a:spcPct val="95825"/>
              </a:lnSpc>
              <a:spcBef>
                <a:spcPts val="210"/>
              </a:spcBef>
            </a:pPr>
            <a:r>
              <a:rPr sz="800" b="1" dirty="0" smtClean="0">
                <a:latin typeface="+mj-lt"/>
                <a:cs typeface="Arial"/>
              </a:rPr>
              <a:t>C</a:t>
            </a:r>
            <a:r>
              <a:rPr sz="800" b="1" spc="-14" dirty="0" smtClean="0">
                <a:latin typeface="+mj-lt"/>
                <a:cs typeface="Arial"/>
              </a:rPr>
              <a:t>u</a:t>
            </a:r>
            <a:r>
              <a:rPr sz="800" b="1" spc="-4" dirty="0" smtClean="0">
                <a:latin typeface="+mj-lt"/>
                <a:cs typeface="Arial"/>
              </a:rPr>
              <a:t>s</a:t>
            </a:r>
            <a:r>
              <a:rPr sz="800" b="1" spc="-9" dirty="0" smtClean="0">
                <a:latin typeface="+mj-lt"/>
                <a:cs typeface="Arial"/>
              </a:rPr>
              <a:t>to</a:t>
            </a:r>
            <a:r>
              <a:rPr sz="800" b="1" spc="4" dirty="0" smtClean="0">
                <a:latin typeface="+mj-lt"/>
                <a:cs typeface="Arial"/>
              </a:rPr>
              <a:t>m</a:t>
            </a:r>
            <a:r>
              <a:rPr sz="800" b="1" spc="-4" dirty="0" smtClean="0">
                <a:latin typeface="+mj-lt"/>
                <a:cs typeface="Arial"/>
              </a:rPr>
              <a:t>e</a:t>
            </a:r>
            <a:r>
              <a:rPr sz="800" b="1" spc="0" dirty="0" smtClean="0">
                <a:latin typeface="+mj-lt"/>
                <a:cs typeface="Arial"/>
              </a:rPr>
              <a:t>r</a:t>
            </a:r>
            <a:endParaRPr sz="800">
              <a:latin typeface="+mj-lt"/>
              <a:cs typeface="Arial"/>
            </a:endParaRPr>
          </a:p>
          <a:p>
            <a:pPr marL="198176" marR="204453" algn="ctr">
              <a:lnSpc>
                <a:spcPct val="95825"/>
              </a:lnSpc>
              <a:spcBef>
                <a:spcPts val="215"/>
              </a:spcBef>
            </a:pPr>
            <a:r>
              <a:rPr sz="800" b="1" dirty="0" smtClean="0">
                <a:latin typeface="+mj-lt"/>
                <a:cs typeface="Arial"/>
              </a:rPr>
              <a:t>N</a:t>
            </a:r>
            <a:r>
              <a:rPr sz="800" b="1" spc="-14" dirty="0" smtClean="0">
                <a:latin typeface="+mj-lt"/>
                <a:cs typeface="Arial"/>
              </a:rPr>
              <a:t>u</a:t>
            </a:r>
            <a:r>
              <a:rPr sz="800" b="1" spc="4" dirty="0" smtClean="0">
                <a:latin typeface="+mj-lt"/>
                <a:cs typeface="Arial"/>
              </a:rPr>
              <a:t>m</a:t>
            </a:r>
            <a:r>
              <a:rPr sz="800" b="1" spc="-9" dirty="0" smtClean="0">
                <a:latin typeface="+mj-lt"/>
                <a:cs typeface="Arial"/>
              </a:rPr>
              <a:t>b</a:t>
            </a:r>
            <a:r>
              <a:rPr sz="800" b="1" spc="-4" dirty="0" smtClean="0">
                <a:latin typeface="+mj-lt"/>
                <a:cs typeface="Arial"/>
              </a:rPr>
              <a:t>e</a:t>
            </a:r>
            <a:r>
              <a:rPr sz="800" b="1" spc="0" dirty="0" smtClean="0">
                <a:latin typeface="+mj-lt"/>
                <a:cs typeface="Arial"/>
              </a:rPr>
              <a:t>r</a:t>
            </a:r>
            <a:endParaRPr sz="800">
              <a:latin typeface="+mj-lt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317629" y="1141868"/>
            <a:ext cx="745003" cy="2936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64280">
              <a:lnSpc>
                <a:spcPct val="95825"/>
              </a:lnSpc>
              <a:spcBef>
                <a:spcPts val="210"/>
              </a:spcBef>
            </a:pPr>
            <a:r>
              <a:rPr sz="800" b="1" spc="-4" dirty="0" smtClean="0">
                <a:latin typeface="+mj-lt"/>
                <a:cs typeface="Arial"/>
              </a:rPr>
              <a:t>O</a:t>
            </a:r>
            <a:r>
              <a:rPr sz="800" b="1" spc="4" dirty="0" smtClean="0">
                <a:latin typeface="+mj-lt"/>
                <a:cs typeface="Arial"/>
              </a:rPr>
              <a:t>r</a:t>
            </a:r>
            <a:r>
              <a:rPr sz="800" b="1" spc="-9" dirty="0" smtClean="0">
                <a:latin typeface="+mj-lt"/>
                <a:cs typeface="Arial"/>
              </a:rPr>
              <a:t>d</a:t>
            </a:r>
            <a:r>
              <a:rPr sz="800" b="1" spc="-4" dirty="0" smtClean="0">
                <a:latin typeface="+mj-lt"/>
                <a:cs typeface="Arial"/>
              </a:rPr>
              <a:t>e</a:t>
            </a:r>
            <a:r>
              <a:rPr sz="800" b="1" spc="0" dirty="0" smtClean="0">
                <a:latin typeface="+mj-lt"/>
                <a:cs typeface="Arial"/>
              </a:rPr>
              <a:t>r</a:t>
            </a:r>
            <a:endParaRPr sz="800">
              <a:latin typeface="+mj-lt"/>
              <a:cs typeface="Arial"/>
            </a:endParaRPr>
          </a:p>
          <a:p>
            <a:pPr marL="208343">
              <a:lnSpc>
                <a:spcPct val="95825"/>
              </a:lnSpc>
              <a:spcBef>
                <a:spcPts val="215"/>
              </a:spcBef>
            </a:pPr>
            <a:r>
              <a:rPr sz="800" b="1" dirty="0" smtClean="0">
                <a:latin typeface="+mj-lt"/>
                <a:cs typeface="Arial"/>
              </a:rPr>
              <a:t>D</a:t>
            </a:r>
            <a:r>
              <a:rPr sz="800" b="1" spc="-4" dirty="0" smtClean="0">
                <a:latin typeface="+mj-lt"/>
                <a:cs typeface="Arial"/>
              </a:rPr>
              <a:t>a</a:t>
            </a:r>
            <a:r>
              <a:rPr sz="800" b="1" spc="-9" dirty="0" smtClean="0">
                <a:latin typeface="+mj-lt"/>
                <a:cs typeface="Arial"/>
              </a:rPr>
              <a:t>t</a:t>
            </a:r>
            <a:r>
              <a:rPr sz="800" b="1" spc="0" dirty="0" smtClean="0">
                <a:latin typeface="+mj-lt"/>
                <a:cs typeface="Arial"/>
              </a:rPr>
              <a:t>e</a:t>
            </a:r>
            <a:endParaRPr sz="800">
              <a:latin typeface="+mj-lt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062632" y="1141868"/>
            <a:ext cx="775824" cy="2936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77261">
              <a:lnSpc>
                <a:spcPct val="95825"/>
              </a:lnSpc>
              <a:spcBef>
                <a:spcPts val="210"/>
              </a:spcBef>
            </a:pPr>
            <a:r>
              <a:rPr sz="800" b="1" spc="-4" dirty="0" smtClean="0">
                <a:latin typeface="+mj-lt"/>
                <a:cs typeface="Arial"/>
              </a:rPr>
              <a:t>O</a:t>
            </a:r>
            <a:r>
              <a:rPr sz="800" b="1" spc="4" dirty="0" smtClean="0">
                <a:latin typeface="+mj-lt"/>
                <a:cs typeface="Arial"/>
              </a:rPr>
              <a:t>r</a:t>
            </a:r>
            <a:r>
              <a:rPr sz="800" b="1" spc="-9" dirty="0" smtClean="0">
                <a:latin typeface="+mj-lt"/>
                <a:cs typeface="Arial"/>
              </a:rPr>
              <a:t>d</a:t>
            </a:r>
            <a:r>
              <a:rPr sz="800" b="1" spc="-4" dirty="0" smtClean="0">
                <a:latin typeface="+mj-lt"/>
                <a:cs typeface="Arial"/>
              </a:rPr>
              <a:t>e</a:t>
            </a:r>
            <a:r>
              <a:rPr sz="800" b="1" spc="0" dirty="0" smtClean="0">
                <a:latin typeface="+mj-lt"/>
                <a:cs typeface="Arial"/>
              </a:rPr>
              <a:t>r</a:t>
            </a:r>
            <a:endParaRPr sz="800">
              <a:latin typeface="+mj-lt"/>
              <a:cs typeface="Arial"/>
            </a:endParaRPr>
          </a:p>
          <a:p>
            <a:pPr marL="153940">
              <a:lnSpc>
                <a:spcPct val="95825"/>
              </a:lnSpc>
              <a:spcBef>
                <a:spcPts val="215"/>
              </a:spcBef>
            </a:pPr>
            <a:r>
              <a:rPr sz="800" b="1" spc="4" dirty="0" smtClean="0">
                <a:latin typeface="+mj-lt"/>
                <a:cs typeface="Arial"/>
              </a:rPr>
              <a:t>S</a:t>
            </a:r>
            <a:r>
              <a:rPr sz="800" b="1" spc="-9" dirty="0" smtClean="0">
                <a:latin typeface="+mj-lt"/>
                <a:cs typeface="Arial"/>
              </a:rPr>
              <a:t>t</a:t>
            </a:r>
            <a:r>
              <a:rPr sz="800" b="1" spc="-4" dirty="0" smtClean="0">
                <a:latin typeface="+mj-lt"/>
                <a:cs typeface="Arial"/>
              </a:rPr>
              <a:t>a</a:t>
            </a:r>
            <a:r>
              <a:rPr sz="800" b="1" spc="-9" dirty="0" smtClean="0">
                <a:latin typeface="+mj-lt"/>
                <a:cs typeface="Arial"/>
              </a:rPr>
              <a:t>tu</a:t>
            </a:r>
            <a:r>
              <a:rPr sz="800" b="1" spc="0" dirty="0" smtClean="0">
                <a:latin typeface="+mj-lt"/>
                <a:cs typeface="Arial"/>
              </a:rPr>
              <a:t>s</a:t>
            </a:r>
            <a:endParaRPr sz="800">
              <a:latin typeface="+mj-lt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377922" y="1435533"/>
            <a:ext cx="931125" cy="1865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95224" marR="360002" algn="ctr">
              <a:lnSpc>
                <a:spcPct val="95825"/>
              </a:lnSpc>
              <a:spcBef>
                <a:spcPts val="215"/>
              </a:spcBef>
            </a:pPr>
            <a:r>
              <a:rPr sz="900" spc="4" dirty="0" smtClean="0">
                <a:latin typeface="+mj-lt"/>
                <a:cs typeface="Arial"/>
              </a:rPr>
              <a:t>PK</a:t>
            </a:r>
            <a:endParaRPr sz="900">
              <a:latin typeface="+mj-lt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309046" y="1435533"/>
            <a:ext cx="1008581" cy="1865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317629" y="1435533"/>
            <a:ext cx="745003" cy="1865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062632" y="1435533"/>
            <a:ext cx="775824" cy="1865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377922" y="1622073"/>
            <a:ext cx="931125" cy="18642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88395">
              <a:lnSpc>
                <a:spcPct val="95825"/>
              </a:lnSpc>
              <a:spcBef>
                <a:spcPts val="215"/>
              </a:spcBef>
            </a:pPr>
            <a:r>
              <a:rPr sz="900" spc="-9" dirty="0" smtClean="0">
                <a:latin typeface="+mj-lt"/>
                <a:cs typeface="Arial"/>
              </a:rPr>
              <a:t>U</a:t>
            </a:r>
            <a:r>
              <a:rPr sz="900" spc="0" dirty="0" smtClean="0">
                <a:latin typeface="+mj-lt"/>
                <a:cs typeface="Arial"/>
              </a:rPr>
              <a:t>PI</a:t>
            </a:r>
            <a:endParaRPr sz="900">
              <a:latin typeface="+mj-lt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309046" y="1622073"/>
            <a:ext cx="1008581" cy="18642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317629" y="1622073"/>
            <a:ext cx="745003" cy="18642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062632" y="1622073"/>
            <a:ext cx="775824" cy="18642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377922" y="1808500"/>
            <a:ext cx="931125" cy="13800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44332">
              <a:lnSpc>
                <a:spcPct val="95825"/>
              </a:lnSpc>
              <a:spcBef>
                <a:spcPts val="215"/>
              </a:spcBef>
            </a:pPr>
            <a:r>
              <a:rPr sz="900" spc="-4" dirty="0" smtClean="0">
                <a:latin typeface="+mj-lt"/>
                <a:cs typeface="Arial"/>
              </a:rPr>
              <a:t>7325</a:t>
            </a:r>
            <a:endParaRPr sz="900">
              <a:latin typeface="+mj-lt"/>
              <a:cs typeface="Arial"/>
            </a:endParaRPr>
          </a:p>
          <a:p>
            <a:pPr marL="241753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7324</a:t>
            </a:r>
            <a:endParaRPr sz="900">
              <a:latin typeface="+mj-lt"/>
              <a:cs typeface="Arial"/>
            </a:endParaRPr>
          </a:p>
          <a:p>
            <a:pPr marL="241753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7415</a:t>
            </a:r>
            <a:endParaRPr sz="900">
              <a:latin typeface="+mj-lt"/>
              <a:cs typeface="Arial"/>
            </a:endParaRPr>
          </a:p>
          <a:p>
            <a:pPr marL="241753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7103</a:t>
            </a:r>
            <a:endParaRPr sz="900">
              <a:latin typeface="+mj-lt"/>
              <a:cs typeface="Arial"/>
            </a:endParaRPr>
          </a:p>
          <a:p>
            <a:pPr marL="241753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7225</a:t>
            </a:r>
            <a:endParaRPr sz="900">
              <a:latin typeface="+mj-lt"/>
              <a:cs typeface="Arial"/>
            </a:endParaRPr>
          </a:p>
          <a:p>
            <a:pPr marL="241753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7384</a:t>
            </a:r>
            <a:endParaRPr sz="900">
              <a:latin typeface="+mj-lt"/>
              <a:cs typeface="Arial"/>
            </a:endParaRPr>
          </a:p>
          <a:p>
            <a:pPr marL="241753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7402</a:t>
            </a:r>
            <a:endParaRPr sz="900">
              <a:latin typeface="+mj-lt"/>
              <a:cs typeface="Arial"/>
            </a:endParaRPr>
          </a:p>
          <a:p>
            <a:pPr marL="241753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7188</a:t>
            </a:r>
            <a:endParaRPr sz="900">
              <a:latin typeface="+mj-lt"/>
              <a:cs typeface="Arial"/>
            </a:endParaRPr>
          </a:p>
          <a:p>
            <a:pPr marL="241753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7202</a:t>
            </a:r>
            <a:endParaRPr sz="900">
              <a:latin typeface="+mj-lt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309046" y="1808500"/>
            <a:ext cx="1008581" cy="13800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32455" marR="436395" algn="ctr">
              <a:lnSpc>
                <a:spcPct val="95825"/>
              </a:lnSpc>
              <a:spcBef>
                <a:spcPts val="215"/>
              </a:spcBef>
            </a:pPr>
            <a:r>
              <a:rPr sz="900" spc="0" dirty="0" smtClean="0">
                <a:latin typeface="+mj-lt"/>
                <a:cs typeface="Arial"/>
              </a:rPr>
              <a:t>2</a:t>
            </a:r>
            <a:endParaRPr sz="900">
              <a:latin typeface="+mj-lt"/>
              <a:cs typeface="Arial"/>
            </a:endParaRPr>
          </a:p>
          <a:p>
            <a:pPr marL="432455" marR="436395" algn="ctr">
              <a:lnSpc>
                <a:spcPct val="95825"/>
              </a:lnSpc>
              <a:spcBef>
                <a:spcPts val="30"/>
              </a:spcBef>
            </a:pPr>
            <a:r>
              <a:rPr sz="900" spc="0" dirty="0" smtClean="0">
                <a:latin typeface="+mj-lt"/>
                <a:cs typeface="Arial"/>
              </a:rPr>
              <a:t>3</a:t>
            </a:r>
            <a:endParaRPr sz="900">
              <a:latin typeface="+mj-lt"/>
              <a:cs typeface="Arial"/>
            </a:endParaRPr>
          </a:p>
          <a:p>
            <a:pPr marL="432455" marR="436395" algn="ctr">
              <a:lnSpc>
                <a:spcPct val="95825"/>
              </a:lnSpc>
              <a:spcBef>
                <a:spcPts val="30"/>
              </a:spcBef>
            </a:pPr>
            <a:r>
              <a:rPr sz="900" spc="0" dirty="0" smtClean="0">
                <a:latin typeface="+mj-lt"/>
                <a:cs typeface="Arial"/>
              </a:rPr>
              <a:t>1</a:t>
            </a:r>
            <a:endParaRPr sz="900">
              <a:latin typeface="+mj-lt"/>
              <a:cs typeface="Arial"/>
            </a:endParaRPr>
          </a:p>
          <a:p>
            <a:pPr marL="432455" marR="436395" algn="ctr">
              <a:lnSpc>
                <a:spcPct val="95825"/>
              </a:lnSpc>
              <a:spcBef>
                <a:spcPts val="30"/>
              </a:spcBef>
            </a:pPr>
            <a:r>
              <a:rPr sz="900" spc="0" dirty="0" smtClean="0">
                <a:latin typeface="+mj-lt"/>
                <a:cs typeface="Arial"/>
              </a:rPr>
              <a:t>1</a:t>
            </a:r>
            <a:endParaRPr sz="900">
              <a:latin typeface="+mj-lt"/>
              <a:cs typeface="Arial"/>
            </a:endParaRPr>
          </a:p>
          <a:p>
            <a:pPr marL="432455" marR="436395" algn="ctr">
              <a:lnSpc>
                <a:spcPct val="95825"/>
              </a:lnSpc>
              <a:spcBef>
                <a:spcPts val="30"/>
              </a:spcBef>
            </a:pPr>
            <a:r>
              <a:rPr sz="900" spc="0" dirty="0" smtClean="0">
                <a:latin typeface="+mj-lt"/>
                <a:cs typeface="Arial"/>
              </a:rPr>
              <a:t>2</a:t>
            </a:r>
            <a:endParaRPr sz="900">
              <a:latin typeface="+mj-lt"/>
              <a:cs typeface="Arial"/>
            </a:endParaRPr>
          </a:p>
          <a:p>
            <a:pPr marL="432455" marR="436395" algn="ctr">
              <a:lnSpc>
                <a:spcPct val="95825"/>
              </a:lnSpc>
              <a:spcBef>
                <a:spcPts val="30"/>
              </a:spcBef>
            </a:pPr>
            <a:r>
              <a:rPr sz="900" spc="0" dirty="0" smtClean="0">
                <a:latin typeface="+mj-lt"/>
                <a:cs typeface="Arial"/>
              </a:rPr>
              <a:t>1</a:t>
            </a:r>
            <a:endParaRPr sz="900">
              <a:latin typeface="+mj-lt"/>
              <a:cs typeface="Arial"/>
            </a:endParaRPr>
          </a:p>
          <a:p>
            <a:pPr marL="432455" marR="436395" algn="ctr">
              <a:lnSpc>
                <a:spcPct val="95825"/>
              </a:lnSpc>
              <a:spcBef>
                <a:spcPts val="30"/>
              </a:spcBef>
            </a:pPr>
            <a:r>
              <a:rPr sz="900" spc="0" dirty="0" smtClean="0">
                <a:latin typeface="+mj-lt"/>
                <a:cs typeface="Arial"/>
              </a:rPr>
              <a:t>3</a:t>
            </a:r>
            <a:endParaRPr sz="900">
              <a:latin typeface="+mj-lt"/>
              <a:cs typeface="Arial"/>
            </a:endParaRPr>
          </a:p>
          <a:p>
            <a:pPr marL="432455" marR="436395" algn="ctr">
              <a:lnSpc>
                <a:spcPct val="95825"/>
              </a:lnSpc>
              <a:spcBef>
                <a:spcPts val="30"/>
              </a:spcBef>
            </a:pPr>
            <a:r>
              <a:rPr sz="900" spc="0" dirty="0" smtClean="0">
                <a:latin typeface="+mj-lt"/>
                <a:cs typeface="Arial"/>
              </a:rPr>
              <a:t>1</a:t>
            </a:r>
            <a:endParaRPr sz="900">
              <a:latin typeface="+mj-lt"/>
              <a:cs typeface="Arial"/>
            </a:endParaRPr>
          </a:p>
          <a:p>
            <a:pPr marL="432455" marR="436395" algn="ctr">
              <a:lnSpc>
                <a:spcPct val="95825"/>
              </a:lnSpc>
              <a:spcBef>
                <a:spcPts val="30"/>
              </a:spcBef>
            </a:pPr>
            <a:r>
              <a:rPr sz="900" spc="0" dirty="0" smtClean="0">
                <a:latin typeface="+mj-lt"/>
                <a:cs typeface="Arial"/>
              </a:rPr>
              <a:t>2</a:t>
            </a:r>
            <a:endParaRPr sz="900">
              <a:latin typeface="+mj-lt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317629" y="1808500"/>
            <a:ext cx="745003" cy="13800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00498">
              <a:lnSpc>
                <a:spcPct val="95825"/>
              </a:lnSpc>
              <a:spcBef>
                <a:spcPts val="215"/>
              </a:spcBef>
            </a:pPr>
            <a:r>
              <a:rPr sz="900" spc="-4" dirty="0" smtClean="0">
                <a:latin typeface="+mj-lt"/>
                <a:cs typeface="Arial"/>
              </a:rPr>
              <a:t>4</a:t>
            </a:r>
            <a:r>
              <a:rPr sz="900" spc="4" dirty="0" smtClean="0">
                <a:latin typeface="+mj-lt"/>
                <a:cs typeface="Arial"/>
              </a:rPr>
              <a:t>/</a:t>
            </a:r>
            <a:r>
              <a:rPr sz="900" spc="-4" dirty="0" smtClean="0">
                <a:latin typeface="+mj-lt"/>
                <a:cs typeface="Arial"/>
              </a:rPr>
              <a:t>1</a:t>
            </a:r>
            <a:r>
              <a:rPr sz="900" spc="0" dirty="0" smtClean="0">
                <a:latin typeface="+mj-lt"/>
                <a:cs typeface="Arial"/>
              </a:rPr>
              <a:t>3</a:t>
            </a:r>
            <a:endParaRPr sz="900">
              <a:latin typeface="+mj-lt"/>
              <a:cs typeface="Arial"/>
            </a:endParaRPr>
          </a:p>
          <a:p>
            <a:pPr marL="200498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4</a:t>
            </a:r>
            <a:r>
              <a:rPr sz="900" spc="4" dirty="0" smtClean="0">
                <a:latin typeface="+mj-lt"/>
                <a:cs typeface="Arial"/>
              </a:rPr>
              <a:t>/</a:t>
            </a:r>
            <a:r>
              <a:rPr sz="900" spc="-4" dirty="0" smtClean="0">
                <a:latin typeface="+mj-lt"/>
                <a:cs typeface="Arial"/>
              </a:rPr>
              <a:t>1</a:t>
            </a:r>
            <a:r>
              <a:rPr sz="900" spc="0" dirty="0" smtClean="0">
                <a:latin typeface="+mj-lt"/>
                <a:cs typeface="Arial"/>
              </a:rPr>
              <a:t>3</a:t>
            </a:r>
            <a:endParaRPr sz="900">
              <a:latin typeface="+mj-lt"/>
              <a:cs typeface="Arial"/>
            </a:endParaRPr>
          </a:p>
          <a:p>
            <a:pPr marL="200498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4</a:t>
            </a:r>
            <a:r>
              <a:rPr sz="900" spc="4" dirty="0" smtClean="0">
                <a:latin typeface="+mj-lt"/>
                <a:cs typeface="Arial"/>
              </a:rPr>
              <a:t>/</a:t>
            </a:r>
            <a:r>
              <a:rPr sz="900" spc="-4" dirty="0" smtClean="0">
                <a:latin typeface="+mj-lt"/>
                <a:cs typeface="Arial"/>
              </a:rPr>
              <a:t>1</a:t>
            </a:r>
            <a:r>
              <a:rPr sz="900" spc="0" dirty="0" smtClean="0">
                <a:latin typeface="+mj-lt"/>
                <a:cs typeface="Arial"/>
              </a:rPr>
              <a:t>3</a:t>
            </a:r>
            <a:endParaRPr sz="900">
              <a:latin typeface="+mj-lt"/>
              <a:cs typeface="Arial"/>
            </a:endParaRPr>
          </a:p>
          <a:p>
            <a:pPr marL="200498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4</a:t>
            </a:r>
            <a:r>
              <a:rPr sz="900" spc="4" dirty="0" smtClean="0">
                <a:latin typeface="+mj-lt"/>
                <a:cs typeface="Arial"/>
              </a:rPr>
              <a:t>/</a:t>
            </a:r>
            <a:r>
              <a:rPr sz="900" spc="-4" dirty="0" smtClean="0">
                <a:latin typeface="+mj-lt"/>
                <a:cs typeface="Arial"/>
              </a:rPr>
              <a:t>1</a:t>
            </a:r>
            <a:r>
              <a:rPr sz="900" spc="0" dirty="0" smtClean="0">
                <a:latin typeface="+mj-lt"/>
                <a:cs typeface="Arial"/>
              </a:rPr>
              <a:t>0</a:t>
            </a:r>
            <a:endParaRPr sz="900">
              <a:latin typeface="+mj-lt"/>
              <a:cs typeface="Arial"/>
            </a:endParaRPr>
          </a:p>
          <a:p>
            <a:pPr marL="200498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4</a:t>
            </a:r>
            <a:r>
              <a:rPr sz="900" spc="4" dirty="0" smtClean="0">
                <a:latin typeface="+mj-lt"/>
                <a:cs typeface="Arial"/>
              </a:rPr>
              <a:t>/</a:t>
            </a:r>
            <a:r>
              <a:rPr sz="900" spc="-4" dirty="0" smtClean="0">
                <a:latin typeface="+mj-lt"/>
                <a:cs typeface="Arial"/>
              </a:rPr>
              <a:t>1</a:t>
            </a:r>
            <a:r>
              <a:rPr sz="900" spc="0" dirty="0" smtClean="0">
                <a:latin typeface="+mj-lt"/>
                <a:cs typeface="Arial"/>
              </a:rPr>
              <a:t>5</a:t>
            </a:r>
            <a:endParaRPr sz="900">
              <a:latin typeface="+mj-lt"/>
              <a:cs typeface="Arial"/>
            </a:endParaRPr>
          </a:p>
          <a:p>
            <a:pPr marL="200498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4</a:t>
            </a:r>
            <a:r>
              <a:rPr sz="900" spc="4" dirty="0" smtClean="0">
                <a:latin typeface="+mj-lt"/>
                <a:cs typeface="Arial"/>
              </a:rPr>
              <a:t>/</a:t>
            </a:r>
            <a:r>
              <a:rPr sz="900" spc="-4" dirty="0" smtClean="0">
                <a:latin typeface="+mj-lt"/>
                <a:cs typeface="Arial"/>
              </a:rPr>
              <a:t>1</a:t>
            </a:r>
            <a:r>
              <a:rPr sz="900" spc="0" dirty="0" smtClean="0">
                <a:latin typeface="+mj-lt"/>
                <a:cs typeface="Arial"/>
              </a:rPr>
              <a:t>2</a:t>
            </a:r>
            <a:endParaRPr sz="900">
              <a:latin typeface="+mj-lt"/>
              <a:cs typeface="Arial"/>
            </a:endParaRPr>
          </a:p>
          <a:p>
            <a:pPr marL="200498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4</a:t>
            </a:r>
            <a:r>
              <a:rPr sz="900" spc="4" dirty="0" smtClean="0">
                <a:latin typeface="+mj-lt"/>
                <a:cs typeface="Arial"/>
              </a:rPr>
              <a:t>/</a:t>
            </a:r>
            <a:r>
              <a:rPr sz="900" spc="-4" dirty="0" smtClean="0">
                <a:latin typeface="+mj-lt"/>
                <a:cs typeface="Arial"/>
              </a:rPr>
              <a:t>1</a:t>
            </a:r>
            <a:r>
              <a:rPr sz="900" spc="0" dirty="0" smtClean="0">
                <a:latin typeface="+mj-lt"/>
                <a:cs typeface="Arial"/>
              </a:rPr>
              <a:t>6</a:t>
            </a:r>
            <a:endParaRPr sz="900">
              <a:latin typeface="+mj-lt"/>
              <a:cs typeface="Arial"/>
            </a:endParaRPr>
          </a:p>
          <a:p>
            <a:pPr marL="200498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4</a:t>
            </a:r>
            <a:r>
              <a:rPr sz="900" spc="4" dirty="0" smtClean="0">
                <a:latin typeface="+mj-lt"/>
                <a:cs typeface="Arial"/>
              </a:rPr>
              <a:t>/</a:t>
            </a:r>
            <a:r>
              <a:rPr sz="900" spc="-4" dirty="0" smtClean="0">
                <a:latin typeface="+mj-lt"/>
                <a:cs typeface="Arial"/>
              </a:rPr>
              <a:t>1</a:t>
            </a:r>
            <a:r>
              <a:rPr sz="900" spc="0" dirty="0" smtClean="0">
                <a:latin typeface="+mj-lt"/>
                <a:cs typeface="Arial"/>
              </a:rPr>
              <a:t>3</a:t>
            </a:r>
            <a:endParaRPr sz="900">
              <a:latin typeface="+mj-lt"/>
              <a:cs typeface="Arial"/>
            </a:endParaRPr>
          </a:p>
          <a:p>
            <a:pPr marL="200498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4</a:t>
            </a:r>
            <a:r>
              <a:rPr sz="900" spc="4" dirty="0" smtClean="0">
                <a:latin typeface="+mj-lt"/>
                <a:cs typeface="Arial"/>
              </a:rPr>
              <a:t>/</a:t>
            </a:r>
            <a:r>
              <a:rPr sz="900" spc="-4" dirty="0" smtClean="0">
                <a:latin typeface="+mj-lt"/>
                <a:cs typeface="Arial"/>
              </a:rPr>
              <a:t>0</a:t>
            </a:r>
            <a:r>
              <a:rPr sz="900" spc="0" dirty="0" smtClean="0">
                <a:latin typeface="+mj-lt"/>
                <a:cs typeface="Arial"/>
              </a:rPr>
              <a:t>9</a:t>
            </a:r>
            <a:endParaRPr sz="900">
              <a:latin typeface="+mj-lt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062632" y="1808500"/>
            <a:ext cx="775824" cy="13800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04212" marR="316662" algn="ctr">
              <a:lnSpc>
                <a:spcPct val="98795"/>
              </a:lnSpc>
              <a:spcBef>
                <a:spcPts val="215"/>
              </a:spcBef>
            </a:pPr>
            <a:r>
              <a:rPr sz="900" spc="0" dirty="0" smtClean="0">
                <a:latin typeface="+mj-lt"/>
                <a:cs typeface="Arial"/>
              </a:rPr>
              <a:t>O O C O C C C C C</a:t>
            </a:r>
            <a:endParaRPr sz="900">
              <a:latin typeface="+mj-lt"/>
              <a:cs typeface="Arial"/>
            </a:endParaRPr>
          </a:p>
        </p:txBody>
      </p:sp>
      <p:sp>
        <p:nvSpPr>
          <p:cNvPr id="210" name="Title 20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w Distribution Using an UPI</a:t>
            </a:r>
            <a:endParaRPr lang="en-US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object 294"/>
          <p:cNvSpPr txBox="1"/>
          <p:nvPr/>
        </p:nvSpPr>
        <p:spPr>
          <a:xfrm>
            <a:off x="3271407" y="3315207"/>
            <a:ext cx="1323654" cy="4038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5825"/>
              </a:lnSpc>
              <a:spcBef>
                <a:spcPts val="80"/>
              </a:spcBef>
            </a:pPr>
            <a:r>
              <a:rPr sz="650" spc="0" dirty="0" smtClean="0">
                <a:latin typeface="Arial"/>
                <a:cs typeface="Arial"/>
              </a:rPr>
              <a:t>188                         </a:t>
            </a:r>
            <a:r>
              <a:rPr sz="650" spc="46" dirty="0" smtClean="0">
                <a:latin typeface="Arial"/>
                <a:cs typeface="Arial"/>
              </a:rPr>
              <a:t> </a:t>
            </a:r>
            <a:r>
              <a:rPr sz="650" spc="0" dirty="0" smtClean="0">
                <a:latin typeface="Arial"/>
                <a:cs typeface="Arial"/>
              </a:rPr>
              <a:t>1</a:t>
            </a:r>
            <a:endParaRPr sz="650">
              <a:latin typeface="Arial"/>
              <a:cs typeface="Arial"/>
            </a:endParaRPr>
          </a:p>
          <a:p>
            <a:pPr>
              <a:lnSpc>
                <a:spcPct val="95825"/>
              </a:lnSpc>
              <a:spcBef>
                <a:spcPts val="833"/>
              </a:spcBef>
            </a:pPr>
            <a:r>
              <a:rPr sz="650" spc="0" dirty="0" smtClean="0">
                <a:latin typeface="Arial"/>
                <a:cs typeface="Arial"/>
              </a:rPr>
              <a:t>202                         </a:t>
            </a:r>
            <a:r>
              <a:rPr sz="650" spc="46" dirty="0" smtClean="0">
                <a:latin typeface="Arial"/>
                <a:cs typeface="Arial"/>
              </a:rPr>
              <a:t> </a:t>
            </a:r>
            <a:r>
              <a:rPr sz="650" spc="0" dirty="0" smtClean="0">
                <a:latin typeface="Arial"/>
                <a:cs typeface="Arial"/>
              </a:rPr>
              <a:t>2</a:t>
            </a:r>
            <a:endParaRPr sz="650">
              <a:latin typeface="Arial"/>
              <a:cs typeface="Arial"/>
            </a:endParaRPr>
          </a:p>
        </p:txBody>
      </p:sp>
      <p:sp>
        <p:nvSpPr>
          <p:cNvPr id="293" name="object 293"/>
          <p:cNvSpPr txBox="1"/>
          <p:nvPr/>
        </p:nvSpPr>
        <p:spPr>
          <a:xfrm>
            <a:off x="5657089" y="3324352"/>
            <a:ext cx="1178052" cy="4023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41474">
              <a:lnSpc>
                <a:spcPct val="95825"/>
              </a:lnSpc>
              <a:spcBef>
                <a:spcPts val="10"/>
              </a:spcBef>
            </a:pPr>
            <a:r>
              <a:rPr sz="650" spc="0" dirty="0" smtClean="0">
                <a:latin typeface="Arial"/>
                <a:cs typeface="Arial"/>
              </a:rPr>
              <a:t>4/13</a:t>
            </a:r>
            <a:endParaRPr sz="650">
              <a:latin typeface="Arial"/>
              <a:cs typeface="Arial"/>
            </a:endParaRPr>
          </a:p>
          <a:p>
            <a:pPr marL="241474">
              <a:lnSpc>
                <a:spcPct val="95825"/>
              </a:lnSpc>
              <a:spcBef>
                <a:spcPts val="833"/>
              </a:spcBef>
            </a:pPr>
            <a:r>
              <a:rPr sz="650" spc="0" dirty="0" smtClean="0">
                <a:latin typeface="Arial"/>
                <a:cs typeface="Arial"/>
              </a:rPr>
              <a:t>4/09</a:t>
            </a:r>
            <a:endParaRPr sz="650">
              <a:latin typeface="Arial"/>
              <a:cs typeface="Arial"/>
            </a:endParaRPr>
          </a:p>
        </p:txBody>
      </p:sp>
      <p:sp>
        <p:nvSpPr>
          <p:cNvPr id="160" name="object 160"/>
          <p:cNvSpPr/>
          <p:nvPr/>
        </p:nvSpPr>
        <p:spPr>
          <a:xfrm>
            <a:off x="1" y="649225"/>
            <a:ext cx="9906000" cy="8336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" name="object 161"/>
          <p:cNvSpPr/>
          <p:nvPr/>
        </p:nvSpPr>
        <p:spPr>
          <a:xfrm>
            <a:off x="45721" y="1041401"/>
            <a:ext cx="106679" cy="10667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" name="object 162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3" name="object 163"/>
          <p:cNvSpPr/>
          <p:nvPr/>
        </p:nvSpPr>
        <p:spPr>
          <a:xfrm>
            <a:off x="3195182" y="1597755"/>
            <a:ext cx="492151" cy="0"/>
          </a:xfrm>
          <a:custGeom>
            <a:avLst/>
            <a:gdLst/>
            <a:ahLst/>
            <a:cxnLst/>
            <a:rect l="l" t="t" r="r" b="b"/>
            <a:pathLst>
              <a:path w="492151">
                <a:moveTo>
                  <a:pt x="0" y="0"/>
                </a:moveTo>
                <a:lnTo>
                  <a:pt x="492151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" name="object 164"/>
          <p:cNvSpPr/>
          <p:nvPr/>
        </p:nvSpPr>
        <p:spPr>
          <a:xfrm>
            <a:off x="4493087" y="1597755"/>
            <a:ext cx="492151" cy="0"/>
          </a:xfrm>
          <a:custGeom>
            <a:avLst/>
            <a:gdLst/>
            <a:ahLst/>
            <a:cxnLst/>
            <a:rect l="l" t="t" r="r" b="b"/>
            <a:pathLst>
              <a:path w="492151">
                <a:moveTo>
                  <a:pt x="0" y="0"/>
                </a:moveTo>
                <a:lnTo>
                  <a:pt x="492151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" name="object 165"/>
          <p:cNvSpPr/>
          <p:nvPr/>
        </p:nvSpPr>
        <p:spPr>
          <a:xfrm>
            <a:off x="5898561" y="1597755"/>
            <a:ext cx="289988" cy="0"/>
          </a:xfrm>
          <a:custGeom>
            <a:avLst/>
            <a:gdLst/>
            <a:ahLst/>
            <a:cxnLst/>
            <a:rect l="l" t="t" r="r" b="b"/>
            <a:pathLst>
              <a:path w="289988">
                <a:moveTo>
                  <a:pt x="0" y="0"/>
                </a:moveTo>
                <a:lnTo>
                  <a:pt x="289988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" name="object 166"/>
          <p:cNvSpPr/>
          <p:nvPr/>
        </p:nvSpPr>
        <p:spPr>
          <a:xfrm>
            <a:off x="6936307" y="1597755"/>
            <a:ext cx="389411" cy="0"/>
          </a:xfrm>
          <a:custGeom>
            <a:avLst/>
            <a:gdLst/>
            <a:ahLst/>
            <a:cxnLst/>
            <a:rect l="l" t="t" r="r" b="b"/>
            <a:pathLst>
              <a:path w="389412">
                <a:moveTo>
                  <a:pt x="0" y="0"/>
                </a:moveTo>
                <a:lnTo>
                  <a:pt x="389412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" name="object 167"/>
          <p:cNvSpPr/>
          <p:nvPr/>
        </p:nvSpPr>
        <p:spPr>
          <a:xfrm>
            <a:off x="2867963" y="1299769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" name="object 168"/>
          <p:cNvSpPr/>
          <p:nvPr/>
        </p:nvSpPr>
        <p:spPr>
          <a:xfrm>
            <a:off x="2867963" y="1299769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" name="object 169"/>
          <p:cNvSpPr/>
          <p:nvPr/>
        </p:nvSpPr>
        <p:spPr>
          <a:xfrm>
            <a:off x="2877078" y="1302340"/>
            <a:ext cx="1277936" cy="0"/>
          </a:xfrm>
          <a:custGeom>
            <a:avLst/>
            <a:gdLst/>
            <a:ahLst/>
            <a:cxnLst/>
            <a:rect l="l" t="t" r="r" b="b"/>
            <a:pathLst>
              <a:path w="1277936">
                <a:moveTo>
                  <a:pt x="0" y="0"/>
                </a:moveTo>
                <a:lnTo>
                  <a:pt x="1277936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" name="object 170"/>
          <p:cNvSpPr/>
          <p:nvPr/>
        </p:nvSpPr>
        <p:spPr>
          <a:xfrm>
            <a:off x="2877907" y="1299769"/>
            <a:ext cx="1276308" cy="0"/>
          </a:xfrm>
          <a:custGeom>
            <a:avLst/>
            <a:gdLst/>
            <a:ahLst/>
            <a:cxnLst/>
            <a:rect l="l" t="t" r="r" b="b"/>
            <a:pathLst>
              <a:path w="1276307">
                <a:moveTo>
                  <a:pt x="0" y="0"/>
                </a:moveTo>
                <a:lnTo>
                  <a:pt x="1276307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" name="object 171"/>
          <p:cNvSpPr/>
          <p:nvPr/>
        </p:nvSpPr>
        <p:spPr>
          <a:xfrm>
            <a:off x="4155041" y="1302340"/>
            <a:ext cx="9943" cy="0"/>
          </a:xfrm>
          <a:custGeom>
            <a:avLst/>
            <a:gdLst/>
            <a:ahLst/>
            <a:cxnLst/>
            <a:rect l="l" t="t" r="r" b="b"/>
            <a:pathLst>
              <a:path w="9942">
                <a:moveTo>
                  <a:pt x="0" y="0"/>
                </a:moveTo>
                <a:lnTo>
                  <a:pt x="9942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" name="object 172"/>
          <p:cNvSpPr/>
          <p:nvPr/>
        </p:nvSpPr>
        <p:spPr>
          <a:xfrm>
            <a:off x="4155872" y="1299769"/>
            <a:ext cx="8285" cy="0"/>
          </a:xfrm>
          <a:custGeom>
            <a:avLst/>
            <a:gdLst/>
            <a:ahLst/>
            <a:cxnLst/>
            <a:rect l="l" t="t" r="r" b="b"/>
            <a:pathLst>
              <a:path w="8285">
                <a:moveTo>
                  <a:pt x="0" y="0"/>
                </a:moveTo>
                <a:lnTo>
                  <a:pt x="8285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" name="object 173"/>
          <p:cNvSpPr/>
          <p:nvPr/>
        </p:nvSpPr>
        <p:spPr>
          <a:xfrm>
            <a:off x="4155870" y="1299769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" name="object 174"/>
          <p:cNvSpPr/>
          <p:nvPr/>
        </p:nvSpPr>
        <p:spPr>
          <a:xfrm>
            <a:off x="4164986" y="1302340"/>
            <a:ext cx="1405476" cy="0"/>
          </a:xfrm>
          <a:custGeom>
            <a:avLst/>
            <a:gdLst/>
            <a:ahLst/>
            <a:cxnLst/>
            <a:rect l="l" t="t" r="r" b="b"/>
            <a:pathLst>
              <a:path w="1405476">
                <a:moveTo>
                  <a:pt x="0" y="0"/>
                </a:moveTo>
                <a:lnTo>
                  <a:pt x="1405476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" name="object 175"/>
          <p:cNvSpPr/>
          <p:nvPr/>
        </p:nvSpPr>
        <p:spPr>
          <a:xfrm>
            <a:off x="4165813" y="1299769"/>
            <a:ext cx="1403819" cy="0"/>
          </a:xfrm>
          <a:custGeom>
            <a:avLst/>
            <a:gdLst/>
            <a:ahLst/>
            <a:cxnLst/>
            <a:rect l="l" t="t" r="r" b="b"/>
            <a:pathLst>
              <a:path w="1403819">
                <a:moveTo>
                  <a:pt x="0" y="0"/>
                </a:moveTo>
                <a:lnTo>
                  <a:pt x="1403819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" name="object 176"/>
          <p:cNvSpPr/>
          <p:nvPr/>
        </p:nvSpPr>
        <p:spPr>
          <a:xfrm>
            <a:off x="5571290" y="1299769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" name="object 177"/>
          <p:cNvSpPr/>
          <p:nvPr/>
        </p:nvSpPr>
        <p:spPr>
          <a:xfrm>
            <a:off x="5580404" y="1302340"/>
            <a:ext cx="1027387" cy="0"/>
          </a:xfrm>
          <a:custGeom>
            <a:avLst/>
            <a:gdLst/>
            <a:ahLst/>
            <a:cxnLst/>
            <a:rect l="l" t="t" r="r" b="b"/>
            <a:pathLst>
              <a:path w="1027386">
                <a:moveTo>
                  <a:pt x="0" y="0"/>
                </a:moveTo>
                <a:lnTo>
                  <a:pt x="1027386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" name="object 178"/>
          <p:cNvSpPr/>
          <p:nvPr/>
        </p:nvSpPr>
        <p:spPr>
          <a:xfrm>
            <a:off x="5581233" y="1299769"/>
            <a:ext cx="1025729" cy="0"/>
          </a:xfrm>
          <a:custGeom>
            <a:avLst/>
            <a:gdLst/>
            <a:ahLst/>
            <a:cxnLst/>
            <a:rect l="l" t="t" r="r" b="b"/>
            <a:pathLst>
              <a:path w="1025729">
                <a:moveTo>
                  <a:pt x="0" y="0"/>
                </a:moveTo>
                <a:lnTo>
                  <a:pt x="1025729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" name="object 179"/>
          <p:cNvSpPr/>
          <p:nvPr/>
        </p:nvSpPr>
        <p:spPr>
          <a:xfrm>
            <a:off x="6608619" y="1299769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" name="object 180"/>
          <p:cNvSpPr/>
          <p:nvPr/>
        </p:nvSpPr>
        <p:spPr>
          <a:xfrm>
            <a:off x="6617733" y="1302340"/>
            <a:ext cx="1070802" cy="0"/>
          </a:xfrm>
          <a:custGeom>
            <a:avLst/>
            <a:gdLst/>
            <a:ahLst/>
            <a:cxnLst/>
            <a:rect l="l" t="t" r="r" b="b"/>
            <a:pathLst>
              <a:path w="1070802">
                <a:moveTo>
                  <a:pt x="0" y="0"/>
                </a:moveTo>
                <a:lnTo>
                  <a:pt x="1070802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" name="object 181"/>
          <p:cNvSpPr/>
          <p:nvPr/>
        </p:nvSpPr>
        <p:spPr>
          <a:xfrm>
            <a:off x="6618563" y="1299769"/>
            <a:ext cx="1069228" cy="0"/>
          </a:xfrm>
          <a:custGeom>
            <a:avLst/>
            <a:gdLst/>
            <a:ahLst/>
            <a:cxnLst/>
            <a:rect l="l" t="t" r="r" b="b"/>
            <a:pathLst>
              <a:path w="1069228">
                <a:moveTo>
                  <a:pt x="0" y="0"/>
                </a:moveTo>
                <a:lnTo>
                  <a:pt x="1069228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" name="object 182"/>
          <p:cNvSpPr/>
          <p:nvPr/>
        </p:nvSpPr>
        <p:spPr>
          <a:xfrm>
            <a:off x="7689447" y="1299769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" name="object 183"/>
          <p:cNvSpPr/>
          <p:nvPr/>
        </p:nvSpPr>
        <p:spPr>
          <a:xfrm>
            <a:off x="7689447" y="1299769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" name="object 184"/>
          <p:cNvSpPr/>
          <p:nvPr/>
        </p:nvSpPr>
        <p:spPr>
          <a:xfrm>
            <a:off x="2867963" y="1305939"/>
            <a:ext cx="0" cy="400314"/>
          </a:xfrm>
          <a:custGeom>
            <a:avLst/>
            <a:gdLst/>
            <a:ahLst/>
            <a:cxnLst/>
            <a:rect l="l" t="t" r="r" b="b"/>
            <a:pathLst>
              <a:path h="400314">
                <a:moveTo>
                  <a:pt x="0" y="0"/>
                </a:moveTo>
                <a:lnTo>
                  <a:pt x="0" y="400314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" name="object 185"/>
          <p:cNvSpPr/>
          <p:nvPr/>
        </p:nvSpPr>
        <p:spPr>
          <a:xfrm>
            <a:off x="4155870" y="1305939"/>
            <a:ext cx="0" cy="400314"/>
          </a:xfrm>
          <a:custGeom>
            <a:avLst/>
            <a:gdLst/>
            <a:ahLst/>
            <a:cxnLst/>
            <a:rect l="l" t="t" r="r" b="b"/>
            <a:pathLst>
              <a:path h="400314">
                <a:moveTo>
                  <a:pt x="0" y="0"/>
                </a:moveTo>
                <a:lnTo>
                  <a:pt x="0" y="400314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" name="object 186"/>
          <p:cNvSpPr/>
          <p:nvPr/>
        </p:nvSpPr>
        <p:spPr>
          <a:xfrm>
            <a:off x="5571290" y="1305939"/>
            <a:ext cx="0" cy="400314"/>
          </a:xfrm>
          <a:custGeom>
            <a:avLst/>
            <a:gdLst/>
            <a:ahLst/>
            <a:cxnLst/>
            <a:rect l="l" t="t" r="r" b="b"/>
            <a:pathLst>
              <a:path h="400314">
                <a:moveTo>
                  <a:pt x="0" y="0"/>
                </a:moveTo>
                <a:lnTo>
                  <a:pt x="0" y="400314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" name="object 187"/>
          <p:cNvSpPr/>
          <p:nvPr/>
        </p:nvSpPr>
        <p:spPr>
          <a:xfrm>
            <a:off x="6608619" y="1305939"/>
            <a:ext cx="0" cy="400314"/>
          </a:xfrm>
          <a:custGeom>
            <a:avLst/>
            <a:gdLst/>
            <a:ahLst/>
            <a:cxnLst/>
            <a:rect l="l" t="t" r="r" b="b"/>
            <a:pathLst>
              <a:path h="400314">
                <a:moveTo>
                  <a:pt x="0" y="0"/>
                </a:moveTo>
                <a:lnTo>
                  <a:pt x="0" y="400314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" name="object 188"/>
          <p:cNvSpPr/>
          <p:nvPr/>
        </p:nvSpPr>
        <p:spPr>
          <a:xfrm>
            <a:off x="7689447" y="1305939"/>
            <a:ext cx="0" cy="400314"/>
          </a:xfrm>
          <a:custGeom>
            <a:avLst/>
            <a:gdLst/>
            <a:ahLst/>
            <a:cxnLst/>
            <a:rect l="l" t="t" r="r" b="b"/>
            <a:pathLst>
              <a:path h="400314">
                <a:moveTo>
                  <a:pt x="0" y="0"/>
                </a:moveTo>
                <a:lnTo>
                  <a:pt x="0" y="400314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9" name="object 189"/>
          <p:cNvSpPr/>
          <p:nvPr/>
        </p:nvSpPr>
        <p:spPr>
          <a:xfrm>
            <a:off x="2867963" y="1707282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0" name="object 190"/>
          <p:cNvSpPr/>
          <p:nvPr/>
        </p:nvSpPr>
        <p:spPr>
          <a:xfrm>
            <a:off x="2877078" y="1709853"/>
            <a:ext cx="1277936" cy="0"/>
          </a:xfrm>
          <a:custGeom>
            <a:avLst/>
            <a:gdLst/>
            <a:ahLst/>
            <a:cxnLst/>
            <a:rect l="l" t="t" r="r" b="b"/>
            <a:pathLst>
              <a:path w="1277936">
                <a:moveTo>
                  <a:pt x="0" y="0"/>
                </a:moveTo>
                <a:lnTo>
                  <a:pt x="1277936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1" name="object 191"/>
          <p:cNvSpPr/>
          <p:nvPr/>
        </p:nvSpPr>
        <p:spPr>
          <a:xfrm>
            <a:off x="2877907" y="1707282"/>
            <a:ext cx="1276308" cy="0"/>
          </a:xfrm>
          <a:custGeom>
            <a:avLst/>
            <a:gdLst/>
            <a:ahLst/>
            <a:cxnLst/>
            <a:rect l="l" t="t" r="r" b="b"/>
            <a:pathLst>
              <a:path w="1276307">
                <a:moveTo>
                  <a:pt x="0" y="0"/>
                </a:moveTo>
                <a:lnTo>
                  <a:pt x="1276307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2" name="object 192"/>
          <p:cNvSpPr/>
          <p:nvPr/>
        </p:nvSpPr>
        <p:spPr>
          <a:xfrm>
            <a:off x="4184871" y="1709853"/>
            <a:ext cx="1385590" cy="0"/>
          </a:xfrm>
          <a:custGeom>
            <a:avLst/>
            <a:gdLst/>
            <a:ahLst/>
            <a:cxnLst/>
            <a:rect l="l" t="t" r="r" b="b"/>
            <a:pathLst>
              <a:path w="1385591">
                <a:moveTo>
                  <a:pt x="0" y="0"/>
                </a:moveTo>
                <a:lnTo>
                  <a:pt x="1385591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3" name="object 193"/>
          <p:cNvSpPr/>
          <p:nvPr/>
        </p:nvSpPr>
        <p:spPr>
          <a:xfrm>
            <a:off x="4185698" y="1707282"/>
            <a:ext cx="1383934" cy="0"/>
          </a:xfrm>
          <a:custGeom>
            <a:avLst/>
            <a:gdLst/>
            <a:ahLst/>
            <a:cxnLst/>
            <a:rect l="l" t="t" r="r" b="b"/>
            <a:pathLst>
              <a:path w="1383934">
                <a:moveTo>
                  <a:pt x="0" y="0"/>
                </a:moveTo>
                <a:lnTo>
                  <a:pt x="1383934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4" name="object 194"/>
          <p:cNvSpPr/>
          <p:nvPr/>
        </p:nvSpPr>
        <p:spPr>
          <a:xfrm>
            <a:off x="5571290" y="1707282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5" name="object 195"/>
          <p:cNvSpPr/>
          <p:nvPr/>
        </p:nvSpPr>
        <p:spPr>
          <a:xfrm>
            <a:off x="5580404" y="1709853"/>
            <a:ext cx="1027387" cy="0"/>
          </a:xfrm>
          <a:custGeom>
            <a:avLst/>
            <a:gdLst/>
            <a:ahLst/>
            <a:cxnLst/>
            <a:rect l="l" t="t" r="r" b="b"/>
            <a:pathLst>
              <a:path w="1027386">
                <a:moveTo>
                  <a:pt x="0" y="0"/>
                </a:moveTo>
                <a:lnTo>
                  <a:pt x="1027386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6" name="object 196"/>
          <p:cNvSpPr/>
          <p:nvPr/>
        </p:nvSpPr>
        <p:spPr>
          <a:xfrm>
            <a:off x="5581233" y="1707282"/>
            <a:ext cx="1025729" cy="0"/>
          </a:xfrm>
          <a:custGeom>
            <a:avLst/>
            <a:gdLst/>
            <a:ahLst/>
            <a:cxnLst/>
            <a:rect l="l" t="t" r="r" b="b"/>
            <a:pathLst>
              <a:path w="1025729">
                <a:moveTo>
                  <a:pt x="0" y="0"/>
                </a:moveTo>
                <a:lnTo>
                  <a:pt x="1025729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7" name="object 197"/>
          <p:cNvSpPr/>
          <p:nvPr/>
        </p:nvSpPr>
        <p:spPr>
          <a:xfrm>
            <a:off x="6608619" y="1707282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8" name="object 198"/>
          <p:cNvSpPr/>
          <p:nvPr/>
        </p:nvSpPr>
        <p:spPr>
          <a:xfrm>
            <a:off x="6617733" y="1709853"/>
            <a:ext cx="1070802" cy="0"/>
          </a:xfrm>
          <a:custGeom>
            <a:avLst/>
            <a:gdLst/>
            <a:ahLst/>
            <a:cxnLst/>
            <a:rect l="l" t="t" r="r" b="b"/>
            <a:pathLst>
              <a:path w="1070802">
                <a:moveTo>
                  <a:pt x="0" y="0"/>
                </a:moveTo>
                <a:lnTo>
                  <a:pt x="1070802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9" name="object 199"/>
          <p:cNvSpPr/>
          <p:nvPr/>
        </p:nvSpPr>
        <p:spPr>
          <a:xfrm>
            <a:off x="6618563" y="1707282"/>
            <a:ext cx="1069228" cy="0"/>
          </a:xfrm>
          <a:custGeom>
            <a:avLst/>
            <a:gdLst/>
            <a:ahLst/>
            <a:cxnLst/>
            <a:rect l="l" t="t" r="r" b="b"/>
            <a:pathLst>
              <a:path w="1069228">
                <a:moveTo>
                  <a:pt x="0" y="0"/>
                </a:moveTo>
                <a:lnTo>
                  <a:pt x="1069228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0" name="object 200"/>
          <p:cNvSpPr/>
          <p:nvPr/>
        </p:nvSpPr>
        <p:spPr>
          <a:xfrm>
            <a:off x="7689447" y="1707282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1" name="object 201"/>
          <p:cNvSpPr/>
          <p:nvPr/>
        </p:nvSpPr>
        <p:spPr>
          <a:xfrm>
            <a:off x="2867963" y="1713452"/>
            <a:ext cx="0" cy="199514"/>
          </a:xfrm>
          <a:custGeom>
            <a:avLst/>
            <a:gdLst/>
            <a:ahLst/>
            <a:cxnLst/>
            <a:rect l="l" t="t" r="r" b="b"/>
            <a:pathLst>
              <a:path h="199514">
                <a:moveTo>
                  <a:pt x="0" y="0"/>
                </a:moveTo>
                <a:lnTo>
                  <a:pt x="0" y="199514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2" name="object 202"/>
          <p:cNvSpPr/>
          <p:nvPr/>
        </p:nvSpPr>
        <p:spPr>
          <a:xfrm>
            <a:off x="4155870" y="1713452"/>
            <a:ext cx="0" cy="199514"/>
          </a:xfrm>
          <a:custGeom>
            <a:avLst/>
            <a:gdLst/>
            <a:ahLst/>
            <a:cxnLst/>
            <a:rect l="l" t="t" r="r" b="b"/>
            <a:pathLst>
              <a:path h="199514">
                <a:moveTo>
                  <a:pt x="0" y="0"/>
                </a:moveTo>
                <a:lnTo>
                  <a:pt x="0" y="199514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3" name="object 203"/>
          <p:cNvSpPr/>
          <p:nvPr/>
        </p:nvSpPr>
        <p:spPr>
          <a:xfrm>
            <a:off x="5571290" y="1713452"/>
            <a:ext cx="0" cy="199514"/>
          </a:xfrm>
          <a:custGeom>
            <a:avLst/>
            <a:gdLst/>
            <a:ahLst/>
            <a:cxnLst/>
            <a:rect l="l" t="t" r="r" b="b"/>
            <a:pathLst>
              <a:path h="199514">
                <a:moveTo>
                  <a:pt x="0" y="0"/>
                </a:moveTo>
                <a:lnTo>
                  <a:pt x="0" y="199514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4" name="object 204"/>
          <p:cNvSpPr/>
          <p:nvPr/>
        </p:nvSpPr>
        <p:spPr>
          <a:xfrm>
            <a:off x="6608619" y="1713452"/>
            <a:ext cx="0" cy="199514"/>
          </a:xfrm>
          <a:custGeom>
            <a:avLst/>
            <a:gdLst/>
            <a:ahLst/>
            <a:cxnLst/>
            <a:rect l="l" t="t" r="r" b="b"/>
            <a:pathLst>
              <a:path h="199514">
                <a:moveTo>
                  <a:pt x="0" y="0"/>
                </a:moveTo>
                <a:lnTo>
                  <a:pt x="0" y="199514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5" name="object 205"/>
          <p:cNvSpPr/>
          <p:nvPr/>
        </p:nvSpPr>
        <p:spPr>
          <a:xfrm>
            <a:off x="7689447" y="1713452"/>
            <a:ext cx="0" cy="199514"/>
          </a:xfrm>
          <a:custGeom>
            <a:avLst/>
            <a:gdLst/>
            <a:ahLst/>
            <a:cxnLst/>
            <a:rect l="l" t="t" r="r" b="b"/>
            <a:pathLst>
              <a:path h="199514">
                <a:moveTo>
                  <a:pt x="0" y="0"/>
                </a:moveTo>
                <a:lnTo>
                  <a:pt x="0" y="199514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6" name="object 206"/>
          <p:cNvSpPr/>
          <p:nvPr/>
        </p:nvSpPr>
        <p:spPr>
          <a:xfrm>
            <a:off x="2867963" y="1913996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7" name="object 207"/>
          <p:cNvSpPr/>
          <p:nvPr/>
        </p:nvSpPr>
        <p:spPr>
          <a:xfrm>
            <a:off x="2877078" y="1916566"/>
            <a:ext cx="1277936" cy="0"/>
          </a:xfrm>
          <a:custGeom>
            <a:avLst/>
            <a:gdLst/>
            <a:ahLst/>
            <a:cxnLst/>
            <a:rect l="l" t="t" r="r" b="b"/>
            <a:pathLst>
              <a:path w="1277936">
                <a:moveTo>
                  <a:pt x="0" y="0"/>
                </a:moveTo>
                <a:lnTo>
                  <a:pt x="1277936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8" name="object 208"/>
          <p:cNvSpPr/>
          <p:nvPr/>
        </p:nvSpPr>
        <p:spPr>
          <a:xfrm>
            <a:off x="2877907" y="1913995"/>
            <a:ext cx="1276308" cy="0"/>
          </a:xfrm>
          <a:custGeom>
            <a:avLst/>
            <a:gdLst/>
            <a:ahLst/>
            <a:cxnLst/>
            <a:rect l="l" t="t" r="r" b="b"/>
            <a:pathLst>
              <a:path w="1276307">
                <a:moveTo>
                  <a:pt x="0" y="0"/>
                </a:moveTo>
                <a:lnTo>
                  <a:pt x="1276307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9" name="object 209"/>
          <p:cNvSpPr/>
          <p:nvPr/>
        </p:nvSpPr>
        <p:spPr>
          <a:xfrm>
            <a:off x="4184871" y="1916566"/>
            <a:ext cx="1385590" cy="0"/>
          </a:xfrm>
          <a:custGeom>
            <a:avLst/>
            <a:gdLst/>
            <a:ahLst/>
            <a:cxnLst/>
            <a:rect l="l" t="t" r="r" b="b"/>
            <a:pathLst>
              <a:path w="1385591">
                <a:moveTo>
                  <a:pt x="0" y="0"/>
                </a:moveTo>
                <a:lnTo>
                  <a:pt x="1385591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0" name="object 210"/>
          <p:cNvSpPr/>
          <p:nvPr/>
        </p:nvSpPr>
        <p:spPr>
          <a:xfrm>
            <a:off x="4185698" y="1913995"/>
            <a:ext cx="1383934" cy="0"/>
          </a:xfrm>
          <a:custGeom>
            <a:avLst/>
            <a:gdLst/>
            <a:ahLst/>
            <a:cxnLst/>
            <a:rect l="l" t="t" r="r" b="b"/>
            <a:pathLst>
              <a:path w="1383934">
                <a:moveTo>
                  <a:pt x="0" y="0"/>
                </a:moveTo>
                <a:lnTo>
                  <a:pt x="1383934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1" name="object 211"/>
          <p:cNvSpPr/>
          <p:nvPr/>
        </p:nvSpPr>
        <p:spPr>
          <a:xfrm>
            <a:off x="5571290" y="1913996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2" name="object 212"/>
          <p:cNvSpPr/>
          <p:nvPr/>
        </p:nvSpPr>
        <p:spPr>
          <a:xfrm>
            <a:off x="5580404" y="1916566"/>
            <a:ext cx="1027387" cy="0"/>
          </a:xfrm>
          <a:custGeom>
            <a:avLst/>
            <a:gdLst/>
            <a:ahLst/>
            <a:cxnLst/>
            <a:rect l="l" t="t" r="r" b="b"/>
            <a:pathLst>
              <a:path w="1027386">
                <a:moveTo>
                  <a:pt x="0" y="0"/>
                </a:moveTo>
                <a:lnTo>
                  <a:pt x="1027386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3" name="object 213"/>
          <p:cNvSpPr/>
          <p:nvPr/>
        </p:nvSpPr>
        <p:spPr>
          <a:xfrm>
            <a:off x="5581233" y="1913995"/>
            <a:ext cx="1025729" cy="0"/>
          </a:xfrm>
          <a:custGeom>
            <a:avLst/>
            <a:gdLst/>
            <a:ahLst/>
            <a:cxnLst/>
            <a:rect l="l" t="t" r="r" b="b"/>
            <a:pathLst>
              <a:path w="1025729">
                <a:moveTo>
                  <a:pt x="0" y="0"/>
                </a:moveTo>
                <a:lnTo>
                  <a:pt x="1025729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4" name="object 214"/>
          <p:cNvSpPr/>
          <p:nvPr/>
        </p:nvSpPr>
        <p:spPr>
          <a:xfrm>
            <a:off x="6608619" y="1913996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5" name="object 215"/>
          <p:cNvSpPr/>
          <p:nvPr/>
        </p:nvSpPr>
        <p:spPr>
          <a:xfrm>
            <a:off x="6617733" y="1916566"/>
            <a:ext cx="1070802" cy="0"/>
          </a:xfrm>
          <a:custGeom>
            <a:avLst/>
            <a:gdLst/>
            <a:ahLst/>
            <a:cxnLst/>
            <a:rect l="l" t="t" r="r" b="b"/>
            <a:pathLst>
              <a:path w="1070802">
                <a:moveTo>
                  <a:pt x="0" y="0"/>
                </a:moveTo>
                <a:lnTo>
                  <a:pt x="1070802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6" name="object 216"/>
          <p:cNvSpPr/>
          <p:nvPr/>
        </p:nvSpPr>
        <p:spPr>
          <a:xfrm>
            <a:off x="6618563" y="1913995"/>
            <a:ext cx="1069228" cy="0"/>
          </a:xfrm>
          <a:custGeom>
            <a:avLst/>
            <a:gdLst/>
            <a:ahLst/>
            <a:cxnLst/>
            <a:rect l="l" t="t" r="r" b="b"/>
            <a:pathLst>
              <a:path w="1069228">
                <a:moveTo>
                  <a:pt x="0" y="0"/>
                </a:moveTo>
                <a:lnTo>
                  <a:pt x="1069228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7" name="object 217"/>
          <p:cNvSpPr/>
          <p:nvPr/>
        </p:nvSpPr>
        <p:spPr>
          <a:xfrm>
            <a:off x="7689447" y="1913996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8" name="object 218"/>
          <p:cNvSpPr/>
          <p:nvPr/>
        </p:nvSpPr>
        <p:spPr>
          <a:xfrm>
            <a:off x="2872107" y="1295627"/>
            <a:ext cx="0" cy="2630249"/>
          </a:xfrm>
          <a:custGeom>
            <a:avLst/>
            <a:gdLst/>
            <a:ahLst/>
            <a:cxnLst/>
            <a:rect l="l" t="t" r="r" b="b"/>
            <a:pathLst>
              <a:path h="2630249">
                <a:moveTo>
                  <a:pt x="0" y="0"/>
                </a:moveTo>
                <a:lnTo>
                  <a:pt x="0" y="2630249"/>
                </a:lnTo>
              </a:path>
            </a:pathLst>
          </a:custGeom>
          <a:ln w="1121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9" name="object 219"/>
          <p:cNvSpPr/>
          <p:nvPr/>
        </p:nvSpPr>
        <p:spPr>
          <a:xfrm>
            <a:off x="2867963" y="1920167"/>
            <a:ext cx="0" cy="2005195"/>
          </a:xfrm>
          <a:custGeom>
            <a:avLst/>
            <a:gdLst/>
            <a:ahLst/>
            <a:cxnLst/>
            <a:rect l="l" t="t" r="r" b="b"/>
            <a:pathLst>
              <a:path h="2005195">
                <a:moveTo>
                  <a:pt x="0" y="0"/>
                </a:moveTo>
                <a:lnTo>
                  <a:pt x="0" y="2005195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0" name="object 220"/>
          <p:cNvSpPr/>
          <p:nvPr/>
        </p:nvSpPr>
        <p:spPr>
          <a:xfrm>
            <a:off x="4169957" y="1305476"/>
            <a:ext cx="0" cy="2620399"/>
          </a:xfrm>
          <a:custGeom>
            <a:avLst/>
            <a:gdLst/>
            <a:ahLst/>
            <a:cxnLst/>
            <a:rect l="l" t="t" r="r" b="b"/>
            <a:pathLst>
              <a:path h="2620399">
                <a:moveTo>
                  <a:pt x="0" y="0"/>
                </a:moveTo>
                <a:lnTo>
                  <a:pt x="0" y="2620399"/>
                </a:lnTo>
              </a:path>
            </a:pathLst>
          </a:custGeom>
          <a:ln w="3109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1" name="object 221"/>
          <p:cNvSpPr/>
          <p:nvPr/>
        </p:nvSpPr>
        <p:spPr>
          <a:xfrm>
            <a:off x="4155870" y="1920167"/>
            <a:ext cx="0" cy="2005195"/>
          </a:xfrm>
          <a:custGeom>
            <a:avLst/>
            <a:gdLst/>
            <a:ahLst/>
            <a:cxnLst/>
            <a:rect l="l" t="t" r="r" b="b"/>
            <a:pathLst>
              <a:path h="2005195">
                <a:moveTo>
                  <a:pt x="0" y="0"/>
                </a:moveTo>
                <a:lnTo>
                  <a:pt x="0" y="2005195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2" name="object 222"/>
          <p:cNvSpPr/>
          <p:nvPr/>
        </p:nvSpPr>
        <p:spPr>
          <a:xfrm>
            <a:off x="5274056" y="4553967"/>
            <a:ext cx="2008632" cy="389255"/>
          </a:xfrm>
          <a:custGeom>
            <a:avLst/>
            <a:gdLst/>
            <a:ahLst/>
            <a:cxnLst/>
            <a:rect l="l" t="t" r="r" b="b"/>
            <a:pathLst>
              <a:path w="2008632" h="389255">
                <a:moveTo>
                  <a:pt x="0" y="194691"/>
                </a:moveTo>
                <a:lnTo>
                  <a:pt x="13142" y="163100"/>
                </a:lnTo>
                <a:lnTo>
                  <a:pt x="51194" y="133136"/>
                </a:lnTo>
                <a:lnTo>
                  <a:pt x="112087" y="105199"/>
                </a:lnTo>
                <a:lnTo>
                  <a:pt x="150453" y="92116"/>
                </a:lnTo>
                <a:lnTo>
                  <a:pt x="193755" y="79689"/>
                </a:lnTo>
                <a:lnTo>
                  <a:pt x="241734" y="67970"/>
                </a:lnTo>
                <a:lnTo>
                  <a:pt x="294131" y="57007"/>
                </a:lnTo>
                <a:lnTo>
                  <a:pt x="350690" y="46850"/>
                </a:lnTo>
                <a:lnTo>
                  <a:pt x="411150" y="37551"/>
                </a:lnTo>
                <a:lnTo>
                  <a:pt x="475255" y="29158"/>
                </a:lnTo>
                <a:lnTo>
                  <a:pt x="542745" y="21722"/>
                </a:lnTo>
                <a:lnTo>
                  <a:pt x="613362" y="15293"/>
                </a:lnTo>
                <a:lnTo>
                  <a:pt x="686848" y="9921"/>
                </a:lnTo>
                <a:lnTo>
                  <a:pt x="762945" y="5655"/>
                </a:lnTo>
                <a:lnTo>
                  <a:pt x="841394" y="2546"/>
                </a:lnTo>
                <a:lnTo>
                  <a:pt x="921937" y="645"/>
                </a:lnTo>
                <a:lnTo>
                  <a:pt x="1004316" y="0"/>
                </a:lnTo>
                <a:lnTo>
                  <a:pt x="1086694" y="645"/>
                </a:lnTo>
                <a:lnTo>
                  <a:pt x="1167237" y="2546"/>
                </a:lnTo>
                <a:lnTo>
                  <a:pt x="1245686" y="5655"/>
                </a:lnTo>
                <a:lnTo>
                  <a:pt x="1321783" y="9921"/>
                </a:lnTo>
                <a:lnTo>
                  <a:pt x="1395269" y="15293"/>
                </a:lnTo>
                <a:lnTo>
                  <a:pt x="1465886" y="21722"/>
                </a:lnTo>
                <a:lnTo>
                  <a:pt x="1533376" y="29158"/>
                </a:lnTo>
                <a:lnTo>
                  <a:pt x="1597481" y="37551"/>
                </a:lnTo>
                <a:lnTo>
                  <a:pt x="1657941" y="46850"/>
                </a:lnTo>
                <a:lnTo>
                  <a:pt x="1714499" y="57007"/>
                </a:lnTo>
                <a:lnTo>
                  <a:pt x="1766897" y="67970"/>
                </a:lnTo>
                <a:lnTo>
                  <a:pt x="1814876" y="79689"/>
                </a:lnTo>
                <a:lnTo>
                  <a:pt x="1858178" y="92116"/>
                </a:lnTo>
                <a:lnTo>
                  <a:pt x="1896544" y="105199"/>
                </a:lnTo>
                <a:lnTo>
                  <a:pt x="1929717" y="118889"/>
                </a:lnTo>
                <a:lnTo>
                  <a:pt x="1979447" y="147890"/>
                </a:lnTo>
                <a:lnTo>
                  <a:pt x="2005303" y="178717"/>
                </a:lnTo>
                <a:lnTo>
                  <a:pt x="2008632" y="194691"/>
                </a:lnTo>
                <a:lnTo>
                  <a:pt x="2005303" y="210646"/>
                </a:lnTo>
                <a:lnTo>
                  <a:pt x="1995489" y="226247"/>
                </a:lnTo>
                <a:lnTo>
                  <a:pt x="1957437" y="256183"/>
                </a:lnTo>
                <a:lnTo>
                  <a:pt x="1896544" y="284098"/>
                </a:lnTo>
                <a:lnTo>
                  <a:pt x="1858178" y="297173"/>
                </a:lnTo>
                <a:lnTo>
                  <a:pt x="1814876" y="309592"/>
                </a:lnTo>
                <a:lnTo>
                  <a:pt x="1766897" y="321305"/>
                </a:lnTo>
                <a:lnTo>
                  <a:pt x="1714500" y="332263"/>
                </a:lnTo>
                <a:lnTo>
                  <a:pt x="1657941" y="342415"/>
                </a:lnTo>
                <a:lnTo>
                  <a:pt x="1597481" y="351711"/>
                </a:lnTo>
                <a:lnTo>
                  <a:pt x="1533376" y="360101"/>
                </a:lnTo>
                <a:lnTo>
                  <a:pt x="1465886" y="367535"/>
                </a:lnTo>
                <a:lnTo>
                  <a:pt x="1395269" y="373963"/>
                </a:lnTo>
                <a:lnTo>
                  <a:pt x="1321783" y="379334"/>
                </a:lnTo>
                <a:lnTo>
                  <a:pt x="1245686" y="383599"/>
                </a:lnTo>
                <a:lnTo>
                  <a:pt x="1167237" y="386708"/>
                </a:lnTo>
                <a:lnTo>
                  <a:pt x="1086694" y="388609"/>
                </a:lnTo>
                <a:lnTo>
                  <a:pt x="1004316" y="389255"/>
                </a:lnTo>
                <a:lnTo>
                  <a:pt x="921937" y="388609"/>
                </a:lnTo>
                <a:lnTo>
                  <a:pt x="841394" y="386708"/>
                </a:lnTo>
                <a:lnTo>
                  <a:pt x="762945" y="383599"/>
                </a:lnTo>
                <a:lnTo>
                  <a:pt x="686848" y="379334"/>
                </a:lnTo>
                <a:lnTo>
                  <a:pt x="613362" y="373963"/>
                </a:lnTo>
                <a:lnTo>
                  <a:pt x="542745" y="367535"/>
                </a:lnTo>
                <a:lnTo>
                  <a:pt x="475255" y="360101"/>
                </a:lnTo>
                <a:lnTo>
                  <a:pt x="411150" y="351711"/>
                </a:lnTo>
                <a:lnTo>
                  <a:pt x="350690" y="342415"/>
                </a:lnTo>
                <a:lnTo>
                  <a:pt x="294131" y="332263"/>
                </a:lnTo>
                <a:lnTo>
                  <a:pt x="241734" y="321305"/>
                </a:lnTo>
                <a:lnTo>
                  <a:pt x="193755" y="309592"/>
                </a:lnTo>
                <a:lnTo>
                  <a:pt x="150453" y="297173"/>
                </a:lnTo>
                <a:lnTo>
                  <a:pt x="112087" y="284098"/>
                </a:lnTo>
                <a:lnTo>
                  <a:pt x="78914" y="270418"/>
                </a:lnTo>
                <a:lnTo>
                  <a:pt x="51194" y="256183"/>
                </a:lnTo>
                <a:lnTo>
                  <a:pt x="13142" y="226247"/>
                </a:lnTo>
                <a:lnTo>
                  <a:pt x="0" y="19469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3" name="object 223"/>
          <p:cNvSpPr/>
          <p:nvPr/>
        </p:nvSpPr>
        <p:spPr>
          <a:xfrm>
            <a:off x="5269485" y="3953891"/>
            <a:ext cx="2020189" cy="788162"/>
          </a:xfrm>
          <a:custGeom>
            <a:avLst/>
            <a:gdLst/>
            <a:ahLst/>
            <a:cxnLst/>
            <a:rect l="l" t="t" r="r" b="b"/>
            <a:pathLst>
              <a:path w="2020189" h="788162">
                <a:moveTo>
                  <a:pt x="0" y="0"/>
                </a:moveTo>
                <a:lnTo>
                  <a:pt x="0" y="788162"/>
                </a:lnTo>
                <a:lnTo>
                  <a:pt x="2020189" y="788162"/>
                </a:lnTo>
                <a:lnTo>
                  <a:pt x="202018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4" name="object 224"/>
          <p:cNvSpPr/>
          <p:nvPr/>
        </p:nvSpPr>
        <p:spPr>
          <a:xfrm>
            <a:off x="5575432" y="1295627"/>
            <a:ext cx="0" cy="2630249"/>
          </a:xfrm>
          <a:custGeom>
            <a:avLst/>
            <a:gdLst/>
            <a:ahLst/>
            <a:cxnLst/>
            <a:rect l="l" t="t" r="r" b="b"/>
            <a:pathLst>
              <a:path h="2630249">
                <a:moveTo>
                  <a:pt x="0" y="0"/>
                </a:moveTo>
                <a:lnTo>
                  <a:pt x="0" y="2630249"/>
                </a:lnTo>
              </a:path>
            </a:pathLst>
          </a:custGeom>
          <a:ln w="1121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5" name="object 225"/>
          <p:cNvSpPr/>
          <p:nvPr/>
        </p:nvSpPr>
        <p:spPr>
          <a:xfrm>
            <a:off x="5571290" y="1920167"/>
            <a:ext cx="0" cy="2005195"/>
          </a:xfrm>
          <a:custGeom>
            <a:avLst/>
            <a:gdLst/>
            <a:ahLst/>
            <a:cxnLst/>
            <a:rect l="l" t="t" r="r" b="b"/>
            <a:pathLst>
              <a:path h="2005195">
                <a:moveTo>
                  <a:pt x="0" y="0"/>
                </a:moveTo>
                <a:lnTo>
                  <a:pt x="0" y="2005195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6" name="object 226"/>
          <p:cNvSpPr/>
          <p:nvPr/>
        </p:nvSpPr>
        <p:spPr>
          <a:xfrm>
            <a:off x="6612761" y="1295627"/>
            <a:ext cx="0" cy="2630249"/>
          </a:xfrm>
          <a:custGeom>
            <a:avLst/>
            <a:gdLst/>
            <a:ahLst/>
            <a:cxnLst/>
            <a:rect l="l" t="t" r="r" b="b"/>
            <a:pathLst>
              <a:path h="2630249">
                <a:moveTo>
                  <a:pt x="0" y="0"/>
                </a:moveTo>
                <a:lnTo>
                  <a:pt x="0" y="2630249"/>
                </a:lnTo>
              </a:path>
            </a:pathLst>
          </a:custGeom>
          <a:ln w="1121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7" name="object 227"/>
          <p:cNvSpPr/>
          <p:nvPr/>
        </p:nvSpPr>
        <p:spPr>
          <a:xfrm>
            <a:off x="6608619" y="1920167"/>
            <a:ext cx="0" cy="2005195"/>
          </a:xfrm>
          <a:custGeom>
            <a:avLst/>
            <a:gdLst/>
            <a:ahLst/>
            <a:cxnLst/>
            <a:rect l="l" t="t" r="r" b="b"/>
            <a:pathLst>
              <a:path h="2005195">
                <a:moveTo>
                  <a:pt x="0" y="0"/>
                </a:moveTo>
                <a:lnTo>
                  <a:pt x="0" y="2005195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8" name="object 228"/>
          <p:cNvSpPr/>
          <p:nvPr/>
        </p:nvSpPr>
        <p:spPr>
          <a:xfrm>
            <a:off x="7693590" y="1295627"/>
            <a:ext cx="0" cy="2630249"/>
          </a:xfrm>
          <a:custGeom>
            <a:avLst/>
            <a:gdLst/>
            <a:ahLst/>
            <a:cxnLst/>
            <a:rect l="l" t="t" r="r" b="b"/>
            <a:pathLst>
              <a:path h="2630249">
                <a:moveTo>
                  <a:pt x="0" y="0"/>
                </a:moveTo>
                <a:lnTo>
                  <a:pt x="0" y="2630249"/>
                </a:lnTo>
              </a:path>
            </a:pathLst>
          </a:custGeom>
          <a:ln w="1121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9" name="object 229"/>
          <p:cNvSpPr/>
          <p:nvPr/>
        </p:nvSpPr>
        <p:spPr>
          <a:xfrm>
            <a:off x="7689447" y="1920167"/>
            <a:ext cx="0" cy="2005195"/>
          </a:xfrm>
          <a:custGeom>
            <a:avLst/>
            <a:gdLst/>
            <a:ahLst/>
            <a:cxnLst/>
            <a:rect l="l" t="t" r="r" b="b"/>
            <a:pathLst>
              <a:path h="2005195">
                <a:moveTo>
                  <a:pt x="0" y="0"/>
                </a:moveTo>
                <a:lnTo>
                  <a:pt x="0" y="2005195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0" name="object 230"/>
          <p:cNvSpPr/>
          <p:nvPr/>
        </p:nvSpPr>
        <p:spPr>
          <a:xfrm>
            <a:off x="2976373" y="4551553"/>
            <a:ext cx="2011044" cy="388112"/>
          </a:xfrm>
          <a:custGeom>
            <a:avLst/>
            <a:gdLst/>
            <a:ahLst/>
            <a:cxnLst/>
            <a:rect l="l" t="t" r="r" b="b"/>
            <a:pathLst>
              <a:path w="2011044" h="388112">
                <a:moveTo>
                  <a:pt x="0" y="194056"/>
                </a:moveTo>
                <a:lnTo>
                  <a:pt x="13161" y="162575"/>
                </a:lnTo>
                <a:lnTo>
                  <a:pt x="51264" y="132713"/>
                </a:lnTo>
                <a:lnTo>
                  <a:pt x="112238" y="104869"/>
                </a:lnTo>
                <a:lnTo>
                  <a:pt x="150654" y="91829"/>
                </a:lnTo>
                <a:lnTo>
                  <a:pt x="194011" y="79443"/>
                </a:lnTo>
                <a:lnTo>
                  <a:pt x="242050" y="67760"/>
                </a:lnTo>
                <a:lnTo>
                  <a:pt x="294512" y="56832"/>
                </a:lnTo>
                <a:lnTo>
                  <a:pt x="351139" y="46708"/>
                </a:lnTo>
                <a:lnTo>
                  <a:pt x="411672" y="37437"/>
                </a:lnTo>
                <a:lnTo>
                  <a:pt x="475850" y="29070"/>
                </a:lnTo>
                <a:lnTo>
                  <a:pt x="543417" y="21657"/>
                </a:lnTo>
                <a:lnTo>
                  <a:pt x="614112" y="15247"/>
                </a:lnTo>
                <a:lnTo>
                  <a:pt x="687677" y="9891"/>
                </a:lnTo>
                <a:lnTo>
                  <a:pt x="763853" y="5638"/>
                </a:lnTo>
                <a:lnTo>
                  <a:pt x="842381" y="2539"/>
                </a:lnTo>
                <a:lnTo>
                  <a:pt x="923003" y="643"/>
                </a:lnTo>
                <a:lnTo>
                  <a:pt x="1005458" y="0"/>
                </a:lnTo>
                <a:lnTo>
                  <a:pt x="1087932" y="643"/>
                </a:lnTo>
                <a:lnTo>
                  <a:pt x="1168570" y="2539"/>
                </a:lnTo>
                <a:lnTo>
                  <a:pt x="1247113" y="5638"/>
                </a:lnTo>
                <a:lnTo>
                  <a:pt x="1323302" y="9891"/>
                </a:lnTo>
                <a:lnTo>
                  <a:pt x="1396878" y="15247"/>
                </a:lnTo>
                <a:lnTo>
                  <a:pt x="1467584" y="21657"/>
                </a:lnTo>
                <a:lnTo>
                  <a:pt x="1535159" y="29070"/>
                </a:lnTo>
                <a:lnTo>
                  <a:pt x="1599345" y="37437"/>
                </a:lnTo>
                <a:lnTo>
                  <a:pt x="1659884" y="46708"/>
                </a:lnTo>
                <a:lnTo>
                  <a:pt x="1716516" y="56832"/>
                </a:lnTo>
                <a:lnTo>
                  <a:pt x="1768982" y="67760"/>
                </a:lnTo>
                <a:lnTo>
                  <a:pt x="1817025" y="79443"/>
                </a:lnTo>
                <a:lnTo>
                  <a:pt x="1860385" y="91829"/>
                </a:lnTo>
                <a:lnTo>
                  <a:pt x="1898803" y="104869"/>
                </a:lnTo>
                <a:lnTo>
                  <a:pt x="1932021" y="118514"/>
                </a:lnTo>
                <a:lnTo>
                  <a:pt x="1981820" y="147417"/>
                </a:lnTo>
                <a:lnTo>
                  <a:pt x="2007711" y="178138"/>
                </a:lnTo>
                <a:lnTo>
                  <a:pt x="2011044" y="194056"/>
                </a:lnTo>
                <a:lnTo>
                  <a:pt x="2007711" y="209973"/>
                </a:lnTo>
                <a:lnTo>
                  <a:pt x="1997883" y="225536"/>
                </a:lnTo>
                <a:lnTo>
                  <a:pt x="1959779" y="255398"/>
                </a:lnTo>
                <a:lnTo>
                  <a:pt x="1898803" y="283242"/>
                </a:lnTo>
                <a:lnTo>
                  <a:pt x="1860385" y="296282"/>
                </a:lnTo>
                <a:lnTo>
                  <a:pt x="1817025" y="308668"/>
                </a:lnTo>
                <a:lnTo>
                  <a:pt x="1768982" y="320351"/>
                </a:lnTo>
                <a:lnTo>
                  <a:pt x="1716516" y="331279"/>
                </a:lnTo>
                <a:lnTo>
                  <a:pt x="1659884" y="341403"/>
                </a:lnTo>
                <a:lnTo>
                  <a:pt x="1599345" y="350674"/>
                </a:lnTo>
                <a:lnTo>
                  <a:pt x="1535159" y="359041"/>
                </a:lnTo>
                <a:lnTo>
                  <a:pt x="1467584" y="366454"/>
                </a:lnTo>
                <a:lnTo>
                  <a:pt x="1396878" y="372864"/>
                </a:lnTo>
                <a:lnTo>
                  <a:pt x="1323302" y="378220"/>
                </a:lnTo>
                <a:lnTo>
                  <a:pt x="1247113" y="382473"/>
                </a:lnTo>
                <a:lnTo>
                  <a:pt x="1168570" y="385572"/>
                </a:lnTo>
                <a:lnTo>
                  <a:pt x="1087932" y="387468"/>
                </a:lnTo>
                <a:lnTo>
                  <a:pt x="1005458" y="388112"/>
                </a:lnTo>
                <a:lnTo>
                  <a:pt x="923003" y="387468"/>
                </a:lnTo>
                <a:lnTo>
                  <a:pt x="842381" y="385572"/>
                </a:lnTo>
                <a:lnTo>
                  <a:pt x="763853" y="382473"/>
                </a:lnTo>
                <a:lnTo>
                  <a:pt x="687677" y="378220"/>
                </a:lnTo>
                <a:lnTo>
                  <a:pt x="614112" y="372864"/>
                </a:lnTo>
                <a:lnTo>
                  <a:pt x="543417" y="366454"/>
                </a:lnTo>
                <a:lnTo>
                  <a:pt x="475850" y="359041"/>
                </a:lnTo>
                <a:lnTo>
                  <a:pt x="411672" y="350674"/>
                </a:lnTo>
                <a:lnTo>
                  <a:pt x="351139" y="341403"/>
                </a:lnTo>
                <a:lnTo>
                  <a:pt x="294512" y="331279"/>
                </a:lnTo>
                <a:lnTo>
                  <a:pt x="242050" y="320351"/>
                </a:lnTo>
                <a:lnTo>
                  <a:pt x="194011" y="308668"/>
                </a:lnTo>
                <a:lnTo>
                  <a:pt x="150654" y="296282"/>
                </a:lnTo>
                <a:lnTo>
                  <a:pt x="112238" y="283242"/>
                </a:lnTo>
                <a:lnTo>
                  <a:pt x="79021" y="269597"/>
                </a:lnTo>
                <a:lnTo>
                  <a:pt x="51264" y="255398"/>
                </a:lnTo>
                <a:lnTo>
                  <a:pt x="13161" y="225536"/>
                </a:lnTo>
                <a:lnTo>
                  <a:pt x="0" y="19405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1" name="object 231"/>
          <p:cNvSpPr/>
          <p:nvPr/>
        </p:nvSpPr>
        <p:spPr>
          <a:xfrm>
            <a:off x="2953513" y="3941953"/>
            <a:ext cx="2043049" cy="791718"/>
          </a:xfrm>
          <a:custGeom>
            <a:avLst/>
            <a:gdLst/>
            <a:ahLst/>
            <a:cxnLst/>
            <a:rect l="l" t="t" r="r" b="b"/>
            <a:pathLst>
              <a:path w="2043049" h="791718">
                <a:moveTo>
                  <a:pt x="0" y="0"/>
                </a:moveTo>
                <a:lnTo>
                  <a:pt x="0" y="791718"/>
                </a:lnTo>
                <a:lnTo>
                  <a:pt x="2043049" y="791718"/>
                </a:lnTo>
                <a:lnTo>
                  <a:pt x="204304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2" name="object 232"/>
          <p:cNvSpPr/>
          <p:nvPr/>
        </p:nvSpPr>
        <p:spPr>
          <a:xfrm>
            <a:off x="2969514" y="3938397"/>
            <a:ext cx="0" cy="802513"/>
          </a:xfrm>
          <a:custGeom>
            <a:avLst/>
            <a:gdLst/>
            <a:ahLst/>
            <a:cxnLst/>
            <a:rect l="l" t="t" r="r" b="b"/>
            <a:pathLst>
              <a:path h="802513">
                <a:moveTo>
                  <a:pt x="0" y="0"/>
                </a:moveTo>
                <a:lnTo>
                  <a:pt x="0" y="80251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3" name="object 233"/>
          <p:cNvSpPr/>
          <p:nvPr/>
        </p:nvSpPr>
        <p:spPr>
          <a:xfrm>
            <a:off x="5001133" y="3938397"/>
            <a:ext cx="0" cy="802513"/>
          </a:xfrm>
          <a:custGeom>
            <a:avLst/>
            <a:gdLst/>
            <a:ahLst/>
            <a:cxnLst/>
            <a:rect l="l" t="t" r="r" b="b"/>
            <a:pathLst>
              <a:path h="802513">
                <a:moveTo>
                  <a:pt x="0" y="0"/>
                </a:moveTo>
                <a:lnTo>
                  <a:pt x="0" y="80251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4" name="object 234"/>
          <p:cNvSpPr/>
          <p:nvPr/>
        </p:nvSpPr>
        <p:spPr>
          <a:xfrm>
            <a:off x="2924556" y="3722117"/>
            <a:ext cx="2112265" cy="48310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5" name="object 235"/>
          <p:cNvSpPr/>
          <p:nvPr/>
        </p:nvSpPr>
        <p:spPr>
          <a:xfrm>
            <a:off x="2971801" y="3749040"/>
            <a:ext cx="2017902" cy="38823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6" name="object 236"/>
          <p:cNvSpPr/>
          <p:nvPr/>
        </p:nvSpPr>
        <p:spPr>
          <a:xfrm>
            <a:off x="2971801" y="3749040"/>
            <a:ext cx="2017902" cy="388238"/>
          </a:xfrm>
          <a:custGeom>
            <a:avLst/>
            <a:gdLst/>
            <a:ahLst/>
            <a:cxnLst/>
            <a:rect l="l" t="t" r="r" b="b"/>
            <a:pathLst>
              <a:path w="2017902" h="388238">
                <a:moveTo>
                  <a:pt x="0" y="194056"/>
                </a:moveTo>
                <a:lnTo>
                  <a:pt x="13205" y="162575"/>
                </a:lnTo>
                <a:lnTo>
                  <a:pt x="51438" y="132713"/>
                </a:lnTo>
                <a:lnTo>
                  <a:pt x="112618" y="104869"/>
                </a:lnTo>
                <a:lnTo>
                  <a:pt x="151165" y="91829"/>
                </a:lnTo>
                <a:lnTo>
                  <a:pt x="194669" y="79443"/>
                </a:lnTo>
                <a:lnTo>
                  <a:pt x="242872" y="67760"/>
                </a:lnTo>
                <a:lnTo>
                  <a:pt x="295513" y="56832"/>
                </a:lnTo>
                <a:lnTo>
                  <a:pt x="352332" y="46708"/>
                </a:lnTo>
                <a:lnTo>
                  <a:pt x="413071" y="37437"/>
                </a:lnTo>
                <a:lnTo>
                  <a:pt x="477468" y="29070"/>
                </a:lnTo>
                <a:lnTo>
                  <a:pt x="545265" y="21657"/>
                </a:lnTo>
                <a:lnTo>
                  <a:pt x="616202" y="15247"/>
                </a:lnTo>
                <a:lnTo>
                  <a:pt x="690018" y="9891"/>
                </a:lnTo>
                <a:lnTo>
                  <a:pt x="766454" y="5638"/>
                </a:lnTo>
                <a:lnTo>
                  <a:pt x="845251" y="2539"/>
                </a:lnTo>
                <a:lnTo>
                  <a:pt x="926149" y="643"/>
                </a:lnTo>
                <a:lnTo>
                  <a:pt x="1008888" y="0"/>
                </a:lnTo>
                <a:lnTo>
                  <a:pt x="1091644" y="643"/>
                </a:lnTo>
                <a:lnTo>
                  <a:pt x="1172558" y="2539"/>
                </a:lnTo>
                <a:lnTo>
                  <a:pt x="1251370" y="5638"/>
                </a:lnTo>
                <a:lnTo>
                  <a:pt x="1327819" y="9891"/>
                </a:lnTo>
                <a:lnTo>
                  <a:pt x="1401647" y="15247"/>
                </a:lnTo>
                <a:lnTo>
                  <a:pt x="1472593" y="21657"/>
                </a:lnTo>
                <a:lnTo>
                  <a:pt x="1540399" y="29070"/>
                </a:lnTo>
                <a:lnTo>
                  <a:pt x="1604804" y="37437"/>
                </a:lnTo>
                <a:lnTo>
                  <a:pt x="1665549" y="46708"/>
                </a:lnTo>
                <a:lnTo>
                  <a:pt x="1722373" y="56832"/>
                </a:lnTo>
                <a:lnTo>
                  <a:pt x="1775019" y="67760"/>
                </a:lnTo>
                <a:lnTo>
                  <a:pt x="1823225" y="79443"/>
                </a:lnTo>
                <a:lnTo>
                  <a:pt x="1866732" y="91829"/>
                </a:lnTo>
                <a:lnTo>
                  <a:pt x="1905280" y="104869"/>
                </a:lnTo>
                <a:lnTo>
                  <a:pt x="1938611" y="118514"/>
                </a:lnTo>
                <a:lnTo>
                  <a:pt x="1988579" y="147417"/>
                </a:lnTo>
                <a:lnTo>
                  <a:pt x="2014558" y="178138"/>
                </a:lnTo>
                <a:lnTo>
                  <a:pt x="2017902" y="194056"/>
                </a:lnTo>
                <a:lnTo>
                  <a:pt x="2014558" y="209974"/>
                </a:lnTo>
                <a:lnTo>
                  <a:pt x="2004697" y="225539"/>
                </a:lnTo>
                <a:lnTo>
                  <a:pt x="1966463" y="255411"/>
                </a:lnTo>
                <a:lnTo>
                  <a:pt x="1905280" y="283269"/>
                </a:lnTo>
                <a:lnTo>
                  <a:pt x="1866732" y="296318"/>
                </a:lnTo>
                <a:lnTo>
                  <a:pt x="1823225" y="308713"/>
                </a:lnTo>
                <a:lnTo>
                  <a:pt x="1775019" y="320405"/>
                </a:lnTo>
                <a:lnTo>
                  <a:pt x="1722373" y="331343"/>
                </a:lnTo>
                <a:lnTo>
                  <a:pt x="1665549" y="341476"/>
                </a:lnTo>
                <a:lnTo>
                  <a:pt x="1604804" y="350756"/>
                </a:lnTo>
                <a:lnTo>
                  <a:pt x="1540399" y="359132"/>
                </a:lnTo>
                <a:lnTo>
                  <a:pt x="1472593" y="366554"/>
                </a:lnTo>
                <a:lnTo>
                  <a:pt x="1401647" y="372971"/>
                </a:lnTo>
                <a:lnTo>
                  <a:pt x="1327819" y="378334"/>
                </a:lnTo>
                <a:lnTo>
                  <a:pt x="1251370" y="382592"/>
                </a:lnTo>
                <a:lnTo>
                  <a:pt x="1172558" y="385695"/>
                </a:lnTo>
                <a:lnTo>
                  <a:pt x="1091644" y="387594"/>
                </a:lnTo>
                <a:lnTo>
                  <a:pt x="1008888" y="388238"/>
                </a:lnTo>
                <a:lnTo>
                  <a:pt x="926149" y="387594"/>
                </a:lnTo>
                <a:lnTo>
                  <a:pt x="845251" y="385695"/>
                </a:lnTo>
                <a:lnTo>
                  <a:pt x="766454" y="382592"/>
                </a:lnTo>
                <a:lnTo>
                  <a:pt x="690018" y="378334"/>
                </a:lnTo>
                <a:lnTo>
                  <a:pt x="616202" y="372971"/>
                </a:lnTo>
                <a:lnTo>
                  <a:pt x="545265" y="366554"/>
                </a:lnTo>
                <a:lnTo>
                  <a:pt x="477468" y="359132"/>
                </a:lnTo>
                <a:lnTo>
                  <a:pt x="413071" y="350756"/>
                </a:lnTo>
                <a:lnTo>
                  <a:pt x="352332" y="341476"/>
                </a:lnTo>
                <a:lnTo>
                  <a:pt x="295513" y="331343"/>
                </a:lnTo>
                <a:lnTo>
                  <a:pt x="242872" y="320405"/>
                </a:lnTo>
                <a:lnTo>
                  <a:pt x="194669" y="308713"/>
                </a:lnTo>
                <a:lnTo>
                  <a:pt x="151165" y="296318"/>
                </a:lnTo>
                <a:lnTo>
                  <a:pt x="112618" y="283269"/>
                </a:lnTo>
                <a:lnTo>
                  <a:pt x="79289" y="269617"/>
                </a:lnTo>
                <a:lnTo>
                  <a:pt x="51438" y="255411"/>
                </a:lnTo>
                <a:lnTo>
                  <a:pt x="13205" y="225539"/>
                </a:lnTo>
                <a:lnTo>
                  <a:pt x="0" y="194056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7" name="object 237"/>
          <p:cNvSpPr/>
          <p:nvPr/>
        </p:nvSpPr>
        <p:spPr>
          <a:xfrm>
            <a:off x="3091055" y="4487291"/>
            <a:ext cx="1822956" cy="133350"/>
          </a:xfrm>
          <a:custGeom>
            <a:avLst/>
            <a:gdLst/>
            <a:ahLst/>
            <a:cxnLst/>
            <a:rect l="l" t="t" r="r" b="b"/>
            <a:pathLst>
              <a:path w="1822957" h="133350">
                <a:moveTo>
                  <a:pt x="0" y="133350"/>
                </a:moveTo>
                <a:lnTo>
                  <a:pt x="1822957" y="133350"/>
                </a:lnTo>
                <a:lnTo>
                  <a:pt x="1822957" y="0"/>
                </a:lnTo>
                <a:lnTo>
                  <a:pt x="0" y="0"/>
                </a:lnTo>
                <a:lnTo>
                  <a:pt x="0" y="13335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8" name="object 238"/>
          <p:cNvSpPr/>
          <p:nvPr/>
        </p:nvSpPr>
        <p:spPr>
          <a:xfrm>
            <a:off x="3629914" y="4488434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9" name="object 239"/>
          <p:cNvSpPr/>
          <p:nvPr/>
        </p:nvSpPr>
        <p:spPr>
          <a:xfrm>
            <a:off x="3950970" y="4488434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0" name="object 240"/>
          <p:cNvSpPr/>
          <p:nvPr/>
        </p:nvSpPr>
        <p:spPr>
          <a:xfrm>
            <a:off x="4485259" y="4488434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1" name="object 241"/>
          <p:cNvSpPr/>
          <p:nvPr/>
        </p:nvSpPr>
        <p:spPr>
          <a:xfrm>
            <a:off x="3093339" y="4166920"/>
            <a:ext cx="1822958" cy="132156"/>
          </a:xfrm>
          <a:custGeom>
            <a:avLst/>
            <a:gdLst/>
            <a:ahLst/>
            <a:cxnLst/>
            <a:rect l="l" t="t" r="r" b="b"/>
            <a:pathLst>
              <a:path w="1822958" h="132156">
                <a:moveTo>
                  <a:pt x="0" y="132156"/>
                </a:moveTo>
                <a:lnTo>
                  <a:pt x="1822958" y="132156"/>
                </a:lnTo>
                <a:lnTo>
                  <a:pt x="1822958" y="0"/>
                </a:lnTo>
                <a:lnTo>
                  <a:pt x="0" y="0"/>
                </a:lnTo>
                <a:lnTo>
                  <a:pt x="0" y="13215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2" name="object 242"/>
          <p:cNvSpPr/>
          <p:nvPr/>
        </p:nvSpPr>
        <p:spPr>
          <a:xfrm>
            <a:off x="3632201" y="4166998"/>
            <a:ext cx="0" cy="145287"/>
          </a:xfrm>
          <a:custGeom>
            <a:avLst/>
            <a:gdLst/>
            <a:ahLst/>
            <a:cxnLst/>
            <a:rect l="l" t="t" r="r" b="b"/>
            <a:pathLst>
              <a:path h="145287">
                <a:moveTo>
                  <a:pt x="0" y="0"/>
                </a:moveTo>
                <a:lnTo>
                  <a:pt x="0" y="1452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3" name="object 243"/>
          <p:cNvSpPr/>
          <p:nvPr/>
        </p:nvSpPr>
        <p:spPr>
          <a:xfrm>
            <a:off x="3953254" y="4166998"/>
            <a:ext cx="0" cy="145287"/>
          </a:xfrm>
          <a:custGeom>
            <a:avLst/>
            <a:gdLst/>
            <a:ahLst/>
            <a:cxnLst/>
            <a:rect l="l" t="t" r="r" b="b"/>
            <a:pathLst>
              <a:path h="145287">
                <a:moveTo>
                  <a:pt x="0" y="0"/>
                </a:moveTo>
                <a:lnTo>
                  <a:pt x="0" y="1452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4" name="object 244"/>
          <p:cNvSpPr/>
          <p:nvPr/>
        </p:nvSpPr>
        <p:spPr>
          <a:xfrm>
            <a:off x="4487545" y="4166998"/>
            <a:ext cx="0" cy="145287"/>
          </a:xfrm>
          <a:custGeom>
            <a:avLst/>
            <a:gdLst/>
            <a:ahLst/>
            <a:cxnLst/>
            <a:rect l="l" t="t" r="r" b="b"/>
            <a:pathLst>
              <a:path h="145287">
                <a:moveTo>
                  <a:pt x="0" y="0"/>
                </a:moveTo>
                <a:lnTo>
                  <a:pt x="0" y="1452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5" name="object 245"/>
          <p:cNvSpPr/>
          <p:nvPr/>
        </p:nvSpPr>
        <p:spPr>
          <a:xfrm>
            <a:off x="7603744" y="4549140"/>
            <a:ext cx="2011046" cy="392938"/>
          </a:xfrm>
          <a:custGeom>
            <a:avLst/>
            <a:gdLst/>
            <a:ahLst/>
            <a:cxnLst/>
            <a:rect l="l" t="t" r="r" b="b"/>
            <a:pathLst>
              <a:path w="2011045" h="392938">
                <a:moveTo>
                  <a:pt x="0" y="196469"/>
                </a:moveTo>
                <a:lnTo>
                  <a:pt x="13161" y="164612"/>
                </a:lnTo>
                <a:lnTo>
                  <a:pt x="51265" y="134388"/>
                </a:lnTo>
                <a:lnTo>
                  <a:pt x="112241" y="106201"/>
                </a:lnTo>
                <a:lnTo>
                  <a:pt x="150659" y="92999"/>
                </a:lnTo>
                <a:lnTo>
                  <a:pt x="194019" y="80458"/>
                </a:lnTo>
                <a:lnTo>
                  <a:pt x="242062" y="68629"/>
                </a:lnTo>
                <a:lnTo>
                  <a:pt x="294528" y="57562"/>
                </a:lnTo>
                <a:lnTo>
                  <a:pt x="351160" y="47309"/>
                </a:lnTo>
                <a:lnTo>
                  <a:pt x="411699" y="37921"/>
                </a:lnTo>
                <a:lnTo>
                  <a:pt x="475885" y="29447"/>
                </a:lnTo>
                <a:lnTo>
                  <a:pt x="543460" y="21938"/>
                </a:lnTo>
                <a:lnTo>
                  <a:pt x="614166" y="15446"/>
                </a:lnTo>
                <a:lnTo>
                  <a:pt x="687742" y="10020"/>
                </a:lnTo>
                <a:lnTo>
                  <a:pt x="763931" y="5712"/>
                </a:lnTo>
                <a:lnTo>
                  <a:pt x="842474" y="2572"/>
                </a:lnTo>
                <a:lnTo>
                  <a:pt x="923112" y="651"/>
                </a:lnTo>
                <a:lnTo>
                  <a:pt x="1005585" y="0"/>
                </a:lnTo>
                <a:lnTo>
                  <a:pt x="1088041" y="651"/>
                </a:lnTo>
                <a:lnTo>
                  <a:pt x="1168663" y="2572"/>
                </a:lnTo>
                <a:lnTo>
                  <a:pt x="1247191" y="5712"/>
                </a:lnTo>
                <a:lnTo>
                  <a:pt x="1323367" y="10020"/>
                </a:lnTo>
                <a:lnTo>
                  <a:pt x="1396932" y="15446"/>
                </a:lnTo>
                <a:lnTo>
                  <a:pt x="1467627" y="21938"/>
                </a:lnTo>
                <a:lnTo>
                  <a:pt x="1535194" y="29447"/>
                </a:lnTo>
                <a:lnTo>
                  <a:pt x="1599372" y="37921"/>
                </a:lnTo>
                <a:lnTo>
                  <a:pt x="1659905" y="47309"/>
                </a:lnTo>
                <a:lnTo>
                  <a:pt x="1716531" y="57562"/>
                </a:lnTo>
                <a:lnTo>
                  <a:pt x="1768994" y="68629"/>
                </a:lnTo>
                <a:lnTo>
                  <a:pt x="1817033" y="80458"/>
                </a:lnTo>
                <a:lnTo>
                  <a:pt x="1860390" y="92999"/>
                </a:lnTo>
                <a:lnTo>
                  <a:pt x="1898806" y="106201"/>
                </a:lnTo>
                <a:lnTo>
                  <a:pt x="1932023" y="120014"/>
                </a:lnTo>
                <a:lnTo>
                  <a:pt x="1981820" y="149271"/>
                </a:lnTo>
                <a:lnTo>
                  <a:pt x="2007711" y="180362"/>
                </a:lnTo>
                <a:lnTo>
                  <a:pt x="2011045" y="196469"/>
                </a:lnTo>
                <a:lnTo>
                  <a:pt x="2007711" y="212575"/>
                </a:lnTo>
                <a:lnTo>
                  <a:pt x="1997883" y="228325"/>
                </a:lnTo>
                <a:lnTo>
                  <a:pt x="1959780" y="258549"/>
                </a:lnTo>
                <a:lnTo>
                  <a:pt x="1898806" y="286736"/>
                </a:lnTo>
                <a:lnTo>
                  <a:pt x="1860390" y="299938"/>
                </a:lnTo>
                <a:lnTo>
                  <a:pt x="1817033" y="312479"/>
                </a:lnTo>
                <a:lnTo>
                  <a:pt x="1768994" y="324308"/>
                </a:lnTo>
                <a:lnTo>
                  <a:pt x="1716531" y="335375"/>
                </a:lnTo>
                <a:lnTo>
                  <a:pt x="1659905" y="345628"/>
                </a:lnTo>
                <a:lnTo>
                  <a:pt x="1599372" y="355016"/>
                </a:lnTo>
                <a:lnTo>
                  <a:pt x="1535194" y="363490"/>
                </a:lnTo>
                <a:lnTo>
                  <a:pt x="1467627" y="370999"/>
                </a:lnTo>
                <a:lnTo>
                  <a:pt x="1396932" y="377491"/>
                </a:lnTo>
                <a:lnTo>
                  <a:pt x="1323367" y="382917"/>
                </a:lnTo>
                <a:lnTo>
                  <a:pt x="1247191" y="387225"/>
                </a:lnTo>
                <a:lnTo>
                  <a:pt x="1168663" y="390365"/>
                </a:lnTo>
                <a:lnTo>
                  <a:pt x="1088041" y="392286"/>
                </a:lnTo>
                <a:lnTo>
                  <a:pt x="1005585" y="392938"/>
                </a:lnTo>
                <a:lnTo>
                  <a:pt x="923112" y="392286"/>
                </a:lnTo>
                <a:lnTo>
                  <a:pt x="842474" y="390365"/>
                </a:lnTo>
                <a:lnTo>
                  <a:pt x="763931" y="387225"/>
                </a:lnTo>
                <a:lnTo>
                  <a:pt x="687742" y="382917"/>
                </a:lnTo>
                <a:lnTo>
                  <a:pt x="614166" y="377491"/>
                </a:lnTo>
                <a:lnTo>
                  <a:pt x="543460" y="370999"/>
                </a:lnTo>
                <a:lnTo>
                  <a:pt x="475885" y="363490"/>
                </a:lnTo>
                <a:lnTo>
                  <a:pt x="411699" y="355016"/>
                </a:lnTo>
                <a:lnTo>
                  <a:pt x="351160" y="345628"/>
                </a:lnTo>
                <a:lnTo>
                  <a:pt x="294528" y="335375"/>
                </a:lnTo>
                <a:lnTo>
                  <a:pt x="242062" y="324308"/>
                </a:lnTo>
                <a:lnTo>
                  <a:pt x="194019" y="312479"/>
                </a:lnTo>
                <a:lnTo>
                  <a:pt x="150659" y="299938"/>
                </a:lnTo>
                <a:lnTo>
                  <a:pt x="112241" y="286736"/>
                </a:lnTo>
                <a:lnTo>
                  <a:pt x="79023" y="272922"/>
                </a:lnTo>
                <a:lnTo>
                  <a:pt x="51265" y="258549"/>
                </a:lnTo>
                <a:lnTo>
                  <a:pt x="13161" y="228325"/>
                </a:lnTo>
                <a:lnTo>
                  <a:pt x="0" y="19646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6" name="object 246"/>
          <p:cNvSpPr/>
          <p:nvPr/>
        </p:nvSpPr>
        <p:spPr>
          <a:xfrm>
            <a:off x="7603744" y="3944367"/>
            <a:ext cx="2017902" cy="794131"/>
          </a:xfrm>
          <a:custGeom>
            <a:avLst/>
            <a:gdLst/>
            <a:ahLst/>
            <a:cxnLst/>
            <a:rect l="l" t="t" r="r" b="b"/>
            <a:pathLst>
              <a:path w="2017902" h="794131">
                <a:moveTo>
                  <a:pt x="0" y="0"/>
                </a:moveTo>
                <a:lnTo>
                  <a:pt x="0" y="794131"/>
                </a:lnTo>
                <a:lnTo>
                  <a:pt x="2017902" y="794131"/>
                </a:lnTo>
                <a:lnTo>
                  <a:pt x="2017902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7" name="object 247"/>
          <p:cNvSpPr/>
          <p:nvPr/>
        </p:nvSpPr>
        <p:spPr>
          <a:xfrm>
            <a:off x="7587741" y="3940810"/>
            <a:ext cx="0" cy="808355"/>
          </a:xfrm>
          <a:custGeom>
            <a:avLst/>
            <a:gdLst/>
            <a:ahLst/>
            <a:cxnLst/>
            <a:rect l="l" t="t" r="r" b="b"/>
            <a:pathLst>
              <a:path h="808354">
                <a:moveTo>
                  <a:pt x="0" y="0"/>
                </a:moveTo>
                <a:lnTo>
                  <a:pt x="0" y="80835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8" name="object 248"/>
          <p:cNvSpPr/>
          <p:nvPr/>
        </p:nvSpPr>
        <p:spPr>
          <a:xfrm>
            <a:off x="9626219" y="3940810"/>
            <a:ext cx="0" cy="808355"/>
          </a:xfrm>
          <a:custGeom>
            <a:avLst/>
            <a:gdLst/>
            <a:ahLst/>
            <a:cxnLst/>
            <a:rect l="l" t="t" r="r" b="b"/>
            <a:pathLst>
              <a:path h="808354">
                <a:moveTo>
                  <a:pt x="0" y="0"/>
                </a:moveTo>
                <a:lnTo>
                  <a:pt x="0" y="80835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9" name="object 249"/>
          <p:cNvSpPr/>
          <p:nvPr/>
        </p:nvSpPr>
        <p:spPr>
          <a:xfrm>
            <a:off x="7549896" y="3722116"/>
            <a:ext cx="2112263" cy="48768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0" name="object 250"/>
          <p:cNvSpPr/>
          <p:nvPr/>
        </p:nvSpPr>
        <p:spPr>
          <a:xfrm>
            <a:off x="7596885" y="3749040"/>
            <a:ext cx="2017903" cy="39293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1" name="object 251"/>
          <p:cNvSpPr/>
          <p:nvPr/>
        </p:nvSpPr>
        <p:spPr>
          <a:xfrm>
            <a:off x="7596885" y="3749040"/>
            <a:ext cx="2017903" cy="392938"/>
          </a:xfrm>
          <a:custGeom>
            <a:avLst/>
            <a:gdLst/>
            <a:ahLst/>
            <a:cxnLst/>
            <a:rect l="l" t="t" r="r" b="b"/>
            <a:pathLst>
              <a:path w="2017903" h="392938">
                <a:moveTo>
                  <a:pt x="0" y="196469"/>
                </a:moveTo>
                <a:lnTo>
                  <a:pt x="13205" y="164612"/>
                </a:lnTo>
                <a:lnTo>
                  <a:pt x="51439" y="134388"/>
                </a:lnTo>
                <a:lnTo>
                  <a:pt x="112622" y="106201"/>
                </a:lnTo>
                <a:lnTo>
                  <a:pt x="151170" y="92999"/>
                </a:lnTo>
                <a:lnTo>
                  <a:pt x="194677" y="80458"/>
                </a:lnTo>
                <a:lnTo>
                  <a:pt x="242883" y="68629"/>
                </a:lnTo>
                <a:lnTo>
                  <a:pt x="295528" y="57562"/>
                </a:lnTo>
                <a:lnTo>
                  <a:pt x="352353" y="47309"/>
                </a:lnTo>
                <a:lnTo>
                  <a:pt x="413098" y="37921"/>
                </a:lnTo>
                <a:lnTo>
                  <a:pt x="477503" y="29447"/>
                </a:lnTo>
                <a:lnTo>
                  <a:pt x="545309" y="21938"/>
                </a:lnTo>
                <a:lnTo>
                  <a:pt x="616255" y="15446"/>
                </a:lnTo>
                <a:lnTo>
                  <a:pt x="690083" y="10020"/>
                </a:lnTo>
                <a:lnTo>
                  <a:pt x="766532" y="5712"/>
                </a:lnTo>
                <a:lnTo>
                  <a:pt x="845344" y="2572"/>
                </a:lnTo>
                <a:lnTo>
                  <a:pt x="926258" y="651"/>
                </a:lnTo>
                <a:lnTo>
                  <a:pt x="1009015" y="0"/>
                </a:lnTo>
                <a:lnTo>
                  <a:pt x="1091753" y="651"/>
                </a:lnTo>
                <a:lnTo>
                  <a:pt x="1172651" y="2572"/>
                </a:lnTo>
                <a:lnTo>
                  <a:pt x="1251448" y="5712"/>
                </a:lnTo>
                <a:lnTo>
                  <a:pt x="1327884" y="10020"/>
                </a:lnTo>
                <a:lnTo>
                  <a:pt x="1401700" y="15446"/>
                </a:lnTo>
                <a:lnTo>
                  <a:pt x="1472637" y="21938"/>
                </a:lnTo>
                <a:lnTo>
                  <a:pt x="1540434" y="29447"/>
                </a:lnTo>
                <a:lnTo>
                  <a:pt x="1604831" y="37921"/>
                </a:lnTo>
                <a:lnTo>
                  <a:pt x="1665570" y="47309"/>
                </a:lnTo>
                <a:lnTo>
                  <a:pt x="1722389" y="57562"/>
                </a:lnTo>
                <a:lnTo>
                  <a:pt x="1775030" y="68629"/>
                </a:lnTo>
                <a:lnTo>
                  <a:pt x="1823233" y="80458"/>
                </a:lnTo>
                <a:lnTo>
                  <a:pt x="1866737" y="92999"/>
                </a:lnTo>
                <a:lnTo>
                  <a:pt x="1905284" y="106201"/>
                </a:lnTo>
                <a:lnTo>
                  <a:pt x="1938613" y="120014"/>
                </a:lnTo>
                <a:lnTo>
                  <a:pt x="1988579" y="149271"/>
                </a:lnTo>
                <a:lnTo>
                  <a:pt x="2014558" y="180362"/>
                </a:lnTo>
                <a:lnTo>
                  <a:pt x="2017903" y="196469"/>
                </a:lnTo>
                <a:lnTo>
                  <a:pt x="2014558" y="212575"/>
                </a:lnTo>
                <a:lnTo>
                  <a:pt x="2004697" y="228325"/>
                </a:lnTo>
                <a:lnTo>
                  <a:pt x="1966464" y="258549"/>
                </a:lnTo>
                <a:lnTo>
                  <a:pt x="1905284" y="286736"/>
                </a:lnTo>
                <a:lnTo>
                  <a:pt x="1866737" y="299938"/>
                </a:lnTo>
                <a:lnTo>
                  <a:pt x="1823233" y="312479"/>
                </a:lnTo>
                <a:lnTo>
                  <a:pt x="1775030" y="324308"/>
                </a:lnTo>
                <a:lnTo>
                  <a:pt x="1722389" y="335375"/>
                </a:lnTo>
                <a:lnTo>
                  <a:pt x="1665570" y="345628"/>
                </a:lnTo>
                <a:lnTo>
                  <a:pt x="1604831" y="355016"/>
                </a:lnTo>
                <a:lnTo>
                  <a:pt x="1540434" y="363490"/>
                </a:lnTo>
                <a:lnTo>
                  <a:pt x="1472637" y="370999"/>
                </a:lnTo>
                <a:lnTo>
                  <a:pt x="1401700" y="377491"/>
                </a:lnTo>
                <a:lnTo>
                  <a:pt x="1327884" y="382917"/>
                </a:lnTo>
                <a:lnTo>
                  <a:pt x="1251448" y="387225"/>
                </a:lnTo>
                <a:lnTo>
                  <a:pt x="1172651" y="390365"/>
                </a:lnTo>
                <a:lnTo>
                  <a:pt x="1091753" y="392286"/>
                </a:lnTo>
                <a:lnTo>
                  <a:pt x="1009015" y="392938"/>
                </a:lnTo>
                <a:lnTo>
                  <a:pt x="926258" y="392286"/>
                </a:lnTo>
                <a:lnTo>
                  <a:pt x="845344" y="390365"/>
                </a:lnTo>
                <a:lnTo>
                  <a:pt x="766532" y="387225"/>
                </a:lnTo>
                <a:lnTo>
                  <a:pt x="690083" y="382917"/>
                </a:lnTo>
                <a:lnTo>
                  <a:pt x="616255" y="377491"/>
                </a:lnTo>
                <a:lnTo>
                  <a:pt x="545309" y="370999"/>
                </a:lnTo>
                <a:lnTo>
                  <a:pt x="477503" y="363490"/>
                </a:lnTo>
                <a:lnTo>
                  <a:pt x="413098" y="355016"/>
                </a:lnTo>
                <a:lnTo>
                  <a:pt x="352353" y="345628"/>
                </a:lnTo>
                <a:lnTo>
                  <a:pt x="295528" y="335375"/>
                </a:lnTo>
                <a:lnTo>
                  <a:pt x="242883" y="324308"/>
                </a:lnTo>
                <a:lnTo>
                  <a:pt x="194677" y="312479"/>
                </a:lnTo>
                <a:lnTo>
                  <a:pt x="151170" y="299938"/>
                </a:lnTo>
                <a:lnTo>
                  <a:pt x="112622" y="286736"/>
                </a:lnTo>
                <a:lnTo>
                  <a:pt x="79291" y="272922"/>
                </a:lnTo>
                <a:lnTo>
                  <a:pt x="51439" y="258549"/>
                </a:lnTo>
                <a:lnTo>
                  <a:pt x="13205" y="228325"/>
                </a:lnTo>
                <a:lnTo>
                  <a:pt x="0" y="196469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2" name="object 252"/>
          <p:cNvSpPr/>
          <p:nvPr/>
        </p:nvSpPr>
        <p:spPr>
          <a:xfrm>
            <a:off x="7716141" y="4487291"/>
            <a:ext cx="1822956" cy="133350"/>
          </a:xfrm>
          <a:custGeom>
            <a:avLst/>
            <a:gdLst/>
            <a:ahLst/>
            <a:cxnLst/>
            <a:rect l="l" t="t" r="r" b="b"/>
            <a:pathLst>
              <a:path w="1822957" h="133350">
                <a:moveTo>
                  <a:pt x="0" y="133350"/>
                </a:moveTo>
                <a:lnTo>
                  <a:pt x="1822957" y="133350"/>
                </a:lnTo>
                <a:lnTo>
                  <a:pt x="1822957" y="0"/>
                </a:lnTo>
                <a:lnTo>
                  <a:pt x="0" y="0"/>
                </a:lnTo>
                <a:lnTo>
                  <a:pt x="0" y="13335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3" name="object 253"/>
          <p:cNvSpPr/>
          <p:nvPr/>
        </p:nvSpPr>
        <p:spPr>
          <a:xfrm>
            <a:off x="8254999" y="4488434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4" name="object 254"/>
          <p:cNvSpPr/>
          <p:nvPr/>
        </p:nvSpPr>
        <p:spPr>
          <a:xfrm>
            <a:off x="8576056" y="4488434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5" name="object 255"/>
          <p:cNvSpPr/>
          <p:nvPr/>
        </p:nvSpPr>
        <p:spPr>
          <a:xfrm>
            <a:off x="9110345" y="4488434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6" name="object 256"/>
          <p:cNvSpPr/>
          <p:nvPr/>
        </p:nvSpPr>
        <p:spPr>
          <a:xfrm>
            <a:off x="7718426" y="4277664"/>
            <a:ext cx="1822956" cy="132156"/>
          </a:xfrm>
          <a:custGeom>
            <a:avLst/>
            <a:gdLst/>
            <a:ahLst/>
            <a:cxnLst/>
            <a:rect l="l" t="t" r="r" b="b"/>
            <a:pathLst>
              <a:path w="1822957" h="132156">
                <a:moveTo>
                  <a:pt x="0" y="132156"/>
                </a:moveTo>
                <a:lnTo>
                  <a:pt x="1822957" y="132156"/>
                </a:lnTo>
                <a:lnTo>
                  <a:pt x="1822957" y="0"/>
                </a:lnTo>
                <a:lnTo>
                  <a:pt x="0" y="0"/>
                </a:lnTo>
                <a:lnTo>
                  <a:pt x="0" y="13215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7" name="object 257"/>
          <p:cNvSpPr/>
          <p:nvPr/>
        </p:nvSpPr>
        <p:spPr>
          <a:xfrm>
            <a:off x="8257286" y="4277741"/>
            <a:ext cx="0" cy="144018"/>
          </a:xfrm>
          <a:custGeom>
            <a:avLst/>
            <a:gdLst/>
            <a:ahLst/>
            <a:cxnLst/>
            <a:rect l="l" t="t" r="r" b="b"/>
            <a:pathLst>
              <a:path h="144017">
                <a:moveTo>
                  <a:pt x="0" y="0"/>
                </a:moveTo>
                <a:lnTo>
                  <a:pt x="0" y="1440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8" name="object 258"/>
          <p:cNvSpPr/>
          <p:nvPr/>
        </p:nvSpPr>
        <p:spPr>
          <a:xfrm>
            <a:off x="8578342" y="4277741"/>
            <a:ext cx="0" cy="144018"/>
          </a:xfrm>
          <a:custGeom>
            <a:avLst/>
            <a:gdLst/>
            <a:ahLst/>
            <a:cxnLst/>
            <a:rect l="l" t="t" r="r" b="b"/>
            <a:pathLst>
              <a:path h="144017">
                <a:moveTo>
                  <a:pt x="0" y="0"/>
                </a:moveTo>
                <a:lnTo>
                  <a:pt x="0" y="1440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9" name="object 259"/>
          <p:cNvSpPr/>
          <p:nvPr/>
        </p:nvSpPr>
        <p:spPr>
          <a:xfrm>
            <a:off x="9112632" y="4277741"/>
            <a:ext cx="0" cy="144018"/>
          </a:xfrm>
          <a:custGeom>
            <a:avLst/>
            <a:gdLst/>
            <a:ahLst/>
            <a:cxnLst/>
            <a:rect l="l" t="t" r="r" b="b"/>
            <a:pathLst>
              <a:path h="144017">
                <a:moveTo>
                  <a:pt x="0" y="0"/>
                </a:moveTo>
                <a:lnTo>
                  <a:pt x="0" y="1440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0" name="object 260"/>
          <p:cNvSpPr/>
          <p:nvPr/>
        </p:nvSpPr>
        <p:spPr>
          <a:xfrm>
            <a:off x="3091055" y="4326559"/>
            <a:ext cx="1822956" cy="132156"/>
          </a:xfrm>
          <a:custGeom>
            <a:avLst/>
            <a:gdLst/>
            <a:ahLst/>
            <a:cxnLst/>
            <a:rect l="l" t="t" r="r" b="b"/>
            <a:pathLst>
              <a:path w="1822957" h="132156">
                <a:moveTo>
                  <a:pt x="0" y="132156"/>
                </a:moveTo>
                <a:lnTo>
                  <a:pt x="1822957" y="132156"/>
                </a:lnTo>
                <a:lnTo>
                  <a:pt x="1822957" y="0"/>
                </a:lnTo>
                <a:lnTo>
                  <a:pt x="0" y="0"/>
                </a:lnTo>
                <a:lnTo>
                  <a:pt x="0" y="13215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1" name="object 261"/>
          <p:cNvSpPr/>
          <p:nvPr/>
        </p:nvSpPr>
        <p:spPr>
          <a:xfrm>
            <a:off x="3629914" y="4327653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2" name="object 262"/>
          <p:cNvSpPr/>
          <p:nvPr/>
        </p:nvSpPr>
        <p:spPr>
          <a:xfrm>
            <a:off x="3950970" y="4327653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3" name="object 263"/>
          <p:cNvSpPr/>
          <p:nvPr/>
        </p:nvSpPr>
        <p:spPr>
          <a:xfrm>
            <a:off x="4485259" y="4327653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4" name="object 264"/>
          <p:cNvSpPr/>
          <p:nvPr/>
        </p:nvSpPr>
        <p:spPr>
          <a:xfrm>
            <a:off x="5269485" y="3949065"/>
            <a:ext cx="0" cy="802513"/>
          </a:xfrm>
          <a:custGeom>
            <a:avLst/>
            <a:gdLst/>
            <a:ahLst/>
            <a:cxnLst/>
            <a:rect l="l" t="t" r="r" b="b"/>
            <a:pathLst>
              <a:path h="802513">
                <a:moveTo>
                  <a:pt x="0" y="0"/>
                </a:moveTo>
                <a:lnTo>
                  <a:pt x="0" y="80251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5" name="object 265"/>
          <p:cNvSpPr/>
          <p:nvPr/>
        </p:nvSpPr>
        <p:spPr>
          <a:xfrm>
            <a:off x="7294245" y="3949065"/>
            <a:ext cx="0" cy="802513"/>
          </a:xfrm>
          <a:custGeom>
            <a:avLst/>
            <a:gdLst/>
            <a:ahLst/>
            <a:cxnLst/>
            <a:rect l="l" t="t" r="r" b="b"/>
            <a:pathLst>
              <a:path h="802513">
                <a:moveTo>
                  <a:pt x="0" y="0"/>
                </a:moveTo>
                <a:lnTo>
                  <a:pt x="0" y="80251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6" name="object 266"/>
          <p:cNvSpPr/>
          <p:nvPr/>
        </p:nvSpPr>
        <p:spPr>
          <a:xfrm>
            <a:off x="5218176" y="3732783"/>
            <a:ext cx="2112265" cy="48310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7" name="object 267"/>
          <p:cNvSpPr/>
          <p:nvPr/>
        </p:nvSpPr>
        <p:spPr>
          <a:xfrm>
            <a:off x="5264913" y="3759836"/>
            <a:ext cx="2017775" cy="38811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8" name="object 268"/>
          <p:cNvSpPr/>
          <p:nvPr/>
        </p:nvSpPr>
        <p:spPr>
          <a:xfrm>
            <a:off x="5264913" y="3759836"/>
            <a:ext cx="2017775" cy="388111"/>
          </a:xfrm>
          <a:custGeom>
            <a:avLst/>
            <a:gdLst/>
            <a:ahLst/>
            <a:cxnLst/>
            <a:rect l="l" t="t" r="r" b="b"/>
            <a:pathLst>
              <a:path w="2017776" h="388112">
                <a:moveTo>
                  <a:pt x="0" y="194055"/>
                </a:moveTo>
                <a:lnTo>
                  <a:pt x="13202" y="162575"/>
                </a:lnTo>
                <a:lnTo>
                  <a:pt x="51425" y="132713"/>
                </a:lnTo>
                <a:lnTo>
                  <a:pt x="112594" y="104869"/>
                </a:lnTo>
                <a:lnTo>
                  <a:pt x="151134" y="91829"/>
                </a:lnTo>
                <a:lnTo>
                  <a:pt x="194633" y="79443"/>
                </a:lnTo>
                <a:lnTo>
                  <a:pt x="242829" y="67760"/>
                </a:lnTo>
                <a:lnTo>
                  <a:pt x="295465" y="56832"/>
                </a:lnTo>
                <a:lnTo>
                  <a:pt x="352280" y="46708"/>
                </a:lnTo>
                <a:lnTo>
                  <a:pt x="413016" y="37437"/>
                </a:lnTo>
                <a:lnTo>
                  <a:pt x="477412" y="29070"/>
                </a:lnTo>
                <a:lnTo>
                  <a:pt x="545209" y="21657"/>
                </a:lnTo>
                <a:lnTo>
                  <a:pt x="616148" y="15247"/>
                </a:lnTo>
                <a:lnTo>
                  <a:pt x="689969" y="9891"/>
                </a:lnTo>
                <a:lnTo>
                  <a:pt x="766413" y="5638"/>
                </a:lnTo>
                <a:lnTo>
                  <a:pt x="845221" y="2539"/>
                </a:lnTo>
                <a:lnTo>
                  <a:pt x="926132" y="643"/>
                </a:lnTo>
                <a:lnTo>
                  <a:pt x="1008888" y="0"/>
                </a:lnTo>
                <a:lnTo>
                  <a:pt x="1091643" y="643"/>
                </a:lnTo>
                <a:lnTo>
                  <a:pt x="1172554" y="2539"/>
                </a:lnTo>
                <a:lnTo>
                  <a:pt x="1251362" y="5638"/>
                </a:lnTo>
                <a:lnTo>
                  <a:pt x="1327806" y="9891"/>
                </a:lnTo>
                <a:lnTo>
                  <a:pt x="1401627" y="15247"/>
                </a:lnTo>
                <a:lnTo>
                  <a:pt x="1472566" y="21657"/>
                </a:lnTo>
                <a:lnTo>
                  <a:pt x="1540363" y="29070"/>
                </a:lnTo>
                <a:lnTo>
                  <a:pt x="1604759" y="37437"/>
                </a:lnTo>
                <a:lnTo>
                  <a:pt x="1665495" y="46708"/>
                </a:lnTo>
                <a:lnTo>
                  <a:pt x="1722310" y="56832"/>
                </a:lnTo>
                <a:lnTo>
                  <a:pt x="1774946" y="67760"/>
                </a:lnTo>
                <a:lnTo>
                  <a:pt x="1823142" y="79443"/>
                </a:lnTo>
                <a:lnTo>
                  <a:pt x="1866641" y="91829"/>
                </a:lnTo>
                <a:lnTo>
                  <a:pt x="1905181" y="104869"/>
                </a:lnTo>
                <a:lnTo>
                  <a:pt x="1938504" y="118514"/>
                </a:lnTo>
                <a:lnTo>
                  <a:pt x="1988459" y="147417"/>
                </a:lnTo>
                <a:lnTo>
                  <a:pt x="2014432" y="178138"/>
                </a:lnTo>
                <a:lnTo>
                  <a:pt x="2017776" y="194055"/>
                </a:lnTo>
                <a:lnTo>
                  <a:pt x="2014432" y="209973"/>
                </a:lnTo>
                <a:lnTo>
                  <a:pt x="2004573" y="225536"/>
                </a:lnTo>
                <a:lnTo>
                  <a:pt x="1966350" y="255398"/>
                </a:lnTo>
                <a:lnTo>
                  <a:pt x="1905181" y="283242"/>
                </a:lnTo>
                <a:lnTo>
                  <a:pt x="1866641" y="296282"/>
                </a:lnTo>
                <a:lnTo>
                  <a:pt x="1823142" y="308668"/>
                </a:lnTo>
                <a:lnTo>
                  <a:pt x="1774946" y="320351"/>
                </a:lnTo>
                <a:lnTo>
                  <a:pt x="1722310" y="331279"/>
                </a:lnTo>
                <a:lnTo>
                  <a:pt x="1665495" y="341403"/>
                </a:lnTo>
                <a:lnTo>
                  <a:pt x="1604759" y="350674"/>
                </a:lnTo>
                <a:lnTo>
                  <a:pt x="1540363" y="359041"/>
                </a:lnTo>
                <a:lnTo>
                  <a:pt x="1472566" y="366454"/>
                </a:lnTo>
                <a:lnTo>
                  <a:pt x="1401627" y="372864"/>
                </a:lnTo>
                <a:lnTo>
                  <a:pt x="1327806" y="378220"/>
                </a:lnTo>
                <a:lnTo>
                  <a:pt x="1251362" y="382473"/>
                </a:lnTo>
                <a:lnTo>
                  <a:pt x="1172554" y="385572"/>
                </a:lnTo>
                <a:lnTo>
                  <a:pt x="1091643" y="387468"/>
                </a:lnTo>
                <a:lnTo>
                  <a:pt x="1008888" y="388111"/>
                </a:lnTo>
                <a:lnTo>
                  <a:pt x="926132" y="387468"/>
                </a:lnTo>
                <a:lnTo>
                  <a:pt x="845221" y="385572"/>
                </a:lnTo>
                <a:lnTo>
                  <a:pt x="766413" y="382473"/>
                </a:lnTo>
                <a:lnTo>
                  <a:pt x="689969" y="378220"/>
                </a:lnTo>
                <a:lnTo>
                  <a:pt x="616148" y="372864"/>
                </a:lnTo>
                <a:lnTo>
                  <a:pt x="545209" y="366454"/>
                </a:lnTo>
                <a:lnTo>
                  <a:pt x="477412" y="359041"/>
                </a:lnTo>
                <a:lnTo>
                  <a:pt x="413016" y="350674"/>
                </a:lnTo>
                <a:lnTo>
                  <a:pt x="352280" y="341403"/>
                </a:lnTo>
                <a:lnTo>
                  <a:pt x="295465" y="331279"/>
                </a:lnTo>
                <a:lnTo>
                  <a:pt x="242829" y="320351"/>
                </a:lnTo>
                <a:lnTo>
                  <a:pt x="194633" y="308668"/>
                </a:lnTo>
                <a:lnTo>
                  <a:pt x="151134" y="296282"/>
                </a:lnTo>
                <a:lnTo>
                  <a:pt x="112594" y="283242"/>
                </a:lnTo>
                <a:lnTo>
                  <a:pt x="79271" y="269597"/>
                </a:lnTo>
                <a:lnTo>
                  <a:pt x="51425" y="255398"/>
                </a:lnTo>
                <a:lnTo>
                  <a:pt x="13202" y="225536"/>
                </a:lnTo>
                <a:lnTo>
                  <a:pt x="0" y="194055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9" name="object 269"/>
          <p:cNvSpPr/>
          <p:nvPr/>
        </p:nvSpPr>
        <p:spPr>
          <a:xfrm>
            <a:off x="3941826" y="3414523"/>
            <a:ext cx="0" cy="422655"/>
          </a:xfrm>
          <a:custGeom>
            <a:avLst/>
            <a:gdLst/>
            <a:ahLst/>
            <a:cxnLst/>
            <a:rect l="l" t="t" r="r" b="b"/>
            <a:pathLst>
              <a:path h="422655">
                <a:moveTo>
                  <a:pt x="0" y="422655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0" name="object 270"/>
          <p:cNvSpPr/>
          <p:nvPr/>
        </p:nvSpPr>
        <p:spPr>
          <a:xfrm>
            <a:off x="8530208" y="3414523"/>
            <a:ext cx="0" cy="422655"/>
          </a:xfrm>
          <a:custGeom>
            <a:avLst/>
            <a:gdLst/>
            <a:ahLst/>
            <a:cxnLst/>
            <a:rect l="l" t="t" r="r" b="b"/>
            <a:pathLst>
              <a:path h="422655">
                <a:moveTo>
                  <a:pt x="0" y="422655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1" name="object 271"/>
          <p:cNvSpPr/>
          <p:nvPr/>
        </p:nvSpPr>
        <p:spPr>
          <a:xfrm>
            <a:off x="6234812" y="3414523"/>
            <a:ext cx="0" cy="422655"/>
          </a:xfrm>
          <a:custGeom>
            <a:avLst/>
            <a:gdLst/>
            <a:ahLst/>
            <a:cxnLst/>
            <a:rect l="l" t="t" r="r" b="b"/>
            <a:pathLst>
              <a:path h="422655">
                <a:moveTo>
                  <a:pt x="0" y="422655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2" name="object 272"/>
          <p:cNvSpPr/>
          <p:nvPr/>
        </p:nvSpPr>
        <p:spPr>
          <a:xfrm>
            <a:off x="3195182" y="3415571"/>
            <a:ext cx="304901" cy="0"/>
          </a:xfrm>
          <a:custGeom>
            <a:avLst/>
            <a:gdLst/>
            <a:ahLst/>
            <a:cxnLst/>
            <a:rect l="l" t="t" r="r" b="b"/>
            <a:pathLst>
              <a:path w="304901">
                <a:moveTo>
                  <a:pt x="0" y="0"/>
                </a:moveTo>
                <a:lnTo>
                  <a:pt x="304901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3" name="object 273"/>
          <p:cNvSpPr/>
          <p:nvPr/>
        </p:nvSpPr>
        <p:spPr>
          <a:xfrm>
            <a:off x="3195182" y="3616320"/>
            <a:ext cx="304901" cy="0"/>
          </a:xfrm>
          <a:custGeom>
            <a:avLst/>
            <a:gdLst/>
            <a:ahLst/>
            <a:cxnLst/>
            <a:rect l="l" t="t" r="r" b="b"/>
            <a:pathLst>
              <a:path w="304901">
                <a:moveTo>
                  <a:pt x="0" y="0"/>
                </a:moveTo>
                <a:lnTo>
                  <a:pt x="304901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4" name="object 274"/>
          <p:cNvSpPr/>
          <p:nvPr/>
        </p:nvSpPr>
        <p:spPr>
          <a:xfrm>
            <a:off x="4493087" y="3415571"/>
            <a:ext cx="76225" cy="0"/>
          </a:xfrm>
          <a:custGeom>
            <a:avLst/>
            <a:gdLst/>
            <a:ahLst/>
            <a:cxnLst/>
            <a:rect l="l" t="t" r="r" b="b"/>
            <a:pathLst>
              <a:path w="76225">
                <a:moveTo>
                  <a:pt x="0" y="0"/>
                </a:moveTo>
                <a:lnTo>
                  <a:pt x="76225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5" name="object 275"/>
          <p:cNvSpPr/>
          <p:nvPr/>
        </p:nvSpPr>
        <p:spPr>
          <a:xfrm>
            <a:off x="4493087" y="3616320"/>
            <a:ext cx="76225" cy="0"/>
          </a:xfrm>
          <a:custGeom>
            <a:avLst/>
            <a:gdLst/>
            <a:ahLst/>
            <a:cxnLst/>
            <a:rect l="l" t="t" r="r" b="b"/>
            <a:pathLst>
              <a:path w="76225">
                <a:moveTo>
                  <a:pt x="0" y="0"/>
                </a:moveTo>
                <a:lnTo>
                  <a:pt x="76225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6" name="object 276"/>
          <p:cNvSpPr/>
          <p:nvPr/>
        </p:nvSpPr>
        <p:spPr>
          <a:xfrm>
            <a:off x="3364991" y="3315207"/>
            <a:ext cx="1176527" cy="40386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7" name="object 277"/>
          <p:cNvSpPr/>
          <p:nvPr/>
        </p:nvSpPr>
        <p:spPr>
          <a:xfrm>
            <a:off x="3557018" y="3313683"/>
            <a:ext cx="832103" cy="35204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8" name="object 278"/>
          <p:cNvSpPr/>
          <p:nvPr/>
        </p:nvSpPr>
        <p:spPr>
          <a:xfrm>
            <a:off x="3412109" y="3343085"/>
            <a:ext cx="1082319" cy="308419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9" name="object 279"/>
          <p:cNvSpPr/>
          <p:nvPr/>
        </p:nvSpPr>
        <p:spPr>
          <a:xfrm>
            <a:off x="3412109" y="3343085"/>
            <a:ext cx="1082319" cy="308419"/>
          </a:xfrm>
          <a:custGeom>
            <a:avLst/>
            <a:gdLst/>
            <a:ahLst/>
            <a:cxnLst/>
            <a:rect l="l" t="t" r="r" b="b"/>
            <a:pathLst>
              <a:path w="1082319" h="308419">
                <a:moveTo>
                  <a:pt x="0" y="308419"/>
                </a:moveTo>
                <a:lnTo>
                  <a:pt x="1082319" y="308419"/>
                </a:lnTo>
                <a:lnTo>
                  <a:pt x="1082319" y="0"/>
                </a:lnTo>
                <a:lnTo>
                  <a:pt x="0" y="0"/>
                </a:lnTo>
                <a:lnTo>
                  <a:pt x="0" y="308419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0" name="object 280"/>
          <p:cNvSpPr/>
          <p:nvPr/>
        </p:nvSpPr>
        <p:spPr>
          <a:xfrm>
            <a:off x="7950709" y="3313683"/>
            <a:ext cx="1176527" cy="402336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1" name="object 281"/>
          <p:cNvSpPr/>
          <p:nvPr/>
        </p:nvSpPr>
        <p:spPr>
          <a:xfrm>
            <a:off x="8142733" y="3310636"/>
            <a:ext cx="832103" cy="35204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2" name="object 282"/>
          <p:cNvSpPr/>
          <p:nvPr/>
        </p:nvSpPr>
        <p:spPr>
          <a:xfrm>
            <a:off x="7998207" y="3340672"/>
            <a:ext cx="1082319" cy="308419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3" name="object 283"/>
          <p:cNvSpPr/>
          <p:nvPr/>
        </p:nvSpPr>
        <p:spPr>
          <a:xfrm>
            <a:off x="7998207" y="3340672"/>
            <a:ext cx="1082319" cy="308419"/>
          </a:xfrm>
          <a:custGeom>
            <a:avLst/>
            <a:gdLst/>
            <a:ahLst/>
            <a:cxnLst/>
            <a:rect l="l" t="t" r="r" b="b"/>
            <a:pathLst>
              <a:path w="1082319" h="308419">
                <a:moveTo>
                  <a:pt x="0" y="308419"/>
                </a:moveTo>
                <a:lnTo>
                  <a:pt x="1082319" y="308419"/>
                </a:lnTo>
                <a:lnTo>
                  <a:pt x="1082319" y="0"/>
                </a:lnTo>
                <a:lnTo>
                  <a:pt x="0" y="0"/>
                </a:lnTo>
                <a:lnTo>
                  <a:pt x="0" y="308419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4" name="object 284"/>
          <p:cNvSpPr/>
          <p:nvPr/>
        </p:nvSpPr>
        <p:spPr>
          <a:xfrm>
            <a:off x="3088768" y="4646853"/>
            <a:ext cx="1822958" cy="132156"/>
          </a:xfrm>
          <a:custGeom>
            <a:avLst/>
            <a:gdLst/>
            <a:ahLst/>
            <a:cxnLst/>
            <a:rect l="l" t="t" r="r" b="b"/>
            <a:pathLst>
              <a:path w="1822958" h="132156">
                <a:moveTo>
                  <a:pt x="0" y="132156"/>
                </a:moveTo>
                <a:lnTo>
                  <a:pt x="1822958" y="132156"/>
                </a:lnTo>
                <a:lnTo>
                  <a:pt x="1822958" y="0"/>
                </a:lnTo>
                <a:lnTo>
                  <a:pt x="0" y="0"/>
                </a:lnTo>
                <a:lnTo>
                  <a:pt x="0" y="13215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5" name="object 285"/>
          <p:cNvSpPr/>
          <p:nvPr/>
        </p:nvSpPr>
        <p:spPr>
          <a:xfrm>
            <a:off x="3627628" y="4647946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6" name="object 286"/>
          <p:cNvSpPr/>
          <p:nvPr/>
        </p:nvSpPr>
        <p:spPr>
          <a:xfrm>
            <a:off x="3948685" y="4647946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7" name="object 287"/>
          <p:cNvSpPr/>
          <p:nvPr/>
        </p:nvSpPr>
        <p:spPr>
          <a:xfrm>
            <a:off x="4482973" y="4647946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8" name="object 288"/>
          <p:cNvSpPr/>
          <p:nvPr/>
        </p:nvSpPr>
        <p:spPr>
          <a:xfrm>
            <a:off x="5898563" y="3415571"/>
            <a:ext cx="266790" cy="0"/>
          </a:xfrm>
          <a:custGeom>
            <a:avLst/>
            <a:gdLst/>
            <a:ahLst/>
            <a:cxnLst/>
            <a:rect l="l" t="t" r="r" b="b"/>
            <a:pathLst>
              <a:path w="266789">
                <a:moveTo>
                  <a:pt x="0" y="0"/>
                </a:moveTo>
                <a:lnTo>
                  <a:pt x="266789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9" name="object 289"/>
          <p:cNvSpPr/>
          <p:nvPr/>
        </p:nvSpPr>
        <p:spPr>
          <a:xfrm>
            <a:off x="5657089" y="3324352"/>
            <a:ext cx="1178052" cy="40233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0" name="object 290"/>
          <p:cNvSpPr/>
          <p:nvPr/>
        </p:nvSpPr>
        <p:spPr>
          <a:xfrm>
            <a:off x="5849112" y="3321304"/>
            <a:ext cx="832104" cy="35204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1" name="object 291"/>
          <p:cNvSpPr/>
          <p:nvPr/>
        </p:nvSpPr>
        <p:spPr>
          <a:xfrm>
            <a:off x="5705095" y="3351467"/>
            <a:ext cx="1082319" cy="308419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2" name="object 292"/>
          <p:cNvSpPr/>
          <p:nvPr/>
        </p:nvSpPr>
        <p:spPr>
          <a:xfrm>
            <a:off x="5705095" y="3351467"/>
            <a:ext cx="1082319" cy="308419"/>
          </a:xfrm>
          <a:custGeom>
            <a:avLst/>
            <a:gdLst/>
            <a:ahLst/>
            <a:cxnLst/>
            <a:rect l="l" t="t" r="r" b="b"/>
            <a:pathLst>
              <a:path w="1082319" h="308419">
                <a:moveTo>
                  <a:pt x="0" y="308419"/>
                </a:moveTo>
                <a:lnTo>
                  <a:pt x="1082319" y="308419"/>
                </a:lnTo>
                <a:lnTo>
                  <a:pt x="1082319" y="0"/>
                </a:lnTo>
                <a:lnTo>
                  <a:pt x="0" y="0"/>
                </a:lnTo>
                <a:lnTo>
                  <a:pt x="0" y="308419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133"/>
          <p:cNvSpPr/>
          <p:nvPr/>
        </p:nvSpPr>
        <p:spPr>
          <a:xfrm>
            <a:off x="697091" y="4527805"/>
            <a:ext cx="2008771" cy="382143"/>
          </a:xfrm>
          <a:custGeom>
            <a:avLst/>
            <a:gdLst/>
            <a:ahLst/>
            <a:cxnLst/>
            <a:rect l="l" t="t" r="r" b="b"/>
            <a:pathLst>
              <a:path w="2008771" h="382143">
                <a:moveTo>
                  <a:pt x="0" y="191007"/>
                </a:moveTo>
                <a:lnTo>
                  <a:pt x="13145" y="160014"/>
                </a:lnTo>
                <a:lnTo>
                  <a:pt x="51202" y="130616"/>
                </a:lnTo>
                <a:lnTo>
                  <a:pt x="112104" y="103208"/>
                </a:lnTo>
                <a:lnTo>
                  <a:pt x="150475" y="90372"/>
                </a:lnTo>
                <a:lnTo>
                  <a:pt x="193781" y="78181"/>
                </a:lnTo>
                <a:lnTo>
                  <a:pt x="241765" y="66683"/>
                </a:lnTo>
                <a:lnTo>
                  <a:pt x="294166" y="55927"/>
                </a:lnTo>
                <a:lnTo>
                  <a:pt x="350728" y="45963"/>
                </a:lnTo>
                <a:lnTo>
                  <a:pt x="411191" y="36840"/>
                </a:lnTo>
                <a:lnTo>
                  <a:pt x="475298" y="28606"/>
                </a:lnTo>
                <a:lnTo>
                  <a:pt x="542788" y="21311"/>
                </a:lnTo>
                <a:lnTo>
                  <a:pt x="613405" y="15003"/>
                </a:lnTo>
                <a:lnTo>
                  <a:pt x="686889" y="9733"/>
                </a:lnTo>
                <a:lnTo>
                  <a:pt x="762981" y="5548"/>
                </a:lnTo>
                <a:lnTo>
                  <a:pt x="841425" y="2498"/>
                </a:lnTo>
                <a:lnTo>
                  <a:pt x="921960" y="632"/>
                </a:lnTo>
                <a:lnTo>
                  <a:pt x="1004328" y="0"/>
                </a:lnTo>
                <a:lnTo>
                  <a:pt x="1086708" y="632"/>
                </a:lnTo>
                <a:lnTo>
                  <a:pt x="1167253" y="2498"/>
                </a:lnTo>
                <a:lnTo>
                  <a:pt x="1245707" y="5548"/>
                </a:lnTo>
                <a:lnTo>
                  <a:pt x="1321809" y="9733"/>
                </a:lnTo>
                <a:lnTo>
                  <a:pt x="1395302" y="15003"/>
                </a:lnTo>
                <a:lnTo>
                  <a:pt x="1465926" y="21311"/>
                </a:lnTo>
                <a:lnTo>
                  <a:pt x="1533425" y="28606"/>
                </a:lnTo>
                <a:lnTo>
                  <a:pt x="1597538" y="36840"/>
                </a:lnTo>
                <a:lnTo>
                  <a:pt x="1658008" y="45963"/>
                </a:lnTo>
                <a:lnTo>
                  <a:pt x="1714576" y="55927"/>
                </a:lnTo>
                <a:lnTo>
                  <a:pt x="1766983" y="66683"/>
                </a:lnTo>
                <a:lnTo>
                  <a:pt x="1814971" y="78181"/>
                </a:lnTo>
                <a:lnTo>
                  <a:pt x="1858282" y="90372"/>
                </a:lnTo>
                <a:lnTo>
                  <a:pt x="1896657" y="103208"/>
                </a:lnTo>
                <a:lnTo>
                  <a:pt x="1929837" y="116639"/>
                </a:lnTo>
                <a:lnTo>
                  <a:pt x="1979579" y="145091"/>
                </a:lnTo>
                <a:lnTo>
                  <a:pt x="2005441" y="175336"/>
                </a:lnTo>
                <a:lnTo>
                  <a:pt x="2008771" y="191007"/>
                </a:lnTo>
                <a:lnTo>
                  <a:pt x="2005441" y="206680"/>
                </a:lnTo>
                <a:lnTo>
                  <a:pt x="1995625" y="222005"/>
                </a:lnTo>
                <a:lnTo>
                  <a:pt x="1957564" y="251412"/>
                </a:lnTo>
                <a:lnTo>
                  <a:pt x="1896657" y="278834"/>
                </a:lnTo>
                <a:lnTo>
                  <a:pt x="1858282" y="291679"/>
                </a:lnTo>
                <a:lnTo>
                  <a:pt x="1814971" y="303879"/>
                </a:lnTo>
                <a:lnTo>
                  <a:pt x="1766983" y="315386"/>
                </a:lnTo>
                <a:lnTo>
                  <a:pt x="1714576" y="326151"/>
                </a:lnTo>
                <a:lnTo>
                  <a:pt x="1658008" y="336125"/>
                </a:lnTo>
                <a:lnTo>
                  <a:pt x="1597538" y="345258"/>
                </a:lnTo>
                <a:lnTo>
                  <a:pt x="1533425" y="353500"/>
                </a:lnTo>
                <a:lnTo>
                  <a:pt x="1465926" y="360804"/>
                </a:lnTo>
                <a:lnTo>
                  <a:pt x="1395302" y="367119"/>
                </a:lnTo>
                <a:lnTo>
                  <a:pt x="1321809" y="372396"/>
                </a:lnTo>
                <a:lnTo>
                  <a:pt x="1245707" y="376586"/>
                </a:lnTo>
                <a:lnTo>
                  <a:pt x="1167253" y="379640"/>
                </a:lnTo>
                <a:lnTo>
                  <a:pt x="1086708" y="381509"/>
                </a:lnTo>
                <a:lnTo>
                  <a:pt x="1004328" y="382143"/>
                </a:lnTo>
                <a:lnTo>
                  <a:pt x="921960" y="381509"/>
                </a:lnTo>
                <a:lnTo>
                  <a:pt x="841425" y="379640"/>
                </a:lnTo>
                <a:lnTo>
                  <a:pt x="762981" y="376586"/>
                </a:lnTo>
                <a:lnTo>
                  <a:pt x="686889" y="372396"/>
                </a:lnTo>
                <a:lnTo>
                  <a:pt x="613405" y="367119"/>
                </a:lnTo>
                <a:lnTo>
                  <a:pt x="542788" y="360804"/>
                </a:lnTo>
                <a:lnTo>
                  <a:pt x="475298" y="353500"/>
                </a:lnTo>
                <a:lnTo>
                  <a:pt x="411191" y="345258"/>
                </a:lnTo>
                <a:lnTo>
                  <a:pt x="350728" y="336125"/>
                </a:lnTo>
                <a:lnTo>
                  <a:pt x="294166" y="326151"/>
                </a:lnTo>
                <a:lnTo>
                  <a:pt x="241765" y="315386"/>
                </a:lnTo>
                <a:lnTo>
                  <a:pt x="193781" y="303879"/>
                </a:lnTo>
                <a:lnTo>
                  <a:pt x="150475" y="291679"/>
                </a:lnTo>
                <a:lnTo>
                  <a:pt x="112104" y="278834"/>
                </a:lnTo>
                <a:lnTo>
                  <a:pt x="78927" y="265396"/>
                </a:lnTo>
                <a:lnTo>
                  <a:pt x="51202" y="251412"/>
                </a:lnTo>
                <a:lnTo>
                  <a:pt x="13145" y="222005"/>
                </a:lnTo>
                <a:lnTo>
                  <a:pt x="0" y="19100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134"/>
          <p:cNvSpPr/>
          <p:nvPr/>
        </p:nvSpPr>
        <p:spPr>
          <a:xfrm>
            <a:off x="692505" y="3938397"/>
            <a:ext cx="2020214" cy="775081"/>
          </a:xfrm>
          <a:custGeom>
            <a:avLst/>
            <a:gdLst/>
            <a:ahLst/>
            <a:cxnLst/>
            <a:rect l="l" t="t" r="r" b="b"/>
            <a:pathLst>
              <a:path w="2020214" h="775080">
                <a:moveTo>
                  <a:pt x="0" y="0"/>
                </a:moveTo>
                <a:lnTo>
                  <a:pt x="0" y="775080"/>
                </a:lnTo>
                <a:lnTo>
                  <a:pt x="2020214" y="775080"/>
                </a:lnTo>
                <a:lnTo>
                  <a:pt x="202021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135"/>
          <p:cNvSpPr/>
          <p:nvPr/>
        </p:nvSpPr>
        <p:spPr>
          <a:xfrm>
            <a:off x="685623" y="3934841"/>
            <a:ext cx="2031669" cy="781050"/>
          </a:xfrm>
          <a:custGeom>
            <a:avLst/>
            <a:gdLst/>
            <a:ahLst/>
            <a:cxnLst/>
            <a:rect l="l" t="t" r="r" b="b"/>
            <a:pathLst>
              <a:path w="2031669" h="781050">
                <a:moveTo>
                  <a:pt x="0" y="0"/>
                </a:moveTo>
                <a:lnTo>
                  <a:pt x="0" y="781050"/>
                </a:lnTo>
                <a:lnTo>
                  <a:pt x="2031669" y="781050"/>
                </a:lnTo>
                <a:lnTo>
                  <a:pt x="2031669" y="0"/>
                </a:lnTo>
                <a:lnTo>
                  <a:pt x="0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136"/>
          <p:cNvSpPr/>
          <p:nvPr/>
        </p:nvSpPr>
        <p:spPr>
          <a:xfrm>
            <a:off x="690206" y="3934841"/>
            <a:ext cx="0" cy="788162"/>
          </a:xfrm>
          <a:custGeom>
            <a:avLst/>
            <a:gdLst/>
            <a:ahLst/>
            <a:cxnLst/>
            <a:rect l="l" t="t" r="r" b="b"/>
            <a:pathLst>
              <a:path h="788162">
                <a:moveTo>
                  <a:pt x="0" y="0"/>
                </a:moveTo>
                <a:lnTo>
                  <a:pt x="0" y="78816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2717292" y="3934841"/>
            <a:ext cx="0" cy="788162"/>
          </a:xfrm>
          <a:custGeom>
            <a:avLst/>
            <a:gdLst/>
            <a:ahLst/>
            <a:cxnLst/>
            <a:rect l="l" t="t" r="r" b="b"/>
            <a:pathLst>
              <a:path h="788162">
                <a:moveTo>
                  <a:pt x="0" y="0"/>
                </a:moveTo>
                <a:lnTo>
                  <a:pt x="0" y="78816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138"/>
          <p:cNvSpPr/>
          <p:nvPr/>
        </p:nvSpPr>
        <p:spPr>
          <a:xfrm>
            <a:off x="640081" y="3722116"/>
            <a:ext cx="2113788" cy="475488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139"/>
          <p:cNvSpPr/>
          <p:nvPr/>
        </p:nvSpPr>
        <p:spPr>
          <a:xfrm>
            <a:off x="687921" y="3749041"/>
            <a:ext cx="2017942" cy="381000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140"/>
          <p:cNvSpPr/>
          <p:nvPr/>
        </p:nvSpPr>
        <p:spPr>
          <a:xfrm>
            <a:off x="687921" y="3749041"/>
            <a:ext cx="2017942" cy="381000"/>
          </a:xfrm>
          <a:custGeom>
            <a:avLst/>
            <a:gdLst/>
            <a:ahLst/>
            <a:cxnLst/>
            <a:rect l="l" t="t" r="r" b="b"/>
            <a:pathLst>
              <a:path w="2017941" h="381000">
                <a:moveTo>
                  <a:pt x="0" y="190500"/>
                </a:moveTo>
                <a:lnTo>
                  <a:pt x="29322" y="144738"/>
                </a:lnTo>
                <a:lnTo>
                  <a:pt x="79286" y="116371"/>
                </a:lnTo>
                <a:lnTo>
                  <a:pt x="112614" y="102978"/>
                </a:lnTo>
                <a:lnTo>
                  <a:pt x="151160" y="90176"/>
                </a:lnTo>
                <a:lnTo>
                  <a:pt x="194664" y="78016"/>
                </a:lnTo>
                <a:lnTo>
                  <a:pt x="242867" y="66546"/>
                </a:lnTo>
                <a:lnTo>
                  <a:pt x="295508" y="55816"/>
                </a:lnTo>
                <a:lnTo>
                  <a:pt x="352328" y="45874"/>
                </a:lnTo>
                <a:lnTo>
                  <a:pt x="413068" y="36771"/>
                </a:lnTo>
                <a:lnTo>
                  <a:pt x="477467" y="28554"/>
                </a:lnTo>
                <a:lnTo>
                  <a:pt x="545267" y="21273"/>
                </a:lnTo>
                <a:lnTo>
                  <a:pt x="616207" y="14978"/>
                </a:lnTo>
                <a:lnTo>
                  <a:pt x="690028" y="9717"/>
                </a:lnTo>
                <a:lnTo>
                  <a:pt x="766470" y="5539"/>
                </a:lnTo>
                <a:lnTo>
                  <a:pt x="845273" y="2494"/>
                </a:lnTo>
                <a:lnTo>
                  <a:pt x="926178" y="631"/>
                </a:lnTo>
                <a:lnTo>
                  <a:pt x="1008926" y="0"/>
                </a:lnTo>
                <a:lnTo>
                  <a:pt x="1091682" y="631"/>
                </a:lnTo>
                <a:lnTo>
                  <a:pt x="1172596" y="2494"/>
                </a:lnTo>
                <a:lnTo>
                  <a:pt x="1251408" y="5539"/>
                </a:lnTo>
                <a:lnTo>
                  <a:pt x="1327857" y="9717"/>
                </a:lnTo>
                <a:lnTo>
                  <a:pt x="1401685" y="14978"/>
                </a:lnTo>
                <a:lnTo>
                  <a:pt x="1472632" y="21273"/>
                </a:lnTo>
                <a:lnTo>
                  <a:pt x="1540437" y="28554"/>
                </a:lnTo>
                <a:lnTo>
                  <a:pt x="1604842" y="36771"/>
                </a:lnTo>
                <a:lnTo>
                  <a:pt x="1665587" y="45874"/>
                </a:lnTo>
                <a:lnTo>
                  <a:pt x="1722412" y="55816"/>
                </a:lnTo>
                <a:lnTo>
                  <a:pt x="1775057" y="66546"/>
                </a:lnTo>
                <a:lnTo>
                  <a:pt x="1823263" y="78016"/>
                </a:lnTo>
                <a:lnTo>
                  <a:pt x="1866770" y="90176"/>
                </a:lnTo>
                <a:lnTo>
                  <a:pt x="1905319" y="102978"/>
                </a:lnTo>
                <a:lnTo>
                  <a:pt x="1938649" y="116371"/>
                </a:lnTo>
                <a:lnTo>
                  <a:pt x="1988617" y="144738"/>
                </a:lnTo>
                <a:lnTo>
                  <a:pt x="2014596" y="174883"/>
                </a:lnTo>
                <a:lnTo>
                  <a:pt x="2017941" y="190500"/>
                </a:lnTo>
                <a:lnTo>
                  <a:pt x="2014596" y="206133"/>
                </a:lnTo>
                <a:lnTo>
                  <a:pt x="2004735" y="221417"/>
                </a:lnTo>
                <a:lnTo>
                  <a:pt x="1966502" y="250740"/>
                </a:lnTo>
                <a:lnTo>
                  <a:pt x="1905319" y="278077"/>
                </a:lnTo>
                <a:lnTo>
                  <a:pt x="1866770" y="290879"/>
                </a:lnTo>
                <a:lnTo>
                  <a:pt x="1823263" y="303038"/>
                </a:lnTo>
                <a:lnTo>
                  <a:pt x="1775057" y="314505"/>
                </a:lnTo>
                <a:lnTo>
                  <a:pt x="1722412" y="325231"/>
                </a:lnTo>
                <a:lnTo>
                  <a:pt x="1665587" y="335167"/>
                </a:lnTo>
                <a:lnTo>
                  <a:pt x="1604842" y="344265"/>
                </a:lnTo>
                <a:lnTo>
                  <a:pt x="1540437" y="352476"/>
                </a:lnTo>
                <a:lnTo>
                  <a:pt x="1472632" y="359750"/>
                </a:lnTo>
                <a:lnTo>
                  <a:pt x="1401685" y="366039"/>
                </a:lnTo>
                <a:lnTo>
                  <a:pt x="1327857" y="371295"/>
                </a:lnTo>
                <a:lnTo>
                  <a:pt x="1251408" y="375467"/>
                </a:lnTo>
                <a:lnTo>
                  <a:pt x="1172596" y="378508"/>
                </a:lnTo>
                <a:lnTo>
                  <a:pt x="1091682" y="380369"/>
                </a:lnTo>
                <a:lnTo>
                  <a:pt x="1008926" y="381000"/>
                </a:lnTo>
                <a:lnTo>
                  <a:pt x="926178" y="380369"/>
                </a:lnTo>
                <a:lnTo>
                  <a:pt x="845273" y="378508"/>
                </a:lnTo>
                <a:lnTo>
                  <a:pt x="766470" y="375467"/>
                </a:lnTo>
                <a:lnTo>
                  <a:pt x="690028" y="371295"/>
                </a:lnTo>
                <a:lnTo>
                  <a:pt x="616207" y="366039"/>
                </a:lnTo>
                <a:lnTo>
                  <a:pt x="545267" y="359750"/>
                </a:lnTo>
                <a:lnTo>
                  <a:pt x="477467" y="352476"/>
                </a:lnTo>
                <a:lnTo>
                  <a:pt x="413068" y="344265"/>
                </a:lnTo>
                <a:lnTo>
                  <a:pt x="352328" y="335167"/>
                </a:lnTo>
                <a:lnTo>
                  <a:pt x="295508" y="325231"/>
                </a:lnTo>
                <a:lnTo>
                  <a:pt x="242867" y="314505"/>
                </a:lnTo>
                <a:lnTo>
                  <a:pt x="194664" y="303038"/>
                </a:lnTo>
                <a:lnTo>
                  <a:pt x="151160" y="290879"/>
                </a:lnTo>
                <a:lnTo>
                  <a:pt x="112614" y="278077"/>
                </a:lnTo>
                <a:lnTo>
                  <a:pt x="79286" y="264681"/>
                </a:lnTo>
                <a:lnTo>
                  <a:pt x="51435" y="250740"/>
                </a:lnTo>
                <a:lnTo>
                  <a:pt x="13205" y="221417"/>
                </a:lnTo>
                <a:lnTo>
                  <a:pt x="0" y="190500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141"/>
          <p:cNvSpPr/>
          <p:nvPr/>
        </p:nvSpPr>
        <p:spPr>
          <a:xfrm>
            <a:off x="827798" y="4551527"/>
            <a:ext cx="1822958" cy="130962"/>
          </a:xfrm>
          <a:custGeom>
            <a:avLst/>
            <a:gdLst/>
            <a:ahLst/>
            <a:cxnLst/>
            <a:rect l="l" t="t" r="r" b="b"/>
            <a:pathLst>
              <a:path w="1822958" h="130962">
                <a:moveTo>
                  <a:pt x="0" y="130962"/>
                </a:moveTo>
                <a:lnTo>
                  <a:pt x="1822958" y="130962"/>
                </a:lnTo>
                <a:lnTo>
                  <a:pt x="1822958" y="0"/>
                </a:lnTo>
                <a:lnTo>
                  <a:pt x="0" y="0"/>
                </a:lnTo>
                <a:lnTo>
                  <a:pt x="0" y="13096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142"/>
          <p:cNvSpPr/>
          <p:nvPr/>
        </p:nvSpPr>
        <p:spPr>
          <a:xfrm>
            <a:off x="1366647" y="4551553"/>
            <a:ext cx="0" cy="144018"/>
          </a:xfrm>
          <a:custGeom>
            <a:avLst/>
            <a:gdLst/>
            <a:ahLst/>
            <a:cxnLst/>
            <a:rect l="l" t="t" r="r" b="b"/>
            <a:pathLst>
              <a:path h="144018">
                <a:moveTo>
                  <a:pt x="0" y="0"/>
                </a:moveTo>
                <a:lnTo>
                  <a:pt x="0" y="1440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143"/>
          <p:cNvSpPr/>
          <p:nvPr/>
        </p:nvSpPr>
        <p:spPr>
          <a:xfrm>
            <a:off x="1687703" y="4551553"/>
            <a:ext cx="0" cy="144018"/>
          </a:xfrm>
          <a:custGeom>
            <a:avLst/>
            <a:gdLst/>
            <a:ahLst/>
            <a:cxnLst/>
            <a:rect l="l" t="t" r="r" b="b"/>
            <a:pathLst>
              <a:path h="144018">
                <a:moveTo>
                  <a:pt x="0" y="0"/>
                </a:moveTo>
                <a:lnTo>
                  <a:pt x="0" y="1440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144"/>
          <p:cNvSpPr/>
          <p:nvPr/>
        </p:nvSpPr>
        <p:spPr>
          <a:xfrm>
            <a:off x="2221992" y="4551553"/>
            <a:ext cx="0" cy="144018"/>
          </a:xfrm>
          <a:custGeom>
            <a:avLst/>
            <a:gdLst/>
            <a:ahLst/>
            <a:cxnLst/>
            <a:rect l="l" t="t" r="r" b="b"/>
            <a:pathLst>
              <a:path h="144018">
                <a:moveTo>
                  <a:pt x="0" y="0"/>
                </a:moveTo>
                <a:lnTo>
                  <a:pt x="0" y="1440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145"/>
          <p:cNvSpPr/>
          <p:nvPr/>
        </p:nvSpPr>
        <p:spPr>
          <a:xfrm>
            <a:off x="809446" y="4189653"/>
            <a:ext cx="1822958" cy="132156"/>
          </a:xfrm>
          <a:custGeom>
            <a:avLst/>
            <a:gdLst/>
            <a:ahLst/>
            <a:cxnLst/>
            <a:rect l="l" t="t" r="r" b="b"/>
            <a:pathLst>
              <a:path w="1822958" h="132156">
                <a:moveTo>
                  <a:pt x="0" y="132156"/>
                </a:moveTo>
                <a:lnTo>
                  <a:pt x="1822958" y="132156"/>
                </a:lnTo>
                <a:lnTo>
                  <a:pt x="1822958" y="0"/>
                </a:lnTo>
                <a:lnTo>
                  <a:pt x="0" y="0"/>
                </a:lnTo>
                <a:lnTo>
                  <a:pt x="0" y="13215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146"/>
          <p:cNvSpPr/>
          <p:nvPr/>
        </p:nvSpPr>
        <p:spPr>
          <a:xfrm>
            <a:off x="1346072" y="4189603"/>
            <a:ext cx="0" cy="144018"/>
          </a:xfrm>
          <a:custGeom>
            <a:avLst/>
            <a:gdLst/>
            <a:ahLst/>
            <a:cxnLst/>
            <a:rect l="l" t="t" r="r" b="b"/>
            <a:pathLst>
              <a:path h="144018">
                <a:moveTo>
                  <a:pt x="0" y="0"/>
                </a:moveTo>
                <a:lnTo>
                  <a:pt x="0" y="1440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147"/>
          <p:cNvSpPr/>
          <p:nvPr/>
        </p:nvSpPr>
        <p:spPr>
          <a:xfrm>
            <a:off x="1669288" y="4189603"/>
            <a:ext cx="0" cy="144018"/>
          </a:xfrm>
          <a:custGeom>
            <a:avLst/>
            <a:gdLst/>
            <a:ahLst/>
            <a:cxnLst/>
            <a:rect l="l" t="t" r="r" b="b"/>
            <a:pathLst>
              <a:path h="144018">
                <a:moveTo>
                  <a:pt x="0" y="0"/>
                </a:moveTo>
                <a:lnTo>
                  <a:pt x="0" y="1440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148"/>
          <p:cNvSpPr/>
          <p:nvPr/>
        </p:nvSpPr>
        <p:spPr>
          <a:xfrm>
            <a:off x="2203577" y="4189603"/>
            <a:ext cx="0" cy="144018"/>
          </a:xfrm>
          <a:custGeom>
            <a:avLst/>
            <a:gdLst/>
            <a:ahLst/>
            <a:cxnLst/>
            <a:rect l="l" t="t" r="r" b="b"/>
            <a:pathLst>
              <a:path h="144018">
                <a:moveTo>
                  <a:pt x="0" y="0"/>
                </a:moveTo>
                <a:lnTo>
                  <a:pt x="0" y="1440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149"/>
          <p:cNvSpPr/>
          <p:nvPr/>
        </p:nvSpPr>
        <p:spPr>
          <a:xfrm>
            <a:off x="1648714" y="3414523"/>
            <a:ext cx="0" cy="422655"/>
          </a:xfrm>
          <a:custGeom>
            <a:avLst/>
            <a:gdLst/>
            <a:ahLst/>
            <a:cxnLst/>
            <a:rect l="l" t="t" r="r" b="b"/>
            <a:pathLst>
              <a:path h="422655">
                <a:moveTo>
                  <a:pt x="0" y="422655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150"/>
          <p:cNvSpPr/>
          <p:nvPr/>
        </p:nvSpPr>
        <p:spPr>
          <a:xfrm>
            <a:off x="1071373" y="3318256"/>
            <a:ext cx="1178052" cy="402336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151"/>
          <p:cNvSpPr/>
          <p:nvPr/>
        </p:nvSpPr>
        <p:spPr>
          <a:xfrm>
            <a:off x="1263396" y="3315207"/>
            <a:ext cx="832104" cy="35204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" name="object 152"/>
          <p:cNvSpPr/>
          <p:nvPr/>
        </p:nvSpPr>
        <p:spPr>
          <a:xfrm>
            <a:off x="1119010" y="3345498"/>
            <a:ext cx="1082319" cy="308419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" name="object 153"/>
          <p:cNvSpPr/>
          <p:nvPr/>
        </p:nvSpPr>
        <p:spPr>
          <a:xfrm>
            <a:off x="1119010" y="3345498"/>
            <a:ext cx="1082319" cy="308419"/>
          </a:xfrm>
          <a:custGeom>
            <a:avLst/>
            <a:gdLst/>
            <a:ahLst/>
            <a:cxnLst/>
            <a:rect l="l" t="t" r="r" b="b"/>
            <a:pathLst>
              <a:path w="1082319" h="308419">
                <a:moveTo>
                  <a:pt x="0" y="308419"/>
                </a:moveTo>
                <a:lnTo>
                  <a:pt x="1082319" y="308419"/>
                </a:lnTo>
                <a:lnTo>
                  <a:pt x="1082319" y="0"/>
                </a:lnTo>
                <a:lnTo>
                  <a:pt x="0" y="0"/>
                </a:lnTo>
                <a:lnTo>
                  <a:pt x="0" y="308419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" name="object 154"/>
          <p:cNvSpPr/>
          <p:nvPr/>
        </p:nvSpPr>
        <p:spPr>
          <a:xfrm>
            <a:off x="830083" y="4358690"/>
            <a:ext cx="1822958" cy="132156"/>
          </a:xfrm>
          <a:custGeom>
            <a:avLst/>
            <a:gdLst/>
            <a:ahLst/>
            <a:cxnLst/>
            <a:rect l="l" t="t" r="r" b="b"/>
            <a:pathLst>
              <a:path w="1822958" h="132156">
                <a:moveTo>
                  <a:pt x="0" y="132156"/>
                </a:moveTo>
                <a:lnTo>
                  <a:pt x="1822958" y="132156"/>
                </a:lnTo>
                <a:lnTo>
                  <a:pt x="1822958" y="0"/>
                </a:lnTo>
                <a:lnTo>
                  <a:pt x="0" y="0"/>
                </a:lnTo>
                <a:lnTo>
                  <a:pt x="0" y="13215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" name="object 155"/>
          <p:cNvSpPr/>
          <p:nvPr/>
        </p:nvSpPr>
        <p:spPr>
          <a:xfrm>
            <a:off x="1368932" y="4358641"/>
            <a:ext cx="0" cy="145287"/>
          </a:xfrm>
          <a:custGeom>
            <a:avLst/>
            <a:gdLst/>
            <a:ahLst/>
            <a:cxnLst/>
            <a:rect l="l" t="t" r="r" b="b"/>
            <a:pathLst>
              <a:path h="145287">
                <a:moveTo>
                  <a:pt x="0" y="0"/>
                </a:moveTo>
                <a:lnTo>
                  <a:pt x="0" y="1452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" name="object 156"/>
          <p:cNvSpPr/>
          <p:nvPr/>
        </p:nvSpPr>
        <p:spPr>
          <a:xfrm>
            <a:off x="1689989" y="4358641"/>
            <a:ext cx="0" cy="145287"/>
          </a:xfrm>
          <a:custGeom>
            <a:avLst/>
            <a:gdLst/>
            <a:ahLst/>
            <a:cxnLst/>
            <a:rect l="l" t="t" r="r" b="b"/>
            <a:pathLst>
              <a:path h="145287">
                <a:moveTo>
                  <a:pt x="0" y="0"/>
                </a:moveTo>
                <a:lnTo>
                  <a:pt x="0" y="1452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157"/>
          <p:cNvSpPr/>
          <p:nvPr/>
        </p:nvSpPr>
        <p:spPr>
          <a:xfrm>
            <a:off x="2224278" y="4358641"/>
            <a:ext cx="0" cy="145287"/>
          </a:xfrm>
          <a:custGeom>
            <a:avLst/>
            <a:gdLst/>
            <a:ahLst/>
            <a:cxnLst/>
            <a:rect l="l" t="t" r="r" b="b"/>
            <a:pathLst>
              <a:path h="145287">
                <a:moveTo>
                  <a:pt x="0" y="0"/>
                </a:moveTo>
                <a:lnTo>
                  <a:pt x="0" y="1452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127"/>
          <p:cNvSpPr txBox="1"/>
          <p:nvPr/>
        </p:nvSpPr>
        <p:spPr>
          <a:xfrm>
            <a:off x="1072388" y="1238639"/>
            <a:ext cx="497747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-4" dirty="0" smtClean="0">
                <a:latin typeface="Cambria"/>
                <a:cs typeface="Cambria"/>
              </a:rPr>
              <a:t>O</a:t>
            </a:r>
            <a:r>
              <a:rPr sz="1400" spc="-29" dirty="0" smtClean="0">
                <a:latin typeface="Cambria"/>
                <a:cs typeface="Cambria"/>
              </a:rPr>
              <a:t>r</a:t>
            </a:r>
            <a:r>
              <a:rPr sz="1400" spc="0" dirty="0" smtClean="0">
                <a:latin typeface="Cambria"/>
                <a:cs typeface="Cambria"/>
              </a:rPr>
              <a:t>der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26" name="object 126"/>
          <p:cNvSpPr txBox="1"/>
          <p:nvPr/>
        </p:nvSpPr>
        <p:spPr>
          <a:xfrm>
            <a:off x="1400304" y="3407291"/>
            <a:ext cx="545650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AMP</a:t>
            </a:r>
            <a:r>
              <a:rPr sz="1400" spc="-14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1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25" name="object 125"/>
          <p:cNvSpPr txBox="1"/>
          <p:nvPr/>
        </p:nvSpPr>
        <p:spPr>
          <a:xfrm>
            <a:off x="3693668" y="3404878"/>
            <a:ext cx="545650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AMP</a:t>
            </a:r>
            <a:r>
              <a:rPr sz="1400" spc="-14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2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24" name="object 124"/>
          <p:cNvSpPr txBox="1"/>
          <p:nvPr/>
        </p:nvSpPr>
        <p:spPr>
          <a:xfrm>
            <a:off x="5885862" y="3413140"/>
            <a:ext cx="646818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u="sng" dirty="0" smtClean="0">
                <a:latin typeface="Cambria"/>
                <a:cs typeface="Cambria"/>
              </a:rPr>
              <a:t>  </a:t>
            </a:r>
            <a:r>
              <a:rPr sz="1400" u="sng" spc="-129" dirty="0" smtClean="0">
                <a:latin typeface="Cambria"/>
                <a:cs typeface="Cambria"/>
              </a:rPr>
              <a:t> </a:t>
            </a:r>
            <a:r>
              <a:rPr sz="1400" u="sng" spc="0" dirty="0" smtClean="0">
                <a:latin typeface="Cambria"/>
                <a:cs typeface="Cambria"/>
              </a:rPr>
              <a:t>A</a:t>
            </a:r>
            <a:r>
              <a:rPr sz="1400" u="sng" spc="-9" dirty="0" smtClean="0">
                <a:latin typeface="Cambria"/>
                <a:cs typeface="Cambria"/>
              </a:rPr>
              <a:t>M</a:t>
            </a:r>
            <a:r>
              <a:rPr sz="1400" spc="0" dirty="0" smtClean="0">
                <a:latin typeface="Cambria"/>
                <a:cs typeface="Cambria"/>
              </a:rPr>
              <a:t>P</a:t>
            </a:r>
            <a:r>
              <a:rPr sz="1400" spc="-14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3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23" name="object 123"/>
          <p:cNvSpPr txBox="1"/>
          <p:nvPr/>
        </p:nvSpPr>
        <p:spPr>
          <a:xfrm>
            <a:off x="3150237" y="4213488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7384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22" name="object 122"/>
          <p:cNvSpPr txBox="1"/>
          <p:nvPr/>
        </p:nvSpPr>
        <p:spPr>
          <a:xfrm>
            <a:off x="3691510" y="4221749"/>
            <a:ext cx="151091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1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21" name="object 121"/>
          <p:cNvSpPr txBox="1"/>
          <p:nvPr/>
        </p:nvSpPr>
        <p:spPr>
          <a:xfrm>
            <a:off x="4001263" y="4219583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4/12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20" name="object 120"/>
          <p:cNvSpPr txBox="1"/>
          <p:nvPr/>
        </p:nvSpPr>
        <p:spPr>
          <a:xfrm>
            <a:off x="4551681" y="4221749"/>
            <a:ext cx="152660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C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19" name="object 119"/>
          <p:cNvSpPr txBox="1"/>
          <p:nvPr/>
        </p:nvSpPr>
        <p:spPr>
          <a:xfrm>
            <a:off x="863601" y="4236094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7325</a:t>
            </a:r>
            <a:endParaRPr sz="1400" dirty="0">
              <a:latin typeface="Cambria"/>
              <a:cs typeface="Cambria"/>
            </a:endParaRPr>
          </a:p>
        </p:txBody>
      </p:sp>
      <p:sp>
        <p:nvSpPr>
          <p:cNvPr id="118" name="object 118"/>
          <p:cNvSpPr txBox="1"/>
          <p:nvPr/>
        </p:nvSpPr>
        <p:spPr>
          <a:xfrm>
            <a:off x="1404874" y="4243333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2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17" name="object 117"/>
          <p:cNvSpPr txBox="1"/>
          <p:nvPr/>
        </p:nvSpPr>
        <p:spPr>
          <a:xfrm>
            <a:off x="1717039" y="4242189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4/13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16" name="object 116"/>
          <p:cNvSpPr txBox="1"/>
          <p:nvPr/>
        </p:nvSpPr>
        <p:spPr>
          <a:xfrm>
            <a:off x="2265045" y="4243333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0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15" name="object 115"/>
          <p:cNvSpPr txBox="1"/>
          <p:nvPr/>
        </p:nvSpPr>
        <p:spPr>
          <a:xfrm>
            <a:off x="7776210" y="4325374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7402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14" name="object 114"/>
          <p:cNvSpPr txBox="1"/>
          <p:nvPr/>
        </p:nvSpPr>
        <p:spPr>
          <a:xfrm>
            <a:off x="8317229" y="4331471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3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13" name="object 113"/>
          <p:cNvSpPr txBox="1"/>
          <p:nvPr/>
        </p:nvSpPr>
        <p:spPr>
          <a:xfrm>
            <a:off x="8626857" y="4330200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4/16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12" name="object 112"/>
          <p:cNvSpPr txBox="1"/>
          <p:nvPr/>
        </p:nvSpPr>
        <p:spPr>
          <a:xfrm>
            <a:off x="9177274" y="4331471"/>
            <a:ext cx="152444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C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11" name="object 111"/>
          <p:cNvSpPr txBox="1"/>
          <p:nvPr/>
        </p:nvSpPr>
        <p:spPr>
          <a:xfrm>
            <a:off x="3148077" y="4374397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7103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10" name="object 110"/>
          <p:cNvSpPr txBox="1"/>
          <p:nvPr/>
        </p:nvSpPr>
        <p:spPr>
          <a:xfrm>
            <a:off x="3689097" y="4381509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1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09" name="object 109"/>
          <p:cNvSpPr txBox="1"/>
          <p:nvPr/>
        </p:nvSpPr>
        <p:spPr>
          <a:xfrm>
            <a:off x="3998723" y="4378968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4/10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08" name="object 108"/>
          <p:cNvSpPr txBox="1"/>
          <p:nvPr/>
        </p:nvSpPr>
        <p:spPr>
          <a:xfrm>
            <a:off x="4549268" y="4381509"/>
            <a:ext cx="152444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C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07" name="object 107"/>
          <p:cNvSpPr txBox="1"/>
          <p:nvPr/>
        </p:nvSpPr>
        <p:spPr>
          <a:xfrm>
            <a:off x="886765" y="4405258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7202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06" name="object 106"/>
          <p:cNvSpPr txBox="1"/>
          <p:nvPr/>
        </p:nvSpPr>
        <p:spPr>
          <a:xfrm>
            <a:off x="1425703" y="4413519"/>
            <a:ext cx="151091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2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05" name="object 105"/>
          <p:cNvSpPr txBox="1"/>
          <p:nvPr/>
        </p:nvSpPr>
        <p:spPr>
          <a:xfrm>
            <a:off x="1737488" y="4411353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4/09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04" name="object 104"/>
          <p:cNvSpPr txBox="1"/>
          <p:nvPr/>
        </p:nvSpPr>
        <p:spPr>
          <a:xfrm>
            <a:off x="2287906" y="4413519"/>
            <a:ext cx="152660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C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03" name="object 103"/>
          <p:cNvSpPr txBox="1"/>
          <p:nvPr/>
        </p:nvSpPr>
        <p:spPr>
          <a:xfrm>
            <a:off x="3148077" y="4535051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7415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7773670" y="4535051"/>
            <a:ext cx="1553363" cy="20980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95"/>
              </a:lnSpc>
              <a:spcBef>
                <a:spcPts val="79"/>
              </a:spcBef>
            </a:pPr>
            <a:r>
              <a:rPr sz="2100" spc="0" baseline="2030" dirty="0" smtClean="0">
                <a:latin typeface="Cambria"/>
                <a:cs typeface="Cambria"/>
              </a:rPr>
              <a:t>7324  </a:t>
            </a:r>
            <a:r>
              <a:rPr sz="2100" spc="222" baseline="2030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3    </a:t>
            </a:r>
            <a:r>
              <a:rPr sz="1400" spc="119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4/13   </a:t>
            </a:r>
            <a:r>
              <a:rPr sz="1400" spc="79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0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3689097" y="4541148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1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00" name="object 100"/>
          <p:cNvSpPr txBox="1"/>
          <p:nvPr/>
        </p:nvSpPr>
        <p:spPr>
          <a:xfrm>
            <a:off x="3998723" y="4541148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4/13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99" name="object 99"/>
          <p:cNvSpPr txBox="1"/>
          <p:nvPr/>
        </p:nvSpPr>
        <p:spPr>
          <a:xfrm>
            <a:off x="4549268" y="4541148"/>
            <a:ext cx="152444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C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98" name="object 98"/>
          <p:cNvSpPr txBox="1"/>
          <p:nvPr/>
        </p:nvSpPr>
        <p:spPr>
          <a:xfrm>
            <a:off x="884326" y="4598171"/>
            <a:ext cx="1287858" cy="2110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05"/>
              </a:lnSpc>
              <a:spcBef>
                <a:spcPts val="80"/>
              </a:spcBef>
            </a:pPr>
            <a:r>
              <a:rPr sz="2100" spc="0" baseline="2030" dirty="0" smtClean="0">
                <a:latin typeface="Cambria"/>
                <a:cs typeface="Cambria"/>
              </a:rPr>
              <a:t>7225  </a:t>
            </a:r>
            <a:r>
              <a:rPr sz="2100" spc="202" baseline="2030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2    </a:t>
            </a:r>
            <a:r>
              <a:rPr sz="1400" spc="139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4/15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97" name="object 97"/>
          <p:cNvSpPr txBox="1"/>
          <p:nvPr/>
        </p:nvSpPr>
        <p:spPr>
          <a:xfrm>
            <a:off x="2285745" y="4605536"/>
            <a:ext cx="152444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C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96" name="object 96"/>
          <p:cNvSpPr txBox="1"/>
          <p:nvPr/>
        </p:nvSpPr>
        <p:spPr>
          <a:xfrm>
            <a:off x="3145665" y="4694818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7188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95" name="object 95"/>
          <p:cNvSpPr txBox="1"/>
          <p:nvPr/>
        </p:nvSpPr>
        <p:spPr>
          <a:xfrm>
            <a:off x="3686937" y="4699390"/>
            <a:ext cx="1012724" cy="2061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70"/>
              </a:lnSpc>
              <a:spcBef>
                <a:spcPts val="78"/>
              </a:spcBef>
            </a:pPr>
            <a:r>
              <a:rPr sz="1400" spc="0" dirty="0" smtClean="0">
                <a:latin typeface="Cambria"/>
                <a:cs typeface="Cambria"/>
              </a:rPr>
              <a:t>1    </a:t>
            </a:r>
            <a:r>
              <a:rPr sz="1400" spc="119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4/13   </a:t>
            </a:r>
            <a:r>
              <a:rPr sz="1400" spc="79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C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94" name="object 94"/>
          <p:cNvSpPr txBox="1"/>
          <p:nvPr/>
        </p:nvSpPr>
        <p:spPr>
          <a:xfrm>
            <a:off x="538685" y="5078710"/>
            <a:ext cx="133811" cy="63045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0"/>
              </a:lnSpc>
              <a:spcBef>
                <a:spcPts val="76"/>
              </a:spcBef>
            </a:pPr>
            <a:r>
              <a:rPr sz="1400" spc="0" dirty="0" smtClean="0">
                <a:solidFill>
                  <a:srgbClr val="AC2B37"/>
                </a:solidFill>
                <a:latin typeface="Wingdings"/>
                <a:cs typeface="Wingdings"/>
              </a:rPr>
              <a:t></a:t>
            </a:r>
            <a:endParaRPr sz="1400">
              <a:latin typeface="Wingdings"/>
              <a:cs typeface="Wingdings"/>
            </a:endParaRPr>
          </a:p>
          <a:p>
            <a:pPr marL="12700">
              <a:lnSpc>
                <a:spcPct val="92488"/>
              </a:lnSpc>
              <a:spcBef>
                <a:spcPts val="48"/>
              </a:spcBef>
            </a:pPr>
            <a:r>
              <a:rPr sz="1400" spc="0" dirty="0" smtClean="0">
                <a:solidFill>
                  <a:srgbClr val="AC2B37"/>
                </a:solidFill>
                <a:latin typeface="Wingdings"/>
                <a:cs typeface="Wingdings"/>
              </a:rPr>
              <a:t></a:t>
            </a:r>
            <a:endParaRPr sz="1400">
              <a:latin typeface="Wingdings"/>
              <a:cs typeface="Wingdings"/>
            </a:endParaRPr>
          </a:p>
          <a:p>
            <a:pPr marL="12700">
              <a:lnSpc>
                <a:spcPct val="92488"/>
              </a:lnSpc>
              <a:spcBef>
                <a:spcPts val="125"/>
              </a:spcBef>
            </a:pPr>
            <a:r>
              <a:rPr sz="1400" spc="0" dirty="0" smtClean="0">
                <a:solidFill>
                  <a:srgbClr val="AC2B37"/>
                </a:solidFill>
                <a:latin typeface="Wingdings"/>
                <a:cs typeface="Wingdings"/>
              </a:rPr>
              <a:t></a:t>
            </a:r>
            <a:endParaRPr sz="1400">
              <a:latin typeface="Wingdings"/>
              <a:cs typeface="Wingdings"/>
            </a:endParaRPr>
          </a:p>
        </p:txBody>
      </p:sp>
      <p:sp>
        <p:nvSpPr>
          <p:cNvPr id="93" name="object 93"/>
          <p:cNvSpPr txBox="1"/>
          <p:nvPr/>
        </p:nvSpPr>
        <p:spPr>
          <a:xfrm>
            <a:off x="718516" y="5078612"/>
            <a:ext cx="8471235" cy="63045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6746">
              <a:lnSpc>
                <a:spcPts val="1550"/>
              </a:lnSpc>
              <a:spcBef>
                <a:spcPts val="77"/>
              </a:spcBef>
            </a:pPr>
            <a:r>
              <a:rPr sz="1400" spc="-9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r_</a:t>
            </a: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mb</a:t>
            </a:r>
            <a:r>
              <a:rPr sz="1400" spc="-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r</a:t>
            </a:r>
            <a:r>
              <a:rPr sz="1400" spc="-3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m</a:t>
            </a:r>
            <a:r>
              <a:rPr sz="1400" spc="-29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y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be </a:t>
            </a:r>
            <a:r>
              <a:rPr sz="1400" spc="4" dirty="0" smtClean="0">
                <a:latin typeface="+mj-lt"/>
                <a:cs typeface="Cambria"/>
              </a:rPr>
              <a:t>th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p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19" dirty="0" smtClean="0">
                <a:latin typeface="+mj-lt"/>
                <a:cs typeface="Cambria"/>
              </a:rPr>
              <a:t>f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r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d</a:t>
            </a:r>
            <a:r>
              <a:rPr sz="1400" spc="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c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s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25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ol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mn</a:t>
            </a:r>
            <a:r>
              <a:rPr sz="1400" spc="-25" dirty="0" smtClean="0">
                <a:latin typeface="+mj-lt"/>
                <a:cs typeface="Cambria"/>
              </a:rPr>
              <a:t> </a:t>
            </a:r>
            <a:r>
              <a:rPr sz="1400" spc="-14" dirty="0" smtClean="0">
                <a:latin typeface="+mj-lt"/>
                <a:cs typeface="Cambria"/>
              </a:rPr>
              <a:t>f</a:t>
            </a:r>
            <a:r>
              <a:rPr sz="1400" spc="0" dirty="0" smtClean="0">
                <a:latin typeface="+mj-lt"/>
                <a:cs typeface="Cambria"/>
              </a:rPr>
              <a:t>or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ORD</a:t>
            </a:r>
            <a:r>
              <a:rPr sz="1400" spc="-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R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able,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thu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 </a:t>
            </a:r>
            <a:r>
              <a:rPr sz="1400" spc="4" dirty="0" smtClean="0">
                <a:latin typeface="+mj-lt"/>
                <a:cs typeface="Cambria"/>
              </a:rPr>
              <a:t>g</a:t>
            </a:r>
            <a:r>
              <a:rPr sz="1400" spc="0" dirty="0" smtClean="0">
                <a:latin typeface="+mj-lt"/>
                <a:cs typeface="Cambria"/>
              </a:rPr>
              <a:t>ood</a:t>
            </a:r>
            <a:r>
              <a:rPr sz="1400" spc="-19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nd</a:t>
            </a:r>
            <a:r>
              <a:rPr sz="1400" spc="-1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x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d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da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.</a:t>
            </a:r>
            <a:endParaRPr sz="1400" dirty="0">
              <a:latin typeface="+mj-lt"/>
              <a:cs typeface="Cambria"/>
            </a:endParaRPr>
          </a:p>
          <a:p>
            <a:pPr marL="12700" marR="26746">
              <a:lnSpc>
                <a:spcPct val="97696"/>
              </a:lnSpc>
            </a:pPr>
            <a:r>
              <a:rPr sz="1400" spc="-79" dirty="0" smtClean="0">
                <a:latin typeface="+mj-lt"/>
                <a:cs typeface="Cambria"/>
              </a:rPr>
              <a:t>V</a:t>
            </a:r>
            <a:r>
              <a:rPr sz="1400" spc="0" dirty="0" smtClean="0">
                <a:latin typeface="+mj-lt"/>
                <a:cs typeface="Cambria"/>
              </a:rPr>
              <a:t>al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es</a:t>
            </a:r>
            <a:r>
              <a:rPr sz="1400" spc="-25" dirty="0" smtClean="0">
                <a:latin typeface="+mj-lt"/>
                <a:cs typeface="Cambria"/>
              </a:rPr>
              <a:t> </a:t>
            </a:r>
            <a:r>
              <a:rPr sz="1400" spc="-14" dirty="0" smtClean="0">
                <a:latin typeface="+mj-lt"/>
                <a:cs typeface="Cambria"/>
              </a:rPr>
              <a:t>f</a:t>
            </a:r>
            <a:r>
              <a:rPr sz="1400" spc="0" dirty="0" smtClean="0">
                <a:latin typeface="+mj-lt"/>
                <a:cs typeface="Cambria"/>
              </a:rPr>
              <a:t>or</a:t>
            </a:r>
            <a:r>
              <a:rPr sz="1400" spc="-4" dirty="0" smtClean="0">
                <a:latin typeface="+mj-lt"/>
                <a:cs typeface="Cambria"/>
              </a:rPr>
              <a:t> C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r_</a:t>
            </a: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mb</a:t>
            </a:r>
            <a:r>
              <a:rPr sz="1400" spc="-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r</a:t>
            </a:r>
            <a:r>
              <a:rPr sz="1400" spc="-3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-4" dirty="0" smtClean="0">
                <a:latin typeface="+mj-lt"/>
                <a:cs typeface="Cambria"/>
              </a:rPr>
              <a:t>o</a:t>
            </a:r>
            <a:r>
              <a:rPr sz="1400" spc="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-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niq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e and </a:t>
            </a:r>
            <a:r>
              <a:rPr sz="1400" spc="4" dirty="0" smtClean="0">
                <a:latin typeface="+mj-lt"/>
                <a:cs typeface="Cambria"/>
              </a:rPr>
              <a:t>th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19" dirty="0" smtClean="0">
                <a:latin typeface="+mj-lt"/>
                <a:cs typeface="Cambria"/>
              </a:rPr>
              <a:t>f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 a </a:t>
            </a:r>
            <a:r>
              <a:rPr sz="1400" spc="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UPI.</a:t>
            </a:r>
            <a:endParaRPr sz="1400" dirty="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  <a:spcBef>
                <a:spcPts val="35"/>
              </a:spcBef>
            </a:pPr>
            <a:r>
              <a:rPr sz="1400" spc="-19" dirty="0" smtClean="0">
                <a:latin typeface="+mj-lt"/>
                <a:cs typeface="Cambria"/>
              </a:rPr>
              <a:t>R</a:t>
            </a:r>
            <a:r>
              <a:rPr sz="1400" spc="-14" dirty="0" smtClean="0">
                <a:latin typeface="+mj-lt"/>
                <a:cs typeface="Cambria"/>
              </a:rPr>
              <a:t>o</a:t>
            </a:r>
            <a:r>
              <a:rPr sz="1400" spc="-9" dirty="0" smtClean="0">
                <a:latin typeface="+mj-lt"/>
                <a:cs typeface="Cambria"/>
              </a:rPr>
              <a:t>w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25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wit</a:t>
            </a:r>
            <a:r>
              <a:rPr sz="1400" spc="0" dirty="0" smtClean="0">
                <a:latin typeface="+mj-lt"/>
                <a:cs typeface="Cambria"/>
              </a:rPr>
              <a:t>h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th</a:t>
            </a:r>
            <a:r>
              <a:rPr sz="1400" spc="0" dirty="0" smtClean="0">
                <a:latin typeface="+mj-lt"/>
                <a:cs typeface="Cambria"/>
              </a:rPr>
              <a:t>e sa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14" dirty="0" smtClean="0">
                <a:latin typeface="+mj-lt"/>
                <a:cs typeface="Cambria"/>
              </a:rPr>
              <a:t> </a:t>
            </a:r>
            <a:r>
              <a:rPr sz="1400" spc="-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I</a:t>
            </a:r>
            <a:r>
              <a:rPr sz="1400" spc="4" dirty="0" smtClean="0">
                <a:latin typeface="+mj-lt"/>
                <a:cs typeface="Cambria"/>
              </a:rPr>
              <a:t> </a:t>
            </a:r>
            <a:r>
              <a:rPr sz="1400" spc="-25" dirty="0" smtClean="0">
                <a:latin typeface="+mj-lt"/>
                <a:cs typeface="Cambria"/>
              </a:rPr>
              <a:t>v</a:t>
            </a:r>
            <a:r>
              <a:rPr sz="1400" spc="0" dirty="0" smtClean="0">
                <a:latin typeface="+mj-lt"/>
                <a:cs typeface="Cambria"/>
              </a:rPr>
              <a:t>al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1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d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strib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34" dirty="0" smtClean="0">
                <a:latin typeface="+mj-lt"/>
                <a:cs typeface="Cambria"/>
              </a:rPr>
              <a:t> 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th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4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me</a:t>
            </a:r>
            <a:r>
              <a:rPr sz="1400" spc="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MP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aus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ng</a:t>
            </a:r>
            <a:r>
              <a:rPr sz="1400" spc="-19" dirty="0" smtClean="0">
                <a:latin typeface="+mj-lt"/>
                <a:cs typeface="Cambria"/>
              </a:rPr>
              <a:t> 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-1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w</a:t>
            </a:r>
            <a:r>
              <a:rPr sz="1400" spc="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d</a:t>
            </a:r>
            <a:r>
              <a:rPr sz="1400" spc="9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strib</a:t>
            </a:r>
            <a:r>
              <a:rPr sz="1400" spc="4" dirty="0" smtClean="0">
                <a:latin typeface="+mj-lt"/>
                <a:cs typeface="Cambria"/>
              </a:rPr>
              <a:t>uti</a:t>
            </a:r>
            <a:r>
              <a:rPr sz="1400" spc="-1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-34" dirty="0" smtClean="0">
                <a:latin typeface="+mj-lt"/>
                <a:cs typeface="Cambria"/>
              </a:rPr>
              <a:t> 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be </a:t>
            </a:r>
            <a:r>
              <a:rPr sz="1400" spc="4" dirty="0" smtClean="0">
                <a:latin typeface="+mj-lt"/>
                <a:cs typeface="Cambria"/>
              </a:rPr>
              <a:t>l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s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ni</a:t>
            </a:r>
            <a:r>
              <a:rPr sz="1400" spc="-14" dirty="0" smtClean="0">
                <a:latin typeface="+mj-lt"/>
                <a:cs typeface="Cambria"/>
              </a:rPr>
              <a:t>f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m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or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29" dirty="0" smtClean="0">
                <a:latin typeface="+mj-lt"/>
                <a:cs typeface="Cambria"/>
              </a:rPr>
              <a:t>k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w</a:t>
            </a:r>
            <a:r>
              <a:rPr sz="1400" spc="0" dirty="0" smtClean="0">
                <a:latin typeface="+mj-lt"/>
                <a:cs typeface="Cambria"/>
              </a:rPr>
              <a:t>ed.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90" name="object 90"/>
          <p:cNvSpPr txBox="1"/>
          <p:nvPr/>
        </p:nvSpPr>
        <p:spPr>
          <a:xfrm>
            <a:off x="7716139" y="4487291"/>
            <a:ext cx="538860" cy="1333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9" name="object 89"/>
          <p:cNvSpPr txBox="1"/>
          <p:nvPr/>
        </p:nvSpPr>
        <p:spPr>
          <a:xfrm>
            <a:off x="8255001" y="4487291"/>
            <a:ext cx="321055" cy="1333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8" name="object 88"/>
          <p:cNvSpPr txBox="1"/>
          <p:nvPr/>
        </p:nvSpPr>
        <p:spPr>
          <a:xfrm>
            <a:off x="8576057" y="4487291"/>
            <a:ext cx="534289" cy="1333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7" name="object 87"/>
          <p:cNvSpPr txBox="1"/>
          <p:nvPr/>
        </p:nvSpPr>
        <p:spPr>
          <a:xfrm>
            <a:off x="9110345" y="4487291"/>
            <a:ext cx="428752" cy="1333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6" name="object 86"/>
          <p:cNvSpPr txBox="1"/>
          <p:nvPr/>
        </p:nvSpPr>
        <p:spPr>
          <a:xfrm>
            <a:off x="7718426" y="4277664"/>
            <a:ext cx="538860" cy="1321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5" name="object 85"/>
          <p:cNvSpPr txBox="1"/>
          <p:nvPr/>
        </p:nvSpPr>
        <p:spPr>
          <a:xfrm>
            <a:off x="8257285" y="4277664"/>
            <a:ext cx="321057" cy="1321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4" name="object 84"/>
          <p:cNvSpPr txBox="1"/>
          <p:nvPr/>
        </p:nvSpPr>
        <p:spPr>
          <a:xfrm>
            <a:off x="8578342" y="4277664"/>
            <a:ext cx="534288" cy="1321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3" name="object 83"/>
          <p:cNvSpPr txBox="1"/>
          <p:nvPr/>
        </p:nvSpPr>
        <p:spPr>
          <a:xfrm>
            <a:off x="9112631" y="4277664"/>
            <a:ext cx="428752" cy="1321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2" name="object 82"/>
          <p:cNvSpPr txBox="1"/>
          <p:nvPr/>
        </p:nvSpPr>
        <p:spPr>
          <a:xfrm>
            <a:off x="3092196" y="4166921"/>
            <a:ext cx="537719" cy="1458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1" name="object 81"/>
          <p:cNvSpPr txBox="1"/>
          <p:nvPr/>
        </p:nvSpPr>
        <p:spPr>
          <a:xfrm>
            <a:off x="3629915" y="4166921"/>
            <a:ext cx="321057" cy="1458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0" name="object 80"/>
          <p:cNvSpPr txBox="1"/>
          <p:nvPr/>
        </p:nvSpPr>
        <p:spPr>
          <a:xfrm>
            <a:off x="3950969" y="4166921"/>
            <a:ext cx="534288" cy="1458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9" name="object 79"/>
          <p:cNvSpPr txBox="1"/>
          <p:nvPr/>
        </p:nvSpPr>
        <p:spPr>
          <a:xfrm>
            <a:off x="4485259" y="4166921"/>
            <a:ext cx="429895" cy="1458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8" name="object 78"/>
          <p:cNvSpPr txBox="1"/>
          <p:nvPr/>
        </p:nvSpPr>
        <p:spPr>
          <a:xfrm>
            <a:off x="3092196" y="4312818"/>
            <a:ext cx="537719" cy="16018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7" name="object 77"/>
          <p:cNvSpPr txBox="1"/>
          <p:nvPr/>
        </p:nvSpPr>
        <p:spPr>
          <a:xfrm>
            <a:off x="3629915" y="4312818"/>
            <a:ext cx="321057" cy="16018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6" name="object 76"/>
          <p:cNvSpPr txBox="1"/>
          <p:nvPr/>
        </p:nvSpPr>
        <p:spPr>
          <a:xfrm>
            <a:off x="3950969" y="4312818"/>
            <a:ext cx="534288" cy="16018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5" name="object 75"/>
          <p:cNvSpPr txBox="1"/>
          <p:nvPr/>
        </p:nvSpPr>
        <p:spPr>
          <a:xfrm>
            <a:off x="4485259" y="4312818"/>
            <a:ext cx="429895" cy="16018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4" name="object 74"/>
          <p:cNvSpPr txBox="1"/>
          <p:nvPr/>
        </p:nvSpPr>
        <p:spPr>
          <a:xfrm>
            <a:off x="3092196" y="4473004"/>
            <a:ext cx="537719" cy="1607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3" name="object 73"/>
          <p:cNvSpPr txBox="1"/>
          <p:nvPr/>
        </p:nvSpPr>
        <p:spPr>
          <a:xfrm>
            <a:off x="3629915" y="4473004"/>
            <a:ext cx="321057" cy="1607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2" name="object 72"/>
          <p:cNvSpPr txBox="1"/>
          <p:nvPr/>
        </p:nvSpPr>
        <p:spPr>
          <a:xfrm>
            <a:off x="3950969" y="4473004"/>
            <a:ext cx="534288" cy="1607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1" name="object 71"/>
          <p:cNvSpPr txBox="1"/>
          <p:nvPr/>
        </p:nvSpPr>
        <p:spPr>
          <a:xfrm>
            <a:off x="4485259" y="4473004"/>
            <a:ext cx="429895" cy="1607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0" name="object 70"/>
          <p:cNvSpPr txBox="1"/>
          <p:nvPr/>
        </p:nvSpPr>
        <p:spPr>
          <a:xfrm>
            <a:off x="3092196" y="4633747"/>
            <a:ext cx="537719" cy="1452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9" name="object 69"/>
          <p:cNvSpPr txBox="1"/>
          <p:nvPr/>
        </p:nvSpPr>
        <p:spPr>
          <a:xfrm>
            <a:off x="3629915" y="4633747"/>
            <a:ext cx="321057" cy="1452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8" name="object 68"/>
          <p:cNvSpPr txBox="1"/>
          <p:nvPr/>
        </p:nvSpPr>
        <p:spPr>
          <a:xfrm>
            <a:off x="3950969" y="4633747"/>
            <a:ext cx="534288" cy="1452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7" name="object 67"/>
          <p:cNvSpPr txBox="1"/>
          <p:nvPr/>
        </p:nvSpPr>
        <p:spPr>
          <a:xfrm>
            <a:off x="4485259" y="4633747"/>
            <a:ext cx="429895" cy="1452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6" name="object 66"/>
          <p:cNvSpPr txBox="1"/>
          <p:nvPr/>
        </p:nvSpPr>
        <p:spPr>
          <a:xfrm>
            <a:off x="687915" y="3934841"/>
            <a:ext cx="2029377" cy="2548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5" name="object 65"/>
          <p:cNvSpPr txBox="1"/>
          <p:nvPr/>
        </p:nvSpPr>
        <p:spPr>
          <a:xfrm>
            <a:off x="687915" y="4189654"/>
            <a:ext cx="131852" cy="5095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4" name="object 64"/>
          <p:cNvSpPr txBox="1"/>
          <p:nvPr/>
        </p:nvSpPr>
        <p:spPr>
          <a:xfrm>
            <a:off x="819766" y="4189654"/>
            <a:ext cx="548024" cy="1505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3" name="object 63"/>
          <p:cNvSpPr txBox="1"/>
          <p:nvPr/>
        </p:nvSpPr>
        <p:spPr>
          <a:xfrm>
            <a:off x="1367791" y="4189654"/>
            <a:ext cx="321055" cy="1505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2" name="object 62"/>
          <p:cNvSpPr txBox="1"/>
          <p:nvPr/>
        </p:nvSpPr>
        <p:spPr>
          <a:xfrm>
            <a:off x="1688847" y="4189654"/>
            <a:ext cx="534289" cy="1505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1" name="object 61"/>
          <p:cNvSpPr txBox="1"/>
          <p:nvPr/>
        </p:nvSpPr>
        <p:spPr>
          <a:xfrm>
            <a:off x="2223136" y="4189654"/>
            <a:ext cx="419588" cy="1505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0" name="object 60"/>
          <p:cNvSpPr txBox="1"/>
          <p:nvPr/>
        </p:nvSpPr>
        <p:spPr>
          <a:xfrm>
            <a:off x="2642724" y="4189654"/>
            <a:ext cx="74568" cy="5095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9" name="object 59"/>
          <p:cNvSpPr txBox="1"/>
          <p:nvPr/>
        </p:nvSpPr>
        <p:spPr>
          <a:xfrm>
            <a:off x="819766" y="4340250"/>
            <a:ext cx="548024" cy="1505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8" name="object 58"/>
          <p:cNvSpPr txBox="1"/>
          <p:nvPr/>
        </p:nvSpPr>
        <p:spPr>
          <a:xfrm>
            <a:off x="1367791" y="4340250"/>
            <a:ext cx="321055" cy="1505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7" name="object 57"/>
          <p:cNvSpPr txBox="1"/>
          <p:nvPr/>
        </p:nvSpPr>
        <p:spPr>
          <a:xfrm>
            <a:off x="1688847" y="4340250"/>
            <a:ext cx="534289" cy="1505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6" name="object 56"/>
          <p:cNvSpPr txBox="1"/>
          <p:nvPr/>
        </p:nvSpPr>
        <p:spPr>
          <a:xfrm>
            <a:off x="2223136" y="4340250"/>
            <a:ext cx="419588" cy="1505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5" name="object 55"/>
          <p:cNvSpPr txBox="1"/>
          <p:nvPr/>
        </p:nvSpPr>
        <p:spPr>
          <a:xfrm>
            <a:off x="819766" y="4490847"/>
            <a:ext cx="548024" cy="606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 txBox="1"/>
          <p:nvPr/>
        </p:nvSpPr>
        <p:spPr>
          <a:xfrm>
            <a:off x="1367791" y="4490847"/>
            <a:ext cx="321055" cy="606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 txBox="1"/>
          <p:nvPr/>
        </p:nvSpPr>
        <p:spPr>
          <a:xfrm>
            <a:off x="1688847" y="4490847"/>
            <a:ext cx="534289" cy="606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 txBox="1"/>
          <p:nvPr/>
        </p:nvSpPr>
        <p:spPr>
          <a:xfrm>
            <a:off x="2223136" y="4490847"/>
            <a:ext cx="419588" cy="606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 txBox="1"/>
          <p:nvPr/>
        </p:nvSpPr>
        <p:spPr>
          <a:xfrm>
            <a:off x="819766" y="4551527"/>
            <a:ext cx="548024" cy="1476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0" name="object 50"/>
          <p:cNvSpPr txBox="1"/>
          <p:nvPr/>
        </p:nvSpPr>
        <p:spPr>
          <a:xfrm>
            <a:off x="1367791" y="4551527"/>
            <a:ext cx="321055" cy="1476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9" name="object 49"/>
          <p:cNvSpPr txBox="1"/>
          <p:nvPr/>
        </p:nvSpPr>
        <p:spPr>
          <a:xfrm>
            <a:off x="1688847" y="4551527"/>
            <a:ext cx="534289" cy="1476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8" name="object 48"/>
          <p:cNvSpPr txBox="1"/>
          <p:nvPr/>
        </p:nvSpPr>
        <p:spPr>
          <a:xfrm>
            <a:off x="2223136" y="4551527"/>
            <a:ext cx="419588" cy="1476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7" name="object 47"/>
          <p:cNvSpPr txBox="1"/>
          <p:nvPr/>
        </p:nvSpPr>
        <p:spPr>
          <a:xfrm>
            <a:off x="7998208" y="3340672"/>
            <a:ext cx="691899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94767">
              <a:lnSpc>
                <a:spcPct val="97696"/>
              </a:lnSpc>
              <a:spcBef>
                <a:spcPts val="395"/>
              </a:spcBef>
            </a:pPr>
            <a:r>
              <a:rPr sz="1400" spc="0" dirty="0" smtClean="0">
                <a:latin typeface="Cambria"/>
                <a:cs typeface="Cambria"/>
              </a:rPr>
              <a:t>AM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8530209" y="3340672"/>
            <a:ext cx="550316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9170">
              <a:lnSpc>
                <a:spcPct val="97696"/>
              </a:lnSpc>
              <a:spcBef>
                <a:spcPts val="395"/>
              </a:spcBef>
            </a:pPr>
            <a:r>
              <a:rPr sz="1400" spc="0" dirty="0" smtClean="0">
                <a:latin typeface="Cambria"/>
                <a:cs typeface="Cambria"/>
              </a:rPr>
              <a:t>P</a:t>
            </a:r>
            <a:r>
              <a:rPr sz="1400" spc="-14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4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7998207" y="3649091"/>
            <a:ext cx="532002" cy="1880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4" name="object 44"/>
          <p:cNvSpPr txBox="1"/>
          <p:nvPr/>
        </p:nvSpPr>
        <p:spPr>
          <a:xfrm>
            <a:off x="8530209" y="3649091"/>
            <a:ext cx="550316" cy="1880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3" name="object 43"/>
          <p:cNvSpPr txBox="1"/>
          <p:nvPr/>
        </p:nvSpPr>
        <p:spPr>
          <a:xfrm>
            <a:off x="1119009" y="3345498"/>
            <a:ext cx="529704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2" name="object 42"/>
          <p:cNvSpPr txBox="1"/>
          <p:nvPr/>
        </p:nvSpPr>
        <p:spPr>
          <a:xfrm>
            <a:off x="1648714" y="3345498"/>
            <a:ext cx="552615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1" name="object 41"/>
          <p:cNvSpPr txBox="1"/>
          <p:nvPr/>
        </p:nvSpPr>
        <p:spPr>
          <a:xfrm>
            <a:off x="1119009" y="3653917"/>
            <a:ext cx="529704" cy="1832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0" name="object 40"/>
          <p:cNvSpPr txBox="1"/>
          <p:nvPr/>
        </p:nvSpPr>
        <p:spPr>
          <a:xfrm>
            <a:off x="1648714" y="3653917"/>
            <a:ext cx="552615" cy="1832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9" name="object 39"/>
          <p:cNvSpPr txBox="1"/>
          <p:nvPr/>
        </p:nvSpPr>
        <p:spPr>
          <a:xfrm>
            <a:off x="2872107" y="1302341"/>
            <a:ext cx="1297850" cy="4075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23074">
              <a:lnSpc>
                <a:spcPct val="95825"/>
              </a:lnSpc>
              <a:spcBef>
                <a:spcPts val="35"/>
              </a:spcBef>
            </a:pPr>
            <a:r>
              <a:rPr sz="650" u="sng" spc="4" dirty="0" smtClean="0">
                <a:latin typeface="Arial"/>
                <a:cs typeface="Arial"/>
              </a:rPr>
              <a:t>Or</a:t>
            </a:r>
            <a:r>
              <a:rPr sz="650" u="sng" spc="0" dirty="0" smtClean="0">
                <a:latin typeface="Arial"/>
                <a:cs typeface="Arial"/>
              </a:rPr>
              <a:t>d</a:t>
            </a:r>
            <a:r>
              <a:rPr sz="650" u="sng" spc="-4" dirty="0" smtClean="0">
                <a:latin typeface="Arial"/>
                <a:cs typeface="Arial"/>
              </a:rPr>
              <a:t>e</a:t>
            </a:r>
            <a:r>
              <a:rPr sz="650" u="sng" spc="0" dirty="0" smtClean="0">
                <a:latin typeface="Arial"/>
                <a:cs typeface="Arial"/>
              </a:rPr>
              <a:t>r</a:t>
            </a:r>
            <a:endParaRPr sz="650">
              <a:latin typeface="Arial"/>
              <a:cs typeface="Arial"/>
            </a:endParaRPr>
          </a:p>
          <a:p>
            <a:pPr marL="323074">
              <a:lnSpc>
                <a:spcPct val="95825"/>
              </a:lnSpc>
              <a:spcBef>
                <a:spcPts val="833"/>
              </a:spcBef>
            </a:pPr>
            <a:r>
              <a:rPr sz="650" dirty="0" smtClean="0">
                <a:latin typeface="Arial"/>
                <a:cs typeface="Arial"/>
              </a:rPr>
              <a:t>Nu</a:t>
            </a:r>
            <a:r>
              <a:rPr sz="650" spc="25" dirty="0" smtClean="0">
                <a:latin typeface="Arial"/>
                <a:cs typeface="Arial"/>
              </a:rPr>
              <a:t>m</a:t>
            </a:r>
            <a:r>
              <a:rPr sz="650" spc="0" dirty="0" smtClean="0">
                <a:latin typeface="Arial"/>
                <a:cs typeface="Arial"/>
              </a:rPr>
              <a:t>b</a:t>
            </a:r>
            <a:r>
              <a:rPr sz="650" spc="-4" dirty="0" smtClean="0">
                <a:latin typeface="Arial"/>
                <a:cs typeface="Arial"/>
              </a:rPr>
              <a:t>e</a:t>
            </a:r>
            <a:r>
              <a:rPr sz="650" spc="0" dirty="0" smtClean="0">
                <a:latin typeface="Arial"/>
                <a:cs typeface="Arial"/>
              </a:rPr>
              <a:t>r</a:t>
            </a:r>
            <a:endParaRPr sz="650">
              <a:latin typeface="Arial"/>
              <a:cs typeface="Arial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4169957" y="1302341"/>
            <a:ext cx="1405476" cy="4075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23129">
              <a:lnSpc>
                <a:spcPct val="95825"/>
              </a:lnSpc>
              <a:spcBef>
                <a:spcPts val="35"/>
              </a:spcBef>
            </a:pPr>
            <a:r>
              <a:rPr sz="650" u="sng" dirty="0" smtClean="0">
                <a:latin typeface="Arial"/>
                <a:cs typeface="Arial"/>
              </a:rPr>
              <a:t>Cu</a:t>
            </a:r>
            <a:r>
              <a:rPr sz="650" u="sng" spc="4" dirty="0" smtClean="0">
                <a:latin typeface="Arial"/>
                <a:cs typeface="Arial"/>
              </a:rPr>
              <a:t>s</a:t>
            </a:r>
            <a:r>
              <a:rPr sz="650" u="sng" spc="0" dirty="0" smtClean="0">
                <a:latin typeface="Arial"/>
                <a:cs typeface="Arial"/>
              </a:rPr>
              <a:t>to</a:t>
            </a:r>
            <a:r>
              <a:rPr sz="650" u="sng" spc="19" dirty="0" smtClean="0">
                <a:latin typeface="Arial"/>
                <a:cs typeface="Arial"/>
              </a:rPr>
              <a:t>m</a:t>
            </a:r>
            <a:r>
              <a:rPr sz="650" u="sng" spc="0" dirty="0" smtClean="0">
                <a:latin typeface="Arial"/>
                <a:cs typeface="Arial"/>
              </a:rPr>
              <a:t>er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3"/>
              </a:spcBef>
            </a:pPr>
            <a:r>
              <a:rPr sz="650" dirty="0" smtClean="0">
                <a:latin typeface="Arial"/>
                <a:cs typeface="Arial"/>
              </a:rPr>
              <a:t>Nu</a:t>
            </a:r>
            <a:r>
              <a:rPr sz="650" spc="25" dirty="0" smtClean="0">
                <a:latin typeface="Arial"/>
                <a:cs typeface="Arial"/>
              </a:rPr>
              <a:t>m</a:t>
            </a:r>
            <a:r>
              <a:rPr sz="650" spc="0" dirty="0" smtClean="0">
                <a:latin typeface="Arial"/>
                <a:cs typeface="Arial"/>
              </a:rPr>
              <a:t>b</a:t>
            </a:r>
            <a:r>
              <a:rPr sz="650" spc="-4" dirty="0" smtClean="0">
                <a:latin typeface="Arial"/>
                <a:cs typeface="Arial"/>
              </a:rPr>
              <a:t>e</a:t>
            </a:r>
            <a:r>
              <a:rPr sz="650" spc="0" dirty="0" smtClean="0">
                <a:latin typeface="Arial"/>
                <a:cs typeface="Arial"/>
              </a:rPr>
              <a:t>r</a:t>
            </a:r>
            <a:endParaRPr sz="650">
              <a:latin typeface="Arial"/>
              <a:cs typeface="Ari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5575433" y="1302341"/>
            <a:ext cx="1037329" cy="4075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23129">
              <a:lnSpc>
                <a:spcPct val="95825"/>
              </a:lnSpc>
              <a:spcBef>
                <a:spcPts val="35"/>
              </a:spcBef>
            </a:pPr>
            <a:r>
              <a:rPr sz="650" u="sng" spc="4" dirty="0" smtClean="0">
                <a:latin typeface="Arial"/>
                <a:cs typeface="Arial"/>
              </a:rPr>
              <a:t>Or</a:t>
            </a:r>
            <a:r>
              <a:rPr sz="650" u="sng" spc="0" dirty="0" smtClean="0">
                <a:latin typeface="Arial"/>
                <a:cs typeface="Arial"/>
              </a:rPr>
              <a:t>d</a:t>
            </a:r>
            <a:r>
              <a:rPr sz="650" u="sng" spc="-4" dirty="0" smtClean="0">
                <a:latin typeface="Arial"/>
                <a:cs typeface="Arial"/>
              </a:rPr>
              <a:t>e</a:t>
            </a:r>
            <a:r>
              <a:rPr sz="650" u="sng" spc="0" dirty="0" smtClean="0">
                <a:latin typeface="Arial"/>
                <a:cs typeface="Arial"/>
              </a:rPr>
              <a:t>r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3"/>
              </a:spcBef>
            </a:pPr>
            <a:r>
              <a:rPr sz="650" spc="0" dirty="0" smtClean="0">
                <a:latin typeface="Arial"/>
                <a:cs typeface="Arial"/>
              </a:rPr>
              <a:t>Date</a:t>
            </a:r>
            <a:endParaRPr sz="650">
              <a:latin typeface="Arial"/>
              <a:cs typeface="Arial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6612763" y="1302341"/>
            <a:ext cx="1080827" cy="4075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23544" marR="351975">
              <a:lnSpc>
                <a:spcPts val="747"/>
              </a:lnSpc>
              <a:spcBef>
                <a:spcPts val="35"/>
              </a:spcBef>
            </a:pPr>
            <a:r>
              <a:rPr sz="650" u="sng" spc="4" dirty="0" smtClean="0">
                <a:latin typeface="Arial"/>
                <a:cs typeface="Arial"/>
              </a:rPr>
              <a:t>Or</a:t>
            </a:r>
            <a:r>
              <a:rPr sz="650" u="sng" spc="0" dirty="0" smtClean="0">
                <a:latin typeface="Arial"/>
                <a:cs typeface="Arial"/>
              </a:rPr>
              <a:t>d</a:t>
            </a:r>
            <a:r>
              <a:rPr sz="650" u="sng" spc="-4" dirty="0" smtClean="0">
                <a:latin typeface="Arial"/>
                <a:cs typeface="Arial"/>
              </a:rPr>
              <a:t>e</a:t>
            </a:r>
            <a:r>
              <a:rPr sz="650" u="sng" spc="0" dirty="0" smtClean="0">
                <a:latin typeface="Arial"/>
                <a:cs typeface="Arial"/>
              </a:rPr>
              <a:t>r</a:t>
            </a:r>
            <a:r>
              <a:rPr sz="650" u="sng" spc="4" dirty="0" smtClean="0">
                <a:latin typeface="Arial"/>
                <a:cs typeface="Arial"/>
              </a:rPr>
              <a:t> </a:t>
            </a:r>
            <a:r>
              <a:rPr sz="650" spc="4" dirty="0" smtClean="0">
                <a:latin typeface="Arial"/>
                <a:cs typeface="Arial"/>
              </a:rPr>
              <a:t> </a:t>
            </a:r>
            <a:endParaRPr sz="650">
              <a:latin typeface="Arial"/>
              <a:cs typeface="Arial"/>
            </a:endParaRPr>
          </a:p>
          <a:p>
            <a:pPr marL="323544" marR="351975">
              <a:lnSpc>
                <a:spcPts val="747"/>
              </a:lnSpc>
              <a:spcBef>
                <a:spcPts val="833"/>
              </a:spcBef>
            </a:pPr>
            <a:r>
              <a:rPr sz="650" spc="-4" dirty="0" smtClean="0">
                <a:latin typeface="Arial"/>
                <a:cs typeface="Arial"/>
              </a:rPr>
              <a:t>S</a:t>
            </a:r>
            <a:r>
              <a:rPr sz="650" spc="0" dirty="0" smtClean="0">
                <a:latin typeface="Arial"/>
                <a:cs typeface="Arial"/>
              </a:rPr>
              <a:t>tatus</a:t>
            </a:r>
            <a:endParaRPr sz="650">
              <a:latin typeface="Arial"/>
              <a:cs typeface="Ari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2872107" y="1709853"/>
            <a:ext cx="1297850" cy="2067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23074">
              <a:lnSpc>
                <a:spcPct val="95825"/>
              </a:lnSpc>
              <a:spcBef>
                <a:spcPts val="35"/>
              </a:spcBef>
            </a:pPr>
            <a:r>
              <a:rPr sz="650" u="sng" spc="-4" dirty="0" smtClean="0">
                <a:latin typeface="Arial"/>
                <a:cs typeface="Arial"/>
              </a:rPr>
              <a:t>PK</a:t>
            </a:r>
            <a:endParaRPr sz="650">
              <a:latin typeface="Arial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4169957" y="1709853"/>
            <a:ext cx="1405476" cy="2067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23129">
              <a:lnSpc>
                <a:spcPct val="95825"/>
              </a:lnSpc>
              <a:spcBef>
                <a:spcPts val="35"/>
              </a:spcBef>
            </a:pPr>
            <a:r>
              <a:rPr sz="650" u="sng" dirty="0" smtClean="0">
                <a:latin typeface="Arial"/>
                <a:cs typeface="Arial"/>
              </a:rPr>
              <a:t>NU</a:t>
            </a:r>
            <a:r>
              <a:rPr sz="650" u="sng" spc="-4" dirty="0" smtClean="0">
                <a:latin typeface="Arial"/>
                <a:cs typeface="Arial"/>
              </a:rPr>
              <a:t>PI</a:t>
            </a:r>
            <a:endParaRPr sz="650"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5575433" y="1709853"/>
            <a:ext cx="1037329" cy="2067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2" name="object 32"/>
          <p:cNvSpPr txBox="1"/>
          <p:nvPr/>
        </p:nvSpPr>
        <p:spPr>
          <a:xfrm>
            <a:off x="6612763" y="1709853"/>
            <a:ext cx="1080827" cy="2067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1" name="object 31"/>
          <p:cNvSpPr txBox="1"/>
          <p:nvPr/>
        </p:nvSpPr>
        <p:spPr>
          <a:xfrm>
            <a:off x="2872107" y="1916567"/>
            <a:ext cx="323075" cy="20093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0" name="object 30"/>
          <p:cNvSpPr txBox="1"/>
          <p:nvPr/>
        </p:nvSpPr>
        <p:spPr>
          <a:xfrm>
            <a:off x="3195183" y="1916566"/>
            <a:ext cx="974773" cy="1430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5825"/>
              </a:lnSpc>
              <a:spcBef>
                <a:spcPts val="35"/>
              </a:spcBef>
            </a:pPr>
            <a:r>
              <a:rPr sz="650" u="sng" spc="0" dirty="0" smtClean="0">
                <a:latin typeface="Arial"/>
                <a:cs typeface="Arial"/>
              </a:rPr>
              <a:t>7325</a:t>
            </a:r>
            <a:endParaRPr sz="650">
              <a:latin typeface="Arial"/>
              <a:cs typeface="Arial"/>
            </a:endParaRPr>
          </a:p>
          <a:p>
            <a:pPr>
              <a:lnSpc>
                <a:spcPct val="95825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7324</a:t>
            </a:r>
            <a:endParaRPr sz="650">
              <a:latin typeface="Arial"/>
              <a:cs typeface="Arial"/>
            </a:endParaRPr>
          </a:p>
          <a:p>
            <a:pPr>
              <a:lnSpc>
                <a:spcPct val="95825"/>
              </a:lnSpc>
              <a:spcBef>
                <a:spcPts val="831"/>
              </a:spcBef>
            </a:pPr>
            <a:r>
              <a:rPr sz="650" u="sng" spc="0" dirty="0" smtClean="0">
                <a:latin typeface="Arial"/>
                <a:cs typeface="Arial"/>
              </a:rPr>
              <a:t>7415</a:t>
            </a:r>
            <a:endParaRPr sz="650">
              <a:latin typeface="Arial"/>
              <a:cs typeface="Arial"/>
            </a:endParaRPr>
          </a:p>
          <a:p>
            <a:pPr>
              <a:lnSpc>
                <a:spcPct val="95825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7103</a:t>
            </a:r>
            <a:endParaRPr sz="650">
              <a:latin typeface="Arial"/>
              <a:cs typeface="Arial"/>
            </a:endParaRPr>
          </a:p>
          <a:p>
            <a:pPr>
              <a:lnSpc>
                <a:spcPct val="95825"/>
              </a:lnSpc>
              <a:spcBef>
                <a:spcPts val="831"/>
              </a:spcBef>
            </a:pPr>
            <a:r>
              <a:rPr sz="650" u="sng" spc="0" dirty="0" smtClean="0">
                <a:latin typeface="Arial"/>
                <a:cs typeface="Arial"/>
              </a:rPr>
              <a:t>7225</a:t>
            </a:r>
            <a:endParaRPr sz="650">
              <a:latin typeface="Arial"/>
              <a:cs typeface="Arial"/>
            </a:endParaRPr>
          </a:p>
          <a:p>
            <a:pPr>
              <a:lnSpc>
                <a:spcPct val="95825"/>
              </a:lnSpc>
              <a:spcBef>
                <a:spcPts val="831"/>
              </a:spcBef>
            </a:pPr>
            <a:r>
              <a:rPr sz="650" u="sng" spc="0" dirty="0" smtClean="0">
                <a:latin typeface="Arial"/>
                <a:cs typeface="Arial"/>
              </a:rPr>
              <a:t>7384</a:t>
            </a:r>
            <a:endParaRPr sz="650">
              <a:latin typeface="Arial"/>
              <a:cs typeface="Arial"/>
            </a:endParaRPr>
          </a:p>
          <a:p>
            <a:pPr>
              <a:lnSpc>
                <a:spcPct val="95825"/>
              </a:lnSpc>
              <a:spcBef>
                <a:spcPts val="833"/>
              </a:spcBef>
            </a:pPr>
            <a:r>
              <a:rPr sz="650" u="sng" spc="0" dirty="0" smtClean="0">
                <a:latin typeface="Arial"/>
                <a:cs typeface="Arial"/>
              </a:rPr>
              <a:t>7402</a:t>
            </a:r>
            <a:endParaRPr sz="650"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169957" y="1916566"/>
            <a:ext cx="1405476" cy="1430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23129">
              <a:lnSpc>
                <a:spcPct val="95825"/>
              </a:lnSpc>
              <a:spcBef>
                <a:spcPts val="35"/>
              </a:spcBef>
            </a:pPr>
            <a:r>
              <a:rPr sz="650" u="sng" spc="0" dirty="0" smtClean="0">
                <a:latin typeface="Arial"/>
                <a:cs typeface="Arial"/>
              </a:rPr>
              <a:t>2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3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1"/>
              </a:spcBef>
            </a:pPr>
            <a:r>
              <a:rPr sz="650" u="sng" spc="0" dirty="0" smtClean="0">
                <a:latin typeface="Arial"/>
                <a:cs typeface="Arial"/>
              </a:rPr>
              <a:t>1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1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1"/>
              </a:spcBef>
            </a:pPr>
            <a:r>
              <a:rPr sz="650" u="sng" spc="0" dirty="0" smtClean="0">
                <a:latin typeface="Arial"/>
                <a:cs typeface="Arial"/>
              </a:rPr>
              <a:t>2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1"/>
              </a:spcBef>
            </a:pPr>
            <a:r>
              <a:rPr sz="650" u="sng" spc="0" dirty="0" smtClean="0">
                <a:latin typeface="Arial"/>
                <a:cs typeface="Arial"/>
              </a:rPr>
              <a:t>1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3"/>
              </a:spcBef>
            </a:pPr>
            <a:r>
              <a:rPr sz="650" u="sng" spc="0" dirty="0" smtClean="0">
                <a:latin typeface="Arial"/>
                <a:cs typeface="Arial"/>
              </a:rPr>
              <a:t>3</a:t>
            </a:r>
            <a:endParaRPr sz="650"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575433" y="1916566"/>
            <a:ext cx="1037329" cy="1430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23129">
              <a:lnSpc>
                <a:spcPct val="95825"/>
              </a:lnSpc>
              <a:spcBef>
                <a:spcPts val="35"/>
              </a:spcBef>
            </a:pPr>
            <a:r>
              <a:rPr sz="650" u="sng" spc="0" dirty="0" smtClean="0">
                <a:latin typeface="Arial"/>
                <a:cs typeface="Arial"/>
              </a:rPr>
              <a:t>4/13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4/13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1"/>
              </a:spcBef>
            </a:pPr>
            <a:r>
              <a:rPr sz="650" u="sng" spc="0" dirty="0" smtClean="0">
                <a:latin typeface="Arial"/>
                <a:cs typeface="Arial"/>
              </a:rPr>
              <a:t>4/13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4/10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1"/>
              </a:spcBef>
            </a:pPr>
            <a:r>
              <a:rPr sz="650" u="sng" spc="0" dirty="0" smtClean="0">
                <a:latin typeface="Arial"/>
                <a:cs typeface="Arial"/>
              </a:rPr>
              <a:t>4/15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1"/>
              </a:spcBef>
            </a:pPr>
            <a:r>
              <a:rPr sz="650" u="sng" spc="0" dirty="0" smtClean="0">
                <a:latin typeface="Arial"/>
                <a:cs typeface="Arial"/>
              </a:rPr>
              <a:t>4/12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3"/>
              </a:spcBef>
            </a:pPr>
            <a:r>
              <a:rPr sz="650" u="sng" spc="0" dirty="0" smtClean="0">
                <a:latin typeface="Arial"/>
                <a:cs typeface="Arial"/>
              </a:rPr>
              <a:t>4/16</a:t>
            </a:r>
            <a:endParaRPr sz="650"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6612763" y="1916566"/>
            <a:ext cx="1080827" cy="1430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23544" marR="636178" algn="just">
              <a:lnSpc>
                <a:spcPts val="747"/>
              </a:lnSpc>
              <a:spcBef>
                <a:spcPts val="35"/>
              </a:spcBef>
            </a:pPr>
            <a:r>
              <a:rPr sz="650" u="sng" spc="0" dirty="0" smtClean="0">
                <a:latin typeface="Arial"/>
                <a:cs typeface="Arial"/>
              </a:rPr>
              <a:t>O</a:t>
            </a:r>
            <a:r>
              <a:rPr sz="650" spc="0" dirty="0" smtClean="0">
                <a:latin typeface="Arial"/>
                <a:cs typeface="Arial"/>
              </a:rPr>
              <a:t> </a:t>
            </a:r>
            <a:endParaRPr sz="650">
              <a:latin typeface="Arial"/>
              <a:cs typeface="Arial"/>
            </a:endParaRPr>
          </a:p>
          <a:p>
            <a:pPr marL="323544" marR="636178" algn="just">
              <a:lnSpc>
                <a:spcPts val="747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O</a:t>
            </a:r>
            <a:r>
              <a:rPr sz="650" spc="0" dirty="0" smtClean="0">
                <a:latin typeface="Arial"/>
                <a:cs typeface="Arial"/>
              </a:rPr>
              <a:t> </a:t>
            </a:r>
            <a:endParaRPr sz="650">
              <a:latin typeface="Arial"/>
              <a:cs typeface="Arial"/>
            </a:endParaRPr>
          </a:p>
          <a:p>
            <a:pPr marL="323544" marR="636178" algn="just">
              <a:lnSpc>
                <a:spcPts val="747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C</a:t>
            </a:r>
            <a:r>
              <a:rPr sz="650" spc="0" dirty="0" smtClean="0">
                <a:latin typeface="Arial"/>
                <a:cs typeface="Arial"/>
              </a:rPr>
              <a:t> </a:t>
            </a:r>
            <a:endParaRPr sz="650">
              <a:latin typeface="Arial"/>
              <a:cs typeface="Arial"/>
            </a:endParaRPr>
          </a:p>
          <a:p>
            <a:pPr marL="323544" marR="636178" algn="just">
              <a:lnSpc>
                <a:spcPts val="747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O</a:t>
            </a:r>
            <a:r>
              <a:rPr sz="650" spc="0" dirty="0" smtClean="0">
                <a:latin typeface="Arial"/>
                <a:cs typeface="Arial"/>
              </a:rPr>
              <a:t> </a:t>
            </a:r>
            <a:endParaRPr sz="650">
              <a:latin typeface="Arial"/>
              <a:cs typeface="Arial"/>
            </a:endParaRPr>
          </a:p>
          <a:p>
            <a:pPr marL="323544" marR="636178" algn="just">
              <a:lnSpc>
                <a:spcPts val="747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C</a:t>
            </a:r>
            <a:r>
              <a:rPr sz="650" spc="0" dirty="0" smtClean="0">
                <a:latin typeface="Arial"/>
                <a:cs typeface="Arial"/>
              </a:rPr>
              <a:t> </a:t>
            </a:r>
            <a:endParaRPr sz="650">
              <a:latin typeface="Arial"/>
              <a:cs typeface="Arial"/>
            </a:endParaRPr>
          </a:p>
          <a:p>
            <a:pPr marL="323544" marR="636178" algn="just">
              <a:lnSpc>
                <a:spcPts val="747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C</a:t>
            </a:r>
            <a:r>
              <a:rPr sz="650" spc="0" dirty="0" smtClean="0">
                <a:latin typeface="Arial"/>
                <a:cs typeface="Arial"/>
              </a:rPr>
              <a:t> </a:t>
            </a:r>
            <a:endParaRPr sz="650">
              <a:latin typeface="Arial"/>
              <a:cs typeface="Arial"/>
            </a:endParaRPr>
          </a:p>
          <a:p>
            <a:pPr marL="323544" marR="636178" algn="just">
              <a:lnSpc>
                <a:spcPts val="747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C</a:t>
            </a:r>
            <a:endParaRPr sz="650"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195182" y="3347276"/>
            <a:ext cx="216927" cy="682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40"/>
              </a:lnSpc>
              <a:spcBef>
                <a:spcPts val="27"/>
              </a:spcBef>
            </a:pPr>
            <a:r>
              <a:rPr sz="650" spc="0" dirty="0" smtClean="0">
                <a:latin typeface="Arial"/>
                <a:cs typeface="Arial"/>
              </a:rPr>
              <a:t>7</a:t>
            </a:r>
            <a:endParaRPr sz="650"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3412109" y="3347276"/>
            <a:ext cx="87975" cy="682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37"/>
              </a:spcBef>
            </a:pPr>
            <a:endParaRPr sz="500"/>
          </a:p>
        </p:txBody>
      </p:sp>
      <p:sp>
        <p:nvSpPr>
          <p:cNvPr id="24" name="object 24"/>
          <p:cNvSpPr txBox="1"/>
          <p:nvPr/>
        </p:nvSpPr>
        <p:spPr>
          <a:xfrm>
            <a:off x="3500083" y="3347276"/>
            <a:ext cx="441742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3" name="object 23"/>
          <p:cNvSpPr txBox="1"/>
          <p:nvPr/>
        </p:nvSpPr>
        <p:spPr>
          <a:xfrm>
            <a:off x="3941826" y="3347276"/>
            <a:ext cx="228129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2" name="object 22"/>
          <p:cNvSpPr txBox="1"/>
          <p:nvPr/>
        </p:nvSpPr>
        <p:spPr>
          <a:xfrm>
            <a:off x="4169956" y="3347276"/>
            <a:ext cx="324472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1" name="object 21"/>
          <p:cNvSpPr txBox="1"/>
          <p:nvPr/>
        </p:nvSpPr>
        <p:spPr>
          <a:xfrm>
            <a:off x="4494428" y="3347276"/>
            <a:ext cx="3199161" cy="682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657981" algn="r">
              <a:lnSpc>
                <a:spcPts val="540"/>
              </a:lnSpc>
              <a:spcBef>
                <a:spcPts val="27"/>
              </a:spcBef>
            </a:pPr>
            <a:r>
              <a:rPr sz="650" u="sng" spc="0" dirty="0" smtClean="0">
                <a:latin typeface="Arial"/>
                <a:cs typeface="Arial"/>
              </a:rPr>
              <a:t>C</a:t>
            </a:r>
            <a:endParaRPr sz="65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5575432" y="3347276"/>
            <a:ext cx="129661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9" name="object 19"/>
          <p:cNvSpPr txBox="1"/>
          <p:nvPr/>
        </p:nvSpPr>
        <p:spPr>
          <a:xfrm>
            <a:off x="5705094" y="3347276"/>
            <a:ext cx="529717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67372" marR="208981" algn="ctr">
              <a:lnSpc>
                <a:spcPct val="100000"/>
              </a:lnSpc>
              <a:spcBef>
                <a:spcPts val="425"/>
              </a:spcBef>
              <a:tabLst>
                <a:tab pos="266700" algn="l"/>
              </a:tabLst>
            </a:pPr>
            <a:r>
              <a:rPr sz="1400" u="sng" dirty="0" smtClean="0">
                <a:latin typeface="Cambria"/>
                <a:cs typeface="Cambria"/>
              </a:rPr>
              <a:t> 	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6234812" y="3347276"/>
            <a:ext cx="377951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7" name="object 17"/>
          <p:cNvSpPr txBox="1"/>
          <p:nvPr/>
        </p:nvSpPr>
        <p:spPr>
          <a:xfrm>
            <a:off x="6612764" y="3347276"/>
            <a:ext cx="174651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6" name="object 16"/>
          <p:cNvSpPr txBox="1"/>
          <p:nvPr/>
        </p:nvSpPr>
        <p:spPr>
          <a:xfrm>
            <a:off x="6787413" y="3347276"/>
            <a:ext cx="906176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11"/>
              </a:spcBef>
            </a:pPr>
            <a:endParaRPr sz="1400"/>
          </a:p>
          <a:p>
            <a:pPr marL="148893">
              <a:lnSpc>
                <a:spcPct val="95825"/>
              </a:lnSpc>
            </a:pPr>
            <a:r>
              <a:rPr sz="650" u="sng" spc="0" dirty="0" smtClean="0">
                <a:latin typeface="Arial"/>
                <a:cs typeface="Arial"/>
              </a:rPr>
              <a:t>C</a:t>
            </a:r>
            <a:endParaRPr sz="65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195182" y="3415572"/>
            <a:ext cx="216927" cy="24012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50"/>
              </a:lnSpc>
              <a:spcBef>
                <a:spcPts val="23"/>
              </a:spcBef>
            </a:pPr>
            <a:endParaRPr sz="850"/>
          </a:p>
          <a:p>
            <a:pPr>
              <a:lnSpc>
                <a:spcPct val="95825"/>
              </a:lnSpc>
            </a:pPr>
            <a:r>
              <a:rPr sz="650" spc="0" dirty="0" smtClean="0">
                <a:latin typeface="Arial"/>
                <a:cs typeface="Arial"/>
              </a:rPr>
              <a:t>7</a:t>
            </a:r>
            <a:endParaRPr sz="65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412109" y="3415572"/>
            <a:ext cx="87975" cy="24012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3" name="object 13"/>
          <p:cNvSpPr txBox="1"/>
          <p:nvPr/>
        </p:nvSpPr>
        <p:spPr>
          <a:xfrm>
            <a:off x="4494429" y="3415572"/>
            <a:ext cx="1081004" cy="24012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2" name="object 12"/>
          <p:cNvSpPr txBox="1"/>
          <p:nvPr/>
        </p:nvSpPr>
        <p:spPr>
          <a:xfrm>
            <a:off x="3195181" y="3655695"/>
            <a:ext cx="746644" cy="18148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" name="object 11"/>
          <p:cNvSpPr txBox="1"/>
          <p:nvPr/>
        </p:nvSpPr>
        <p:spPr>
          <a:xfrm>
            <a:off x="3941826" y="3655695"/>
            <a:ext cx="228129" cy="18148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" name="object 10"/>
          <p:cNvSpPr txBox="1"/>
          <p:nvPr/>
        </p:nvSpPr>
        <p:spPr>
          <a:xfrm>
            <a:off x="4169957" y="3655695"/>
            <a:ext cx="1405476" cy="2701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" name="object 9"/>
          <p:cNvSpPr txBox="1"/>
          <p:nvPr/>
        </p:nvSpPr>
        <p:spPr>
          <a:xfrm>
            <a:off x="5575433" y="3655695"/>
            <a:ext cx="659378" cy="18148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" name="object 8"/>
          <p:cNvSpPr txBox="1"/>
          <p:nvPr/>
        </p:nvSpPr>
        <p:spPr>
          <a:xfrm>
            <a:off x="6234812" y="3655695"/>
            <a:ext cx="377951" cy="18148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" name="object 7"/>
          <p:cNvSpPr txBox="1"/>
          <p:nvPr/>
        </p:nvSpPr>
        <p:spPr>
          <a:xfrm>
            <a:off x="6612763" y="3655695"/>
            <a:ext cx="1080827" cy="2701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" name="object 6"/>
          <p:cNvSpPr txBox="1"/>
          <p:nvPr/>
        </p:nvSpPr>
        <p:spPr>
          <a:xfrm>
            <a:off x="3195183" y="3837178"/>
            <a:ext cx="974773" cy="8869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48"/>
              </a:spcBef>
            </a:pPr>
            <a:endParaRPr sz="650"/>
          </a:p>
        </p:txBody>
      </p:sp>
      <p:sp>
        <p:nvSpPr>
          <p:cNvPr id="5" name="object 5"/>
          <p:cNvSpPr txBox="1"/>
          <p:nvPr/>
        </p:nvSpPr>
        <p:spPr>
          <a:xfrm>
            <a:off x="5575433" y="3837178"/>
            <a:ext cx="1037329" cy="8869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48"/>
              </a:spcBef>
            </a:pPr>
            <a:endParaRPr sz="650"/>
          </a:p>
        </p:txBody>
      </p:sp>
      <p:sp>
        <p:nvSpPr>
          <p:cNvPr id="4" name="object 4"/>
          <p:cNvSpPr txBox="1"/>
          <p:nvPr/>
        </p:nvSpPr>
        <p:spPr>
          <a:xfrm>
            <a:off x="5898563" y="3275871"/>
            <a:ext cx="266790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5898563" y="3430905"/>
            <a:ext cx="101172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95" name="Title 29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w Distribution Using an </a:t>
            </a:r>
            <a:r>
              <a:rPr lang="en-US" dirty="0" smtClean="0"/>
              <a:t>NUPI</a:t>
            </a:r>
            <a:endParaRPr lang="en-US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object 217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8" name="object 218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9" name="object 219"/>
          <p:cNvSpPr/>
          <p:nvPr/>
        </p:nvSpPr>
        <p:spPr>
          <a:xfrm>
            <a:off x="3373004" y="1264006"/>
            <a:ext cx="1275687" cy="0"/>
          </a:xfrm>
          <a:custGeom>
            <a:avLst/>
            <a:gdLst/>
            <a:ahLst/>
            <a:cxnLst/>
            <a:rect l="l" t="t" r="r" b="b"/>
            <a:pathLst>
              <a:path w="1275686">
                <a:moveTo>
                  <a:pt x="0" y="0"/>
                </a:moveTo>
                <a:lnTo>
                  <a:pt x="1275686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0" name="object 220"/>
          <p:cNvSpPr/>
          <p:nvPr/>
        </p:nvSpPr>
        <p:spPr>
          <a:xfrm>
            <a:off x="4648691" y="1264006"/>
            <a:ext cx="10960" cy="0"/>
          </a:xfrm>
          <a:custGeom>
            <a:avLst/>
            <a:gdLst/>
            <a:ahLst/>
            <a:cxnLst/>
            <a:rect l="l" t="t" r="r" b="b"/>
            <a:pathLst>
              <a:path w="10959">
                <a:moveTo>
                  <a:pt x="0" y="0"/>
                </a:moveTo>
                <a:lnTo>
                  <a:pt x="10959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1" name="object 221"/>
          <p:cNvSpPr/>
          <p:nvPr/>
        </p:nvSpPr>
        <p:spPr>
          <a:xfrm>
            <a:off x="4659623" y="1264006"/>
            <a:ext cx="1405382" cy="0"/>
          </a:xfrm>
          <a:custGeom>
            <a:avLst/>
            <a:gdLst/>
            <a:ahLst/>
            <a:cxnLst/>
            <a:rect l="l" t="t" r="r" b="b"/>
            <a:pathLst>
              <a:path w="1405383">
                <a:moveTo>
                  <a:pt x="0" y="0"/>
                </a:moveTo>
                <a:lnTo>
                  <a:pt x="1405383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2" name="object 222"/>
          <p:cNvSpPr/>
          <p:nvPr/>
        </p:nvSpPr>
        <p:spPr>
          <a:xfrm>
            <a:off x="6075638" y="1264006"/>
            <a:ext cx="1027270" cy="0"/>
          </a:xfrm>
          <a:custGeom>
            <a:avLst/>
            <a:gdLst/>
            <a:ahLst/>
            <a:cxnLst/>
            <a:rect l="l" t="t" r="r" b="b"/>
            <a:pathLst>
              <a:path w="1027270">
                <a:moveTo>
                  <a:pt x="0" y="0"/>
                </a:moveTo>
                <a:lnTo>
                  <a:pt x="1027270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3" name="object 223"/>
          <p:cNvSpPr/>
          <p:nvPr/>
        </p:nvSpPr>
        <p:spPr>
          <a:xfrm>
            <a:off x="7113841" y="1264006"/>
            <a:ext cx="1070023" cy="0"/>
          </a:xfrm>
          <a:custGeom>
            <a:avLst/>
            <a:gdLst/>
            <a:ahLst/>
            <a:cxnLst/>
            <a:rect l="l" t="t" r="r" b="b"/>
            <a:pathLst>
              <a:path w="1070023">
                <a:moveTo>
                  <a:pt x="0" y="0"/>
                </a:moveTo>
                <a:lnTo>
                  <a:pt x="1070023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4" name="object 224"/>
          <p:cNvSpPr/>
          <p:nvPr/>
        </p:nvSpPr>
        <p:spPr>
          <a:xfrm>
            <a:off x="3373004" y="1497253"/>
            <a:ext cx="1275687" cy="0"/>
          </a:xfrm>
          <a:custGeom>
            <a:avLst/>
            <a:gdLst/>
            <a:ahLst/>
            <a:cxnLst/>
            <a:rect l="l" t="t" r="r" b="b"/>
            <a:pathLst>
              <a:path w="1275686">
                <a:moveTo>
                  <a:pt x="0" y="0"/>
                </a:moveTo>
                <a:lnTo>
                  <a:pt x="1275686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5" name="object 225"/>
          <p:cNvSpPr/>
          <p:nvPr/>
        </p:nvSpPr>
        <p:spPr>
          <a:xfrm>
            <a:off x="4681187" y="1497253"/>
            <a:ext cx="1383833" cy="0"/>
          </a:xfrm>
          <a:custGeom>
            <a:avLst/>
            <a:gdLst/>
            <a:ahLst/>
            <a:cxnLst/>
            <a:rect l="l" t="t" r="r" b="b"/>
            <a:pathLst>
              <a:path w="1383834">
                <a:moveTo>
                  <a:pt x="0" y="0"/>
                </a:moveTo>
                <a:lnTo>
                  <a:pt x="1383834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6" name="object 226"/>
          <p:cNvSpPr/>
          <p:nvPr/>
        </p:nvSpPr>
        <p:spPr>
          <a:xfrm>
            <a:off x="6075638" y="1497253"/>
            <a:ext cx="1027270" cy="0"/>
          </a:xfrm>
          <a:custGeom>
            <a:avLst/>
            <a:gdLst/>
            <a:ahLst/>
            <a:cxnLst/>
            <a:rect l="l" t="t" r="r" b="b"/>
            <a:pathLst>
              <a:path w="1027270">
                <a:moveTo>
                  <a:pt x="0" y="0"/>
                </a:moveTo>
                <a:lnTo>
                  <a:pt x="1027270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7" name="object 227"/>
          <p:cNvSpPr/>
          <p:nvPr/>
        </p:nvSpPr>
        <p:spPr>
          <a:xfrm>
            <a:off x="7113841" y="1497253"/>
            <a:ext cx="1070023" cy="0"/>
          </a:xfrm>
          <a:custGeom>
            <a:avLst/>
            <a:gdLst/>
            <a:ahLst/>
            <a:cxnLst/>
            <a:rect l="l" t="t" r="r" b="b"/>
            <a:pathLst>
              <a:path w="1070023">
                <a:moveTo>
                  <a:pt x="0" y="0"/>
                </a:moveTo>
                <a:lnTo>
                  <a:pt x="1070023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8" name="object 228"/>
          <p:cNvSpPr/>
          <p:nvPr/>
        </p:nvSpPr>
        <p:spPr>
          <a:xfrm>
            <a:off x="3373004" y="1649532"/>
            <a:ext cx="1275687" cy="0"/>
          </a:xfrm>
          <a:custGeom>
            <a:avLst/>
            <a:gdLst/>
            <a:ahLst/>
            <a:cxnLst/>
            <a:rect l="l" t="t" r="r" b="b"/>
            <a:pathLst>
              <a:path w="1275686">
                <a:moveTo>
                  <a:pt x="0" y="0"/>
                </a:moveTo>
                <a:lnTo>
                  <a:pt x="1275686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9" name="object 229"/>
          <p:cNvSpPr/>
          <p:nvPr/>
        </p:nvSpPr>
        <p:spPr>
          <a:xfrm>
            <a:off x="4681187" y="1649532"/>
            <a:ext cx="1383833" cy="0"/>
          </a:xfrm>
          <a:custGeom>
            <a:avLst/>
            <a:gdLst/>
            <a:ahLst/>
            <a:cxnLst/>
            <a:rect l="l" t="t" r="r" b="b"/>
            <a:pathLst>
              <a:path w="1383834">
                <a:moveTo>
                  <a:pt x="0" y="0"/>
                </a:moveTo>
                <a:lnTo>
                  <a:pt x="1383834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0" name="object 230"/>
          <p:cNvSpPr/>
          <p:nvPr/>
        </p:nvSpPr>
        <p:spPr>
          <a:xfrm>
            <a:off x="6075638" y="1649532"/>
            <a:ext cx="1027270" cy="0"/>
          </a:xfrm>
          <a:custGeom>
            <a:avLst/>
            <a:gdLst/>
            <a:ahLst/>
            <a:cxnLst/>
            <a:rect l="l" t="t" r="r" b="b"/>
            <a:pathLst>
              <a:path w="1027270">
                <a:moveTo>
                  <a:pt x="0" y="0"/>
                </a:moveTo>
                <a:lnTo>
                  <a:pt x="1027270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1" name="object 231"/>
          <p:cNvSpPr/>
          <p:nvPr/>
        </p:nvSpPr>
        <p:spPr>
          <a:xfrm>
            <a:off x="7113841" y="1649532"/>
            <a:ext cx="1070023" cy="0"/>
          </a:xfrm>
          <a:custGeom>
            <a:avLst/>
            <a:gdLst/>
            <a:ahLst/>
            <a:cxnLst/>
            <a:rect l="l" t="t" r="r" b="b"/>
            <a:pathLst>
              <a:path w="1070023">
                <a:moveTo>
                  <a:pt x="0" y="0"/>
                </a:moveTo>
                <a:lnTo>
                  <a:pt x="1070023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2" name="object 232"/>
          <p:cNvSpPr/>
          <p:nvPr/>
        </p:nvSpPr>
        <p:spPr>
          <a:xfrm>
            <a:off x="3373004" y="1797636"/>
            <a:ext cx="1275687" cy="0"/>
          </a:xfrm>
          <a:custGeom>
            <a:avLst/>
            <a:gdLst/>
            <a:ahLst/>
            <a:cxnLst/>
            <a:rect l="l" t="t" r="r" b="b"/>
            <a:pathLst>
              <a:path w="1275686">
                <a:moveTo>
                  <a:pt x="0" y="0"/>
                </a:moveTo>
                <a:lnTo>
                  <a:pt x="1275686" y="0"/>
                </a:lnTo>
              </a:path>
            </a:pathLst>
          </a:custGeom>
          <a:ln w="538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3" name="object 233"/>
          <p:cNvSpPr/>
          <p:nvPr/>
        </p:nvSpPr>
        <p:spPr>
          <a:xfrm>
            <a:off x="4681187" y="1797636"/>
            <a:ext cx="1383833" cy="0"/>
          </a:xfrm>
          <a:custGeom>
            <a:avLst/>
            <a:gdLst/>
            <a:ahLst/>
            <a:cxnLst/>
            <a:rect l="l" t="t" r="r" b="b"/>
            <a:pathLst>
              <a:path w="1383834">
                <a:moveTo>
                  <a:pt x="0" y="0"/>
                </a:moveTo>
                <a:lnTo>
                  <a:pt x="1383834" y="0"/>
                </a:lnTo>
              </a:path>
            </a:pathLst>
          </a:custGeom>
          <a:ln w="538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4" name="object 234"/>
          <p:cNvSpPr/>
          <p:nvPr/>
        </p:nvSpPr>
        <p:spPr>
          <a:xfrm>
            <a:off x="6075638" y="1797636"/>
            <a:ext cx="1027270" cy="0"/>
          </a:xfrm>
          <a:custGeom>
            <a:avLst/>
            <a:gdLst/>
            <a:ahLst/>
            <a:cxnLst/>
            <a:rect l="l" t="t" r="r" b="b"/>
            <a:pathLst>
              <a:path w="1027270">
                <a:moveTo>
                  <a:pt x="0" y="0"/>
                </a:moveTo>
                <a:lnTo>
                  <a:pt x="1027270" y="0"/>
                </a:lnTo>
              </a:path>
            </a:pathLst>
          </a:custGeom>
          <a:ln w="538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5" name="object 235"/>
          <p:cNvSpPr/>
          <p:nvPr/>
        </p:nvSpPr>
        <p:spPr>
          <a:xfrm>
            <a:off x="7113841" y="1797636"/>
            <a:ext cx="1070023" cy="0"/>
          </a:xfrm>
          <a:custGeom>
            <a:avLst/>
            <a:gdLst/>
            <a:ahLst/>
            <a:cxnLst/>
            <a:rect l="l" t="t" r="r" b="b"/>
            <a:pathLst>
              <a:path w="1070023">
                <a:moveTo>
                  <a:pt x="0" y="0"/>
                </a:moveTo>
                <a:lnTo>
                  <a:pt x="1070023" y="0"/>
                </a:lnTo>
              </a:path>
            </a:pathLst>
          </a:custGeom>
          <a:ln w="538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6" name="object 236"/>
          <p:cNvSpPr/>
          <p:nvPr/>
        </p:nvSpPr>
        <p:spPr>
          <a:xfrm>
            <a:off x="3367522" y="1258527"/>
            <a:ext cx="0" cy="1634937"/>
          </a:xfrm>
          <a:custGeom>
            <a:avLst/>
            <a:gdLst/>
            <a:ahLst/>
            <a:cxnLst/>
            <a:rect l="l" t="t" r="r" b="b"/>
            <a:pathLst>
              <a:path h="1634937">
                <a:moveTo>
                  <a:pt x="0" y="0"/>
                </a:moveTo>
                <a:lnTo>
                  <a:pt x="0" y="1634937"/>
                </a:lnTo>
              </a:path>
            </a:pathLst>
          </a:custGeom>
          <a:ln w="1222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7" name="object 237"/>
          <p:cNvSpPr/>
          <p:nvPr/>
        </p:nvSpPr>
        <p:spPr>
          <a:xfrm>
            <a:off x="4664947" y="1266101"/>
            <a:ext cx="0" cy="1627363"/>
          </a:xfrm>
          <a:custGeom>
            <a:avLst/>
            <a:gdLst/>
            <a:ahLst/>
            <a:cxnLst/>
            <a:rect l="l" t="t" r="r" b="b"/>
            <a:pathLst>
              <a:path h="1627363">
                <a:moveTo>
                  <a:pt x="0" y="0"/>
                </a:moveTo>
                <a:lnTo>
                  <a:pt x="0" y="1627363"/>
                </a:lnTo>
              </a:path>
            </a:pathLst>
          </a:custGeom>
          <a:ln w="3378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8" name="object 238"/>
          <p:cNvSpPr/>
          <p:nvPr/>
        </p:nvSpPr>
        <p:spPr>
          <a:xfrm>
            <a:off x="6070302" y="1258709"/>
            <a:ext cx="0" cy="1634754"/>
          </a:xfrm>
          <a:custGeom>
            <a:avLst/>
            <a:gdLst/>
            <a:ahLst/>
            <a:cxnLst/>
            <a:rect l="l" t="t" r="r" b="b"/>
            <a:pathLst>
              <a:path h="1634754">
                <a:moveTo>
                  <a:pt x="0" y="0"/>
                </a:moveTo>
                <a:lnTo>
                  <a:pt x="0" y="1634754"/>
                </a:lnTo>
              </a:path>
            </a:pathLst>
          </a:custGeom>
          <a:ln w="1186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9" name="object 239"/>
          <p:cNvSpPr/>
          <p:nvPr/>
        </p:nvSpPr>
        <p:spPr>
          <a:xfrm>
            <a:off x="7108388" y="1258527"/>
            <a:ext cx="0" cy="1634937"/>
          </a:xfrm>
          <a:custGeom>
            <a:avLst/>
            <a:gdLst/>
            <a:ahLst/>
            <a:cxnLst/>
            <a:rect l="l" t="t" r="r" b="b"/>
            <a:pathLst>
              <a:path h="1634937">
                <a:moveTo>
                  <a:pt x="0" y="0"/>
                </a:moveTo>
                <a:lnTo>
                  <a:pt x="0" y="1634937"/>
                </a:lnTo>
              </a:path>
            </a:pathLst>
          </a:custGeom>
          <a:ln w="1222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0" name="object 240"/>
          <p:cNvSpPr/>
          <p:nvPr/>
        </p:nvSpPr>
        <p:spPr>
          <a:xfrm>
            <a:off x="8189419" y="1258527"/>
            <a:ext cx="0" cy="1634937"/>
          </a:xfrm>
          <a:custGeom>
            <a:avLst/>
            <a:gdLst/>
            <a:ahLst/>
            <a:cxnLst/>
            <a:rect l="l" t="t" r="r" b="b"/>
            <a:pathLst>
              <a:path h="1634937">
                <a:moveTo>
                  <a:pt x="0" y="0"/>
                </a:moveTo>
                <a:lnTo>
                  <a:pt x="0" y="1634937"/>
                </a:lnTo>
              </a:path>
            </a:pathLst>
          </a:custGeom>
          <a:ln w="1222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2" name="object 202"/>
          <p:cNvSpPr/>
          <p:nvPr/>
        </p:nvSpPr>
        <p:spPr>
          <a:xfrm>
            <a:off x="7134607" y="4468623"/>
            <a:ext cx="1863344" cy="462025"/>
          </a:xfrm>
          <a:custGeom>
            <a:avLst/>
            <a:gdLst/>
            <a:ahLst/>
            <a:cxnLst/>
            <a:rect l="l" t="t" r="r" b="b"/>
            <a:pathLst>
              <a:path w="1863344" h="462025">
                <a:moveTo>
                  <a:pt x="0" y="231012"/>
                </a:moveTo>
                <a:lnTo>
                  <a:pt x="12192" y="193529"/>
                </a:lnTo>
                <a:lnTo>
                  <a:pt x="47491" y="157975"/>
                </a:lnTo>
                <a:lnTo>
                  <a:pt x="103980" y="124827"/>
                </a:lnTo>
                <a:lnTo>
                  <a:pt x="139572" y="109303"/>
                </a:lnTo>
                <a:lnTo>
                  <a:pt x="179742" y="94558"/>
                </a:lnTo>
                <a:lnTo>
                  <a:pt x="224251" y="80651"/>
                </a:lnTo>
                <a:lnTo>
                  <a:pt x="272859" y="67643"/>
                </a:lnTo>
                <a:lnTo>
                  <a:pt x="325327" y="55592"/>
                </a:lnTo>
                <a:lnTo>
                  <a:pt x="381414" y="44557"/>
                </a:lnTo>
                <a:lnTo>
                  <a:pt x="440882" y="34599"/>
                </a:lnTo>
                <a:lnTo>
                  <a:pt x="503490" y="25775"/>
                </a:lnTo>
                <a:lnTo>
                  <a:pt x="568999" y="18147"/>
                </a:lnTo>
                <a:lnTo>
                  <a:pt x="637170" y="11772"/>
                </a:lnTo>
                <a:lnTo>
                  <a:pt x="707762" y="6710"/>
                </a:lnTo>
                <a:lnTo>
                  <a:pt x="780536" y="3022"/>
                </a:lnTo>
                <a:lnTo>
                  <a:pt x="855252" y="765"/>
                </a:lnTo>
                <a:lnTo>
                  <a:pt x="931672" y="0"/>
                </a:lnTo>
                <a:lnTo>
                  <a:pt x="1008091" y="765"/>
                </a:lnTo>
                <a:lnTo>
                  <a:pt x="1082807" y="3022"/>
                </a:lnTo>
                <a:lnTo>
                  <a:pt x="1155581" y="6710"/>
                </a:lnTo>
                <a:lnTo>
                  <a:pt x="1226173" y="11772"/>
                </a:lnTo>
                <a:lnTo>
                  <a:pt x="1294344" y="18147"/>
                </a:lnTo>
                <a:lnTo>
                  <a:pt x="1359853" y="25775"/>
                </a:lnTo>
                <a:lnTo>
                  <a:pt x="1422461" y="34599"/>
                </a:lnTo>
                <a:lnTo>
                  <a:pt x="1481929" y="44557"/>
                </a:lnTo>
                <a:lnTo>
                  <a:pt x="1538016" y="55592"/>
                </a:lnTo>
                <a:lnTo>
                  <a:pt x="1590484" y="67643"/>
                </a:lnTo>
                <a:lnTo>
                  <a:pt x="1639092" y="80651"/>
                </a:lnTo>
                <a:lnTo>
                  <a:pt x="1683601" y="94558"/>
                </a:lnTo>
                <a:lnTo>
                  <a:pt x="1723771" y="109303"/>
                </a:lnTo>
                <a:lnTo>
                  <a:pt x="1759363" y="124827"/>
                </a:lnTo>
                <a:lnTo>
                  <a:pt x="1790136" y="141071"/>
                </a:lnTo>
                <a:lnTo>
                  <a:pt x="1836270" y="175481"/>
                </a:lnTo>
                <a:lnTo>
                  <a:pt x="1860255" y="212059"/>
                </a:lnTo>
                <a:lnTo>
                  <a:pt x="1863344" y="231012"/>
                </a:lnTo>
                <a:lnTo>
                  <a:pt x="1860255" y="249966"/>
                </a:lnTo>
                <a:lnTo>
                  <a:pt x="1851151" y="268496"/>
                </a:lnTo>
                <a:lnTo>
                  <a:pt x="1815852" y="304050"/>
                </a:lnTo>
                <a:lnTo>
                  <a:pt x="1790136" y="320954"/>
                </a:lnTo>
                <a:lnTo>
                  <a:pt x="1759363" y="337198"/>
                </a:lnTo>
                <a:lnTo>
                  <a:pt x="1723771" y="352722"/>
                </a:lnTo>
                <a:lnTo>
                  <a:pt x="1683601" y="367467"/>
                </a:lnTo>
                <a:lnTo>
                  <a:pt x="1639092" y="381374"/>
                </a:lnTo>
                <a:lnTo>
                  <a:pt x="1590484" y="394382"/>
                </a:lnTo>
                <a:lnTo>
                  <a:pt x="1538016" y="406433"/>
                </a:lnTo>
                <a:lnTo>
                  <a:pt x="1481929" y="417468"/>
                </a:lnTo>
                <a:lnTo>
                  <a:pt x="1422461" y="427426"/>
                </a:lnTo>
                <a:lnTo>
                  <a:pt x="1359853" y="436250"/>
                </a:lnTo>
                <a:lnTo>
                  <a:pt x="1294344" y="443878"/>
                </a:lnTo>
                <a:lnTo>
                  <a:pt x="1226173" y="450253"/>
                </a:lnTo>
                <a:lnTo>
                  <a:pt x="1155581" y="455315"/>
                </a:lnTo>
                <a:lnTo>
                  <a:pt x="1082807" y="459003"/>
                </a:lnTo>
                <a:lnTo>
                  <a:pt x="1008091" y="461260"/>
                </a:lnTo>
                <a:lnTo>
                  <a:pt x="931672" y="462025"/>
                </a:lnTo>
                <a:lnTo>
                  <a:pt x="855252" y="461260"/>
                </a:lnTo>
                <a:lnTo>
                  <a:pt x="780536" y="459003"/>
                </a:lnTo>
                <a:lnTo>
                  <a:pt x="707762" y="455315"/>
                </a:lnTo>
                <a:lnTo>
                  <a:pt x="637170" y="450253"/>
                </a:lnTo>
                <a:lnTo>
                  <a:pt x="568999" y="443878"/>
                </a:lnTo>
                <a:lnTo>
                  <a:pt x="503490" y="436250"/>
                </a:lnTo>
                <a:lnTo>
                  <a:pt x="440882" y="427426"/>
                </a:lnTo>
                <a:lnTo>
                  <a:pt x="381414" y="417468"/>
                </a:lnTo>
                <a:lnTo>
                  <a:pt x="325327" y="406433"/>
                </a:lnTo>
                <a:lnTo>
                  <a:pt x="272859" y="394382"/>
                </a:lnTo>
                <a:lnTo>
                  <a:pt x="224251" y="381374"/>
                </a:lnTo>
                <a:lnTo>
                  <a:pt x="179742" y="367467"/>
                </a:lnTo>
                <a:lnTo>
                  <a:pt x="139572" y="352722"/>
                </a:lnTo>
                <a:lnTo>
                  <a:pt x="103980" y="337198"/>
                </a:lnTo>
                <a:lnTo>
                  <a:pt x="73207" y="320954"/>
                </a:lnTo>
                <a:lnTo>
                  <a:pt x="47491" y="304050"/>
                </a:lnTo>
                <a:lnTo>
                  <a:pt x="27073" y="286544"/>
                </a:lnTo>
                <a:lnTo>
                  <a:pt x="3088" y="249966"/>
                </a:lnTo>
                <a:lnTo>
                  <a:pt x="0" y="23101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3" name="object 203"/>
          <p:cNvSpPr/>
          <p:nvPr/>
        </p:nvSpPr>
        <p:spPr>
          <a:xfrm>
            <a:off x="7115431" y="3763900"/>
            <a:ext cx="1869821" cy="927353"/>
          </a:xfrm>
          <a:custGeom>
            <a:avLst/>
            <a:gdLst/>
            <a:ahLst/>
            <a:cxnLst/>
            <a:rect l="l" t="t" r="r" b="b"/>
            <a:pathLst>
              <a:path w="1869821" h="927353">
                <a:moveTo>
                  <a:pt x="0" y="0"/>
                </a:moveTo>
                <a:lnTo>
                  <a:pt x="0" y="927353"/>
                </a:lnTo>
                <a:lnTo>
                  <a:pt x="1869821" y="927353"/>
                </a:lnTo>
                <a:lnTo>
                  <a:pt x="1869821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4" name="object 204"/>
          <p:cNvSpPr/>
          <p:nvPr/>
        </p:nvSpPr>
        <p:spPr>
          <a:xfrm>
            <a:off x="7100571" y="3759454"/>
            <a:ext cx="0" cy="944118"/>
          </a:xfrm>
          <a:custGeom>
            <a:avLst/>
            <a:gdLst/>
            <a:ahLst/>
            <a:cxnLst/>
            <a:rect l="l" t="t" r="r" b="b"/>
            <a:pathLst>
              <a:path h="944118">
                <a:moveTo>
                  <a:pt x="0" y="0"/>
                </a:moveTo>
                <a:lnTo>
                  <a:pt x="0" y="9441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5" name="object 205"/>
          <p:cNvSpPr/>
          <p:nvPr/>
        </p:nvSpPr>
        <p:spPr>
          <a:xfrm>
            <a:off x="8989440" y="3759454"/>
            <a:ext cx="0" cy="944118"/>
          </a:xfrm>
          <a:custGeom>
            <a:avLst/>
            <a:gdLst/>
            <a:ahLst/>
            <a:cxnLst/>
            <a:rect l="l" t="t" r="r" b="b"/>
            <a:pathLst>
              <a:path h="944118">
                <a:moveTo>
                  <a:pt x="0" y="0"/>
                </a:moveTo>
                <a:lnTo>
                  <a:pt x="0" y="9441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6" name="object 206"/>
          <p:cNvSpPr/>
          <p:nvPr/>
        </p:nvSpPr>
        <p:spPr>
          <a:xfrm>
            <a:off x="7062217" y="3506725"/>
            <a:ext cx="1964435" cy="55625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7" name="object 207"/>
          <p:cNvSpPr/>
          <p:nvPr/>
        </p:nvSpPr>
        <p:spPr>
          <a:xfrm>
            <a:off x="7109079" y="3533522"/>
            <a:ext cx="1869695" cy="46189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8" name="object 208"/>
          <p:cNvSpPr/>
          <p:nvPr/>
        </p:nvSpPr>
        <p:spPr>
          <a:xfrm>
            <a:off x="7109079" y="3533522"/>
            <a:ext cx="1869695" cy="461898"/>
          </a:xfrm>
          <a:custGeom>
            <a:avLst/>
            <a:gdLst/>
            <a:ahLst/>
            <a:cxnLst/>
            <a:rect l="l" t="t" r="r" b="b"/>
            <a:pathLst>
              <a:path w="1869694" h="461899">
                <a:moveTo>
                  <a:pt x="0" y="231012"/>
                </a:moveTo>
                <a:lnTo>
                  <a:pt x="12236" y="193529"/>
                </a:lnTo>
                <a:lnTo>
                  <a:pt x="47663" y="157975"/>
                </a:lnTo>
                <a:lnTo>
                  <a:pt x="104354" y="124827"/>
                </a:lnTo>
                <a:lnTo>
                  <a:pt x="140072" y="109303"/>
                </a:lnTo>
                <a:lnTo>
                  <a:pt x="180384" y="94558"/>
                </a:lnTo>
                <a:lnTo>
                  <a:pt x="225049" y="80651"/>
                </a:lnTo>
                <a:lnTo>
                  <a:pt x="273827" y="67643"/>
                </a:lnTo>
                <a:lnTo>
                  <a:pt x="326477" y="55592"/>
                </a:lnTo>
                <a:lnTo>
                  <a:pt x="382758" y="44557"/>
                </a:lnTo>
                <a:lnTo>
                  <a:pt x="442430" y="34599"/>
                </a:lnTo>
                <a:lnTo>
                  <a:pt x="505251" y="25775"/>
                </a:lnTo>
                <a:lnTo>
                  <a:pt x="570982" y="18147"/>
                </a:lnTo>
                <a:lnTo>
                  <a:pt x="639380" y="11772"/>
                </a:lnTo>
                <a:lnTo>
                  <a:pt x="710207" y="6710"/>
                </a:lnTo>
                <a:lnTo>
                  <a:pt x="783221" y="3022"/>
                </a:lnTo>
                <a:lnTo>
                  <a:pt x="858181" y="765"/>
                </a:lnTo>
                <a:lnTo>
                  <a:pt x="934847" y="0"/>
                </a:lnTo>
                <a:lnTo>
                  <a:pt x="1011529" y="765"/>
                </a:lnTo>
                <a:lnTo>
                  <a:pt x="1086503" y="3022"/>
                </a:lnTo>
                <a:lnTo>
                  <a:pt x="1159527" y="6710"/>
                </a:lnTo>
                <a:lnTo>
                  <a:pt x="1230361" y="11772"/>
                </a:lnTo>
                <a:lnTo>
                  <a:pt x="1298765" y="18147"/>
                </a:lnTo>
                <a:lnTo>
                  <a:pt x="1364498" y="25775"/>
                </a:lnTo>
                <a:lnTo>
                  <a:pt x="1427320" y="34599"/>
                </a:lnTo>
                <a:lnTo>
                  <a:pt x="1486990" y="44557"/>
                </a:lnTo>
                <a:lnTo>
                  <a:pt x="1543268" y="55592"/>
                </a:lnTo>
                <a:lnTo>
                  <a:pt x="1595913" y="67643"/>
                </a:lnTo>
                <a:lnTo>
                  <a:pt x="1644686" y="80651"/>
                </a:lnTo>
                <a:lnTo>
                  <a:pt x="1689345" y="94558"/>
                </a:lnTo>
                <a:lnTo>
                  <a:pt x="1729651" y="109303"/>
                </a:lnTo>
                <a:lnTo>
                  <a:pt x="1765363" y="124827"/>
                </a:lnTo>
                <a:lnTo>
                  <a:pt x="1796240" y="141071"/>
                </a:lnTo>
                <a:lnTo>
                  <a:pt x="1842529" y="175481"/>
                </a:lnTo>
                <a:lnTo>
                  <a:pt x="1866595" y="212059"/>
                </a:lnTo>
                <a:lnTo>
                  <a:pt x="1869694" y="231012"/>
                </a:lnTo>
                <a:lnTo>
                  <a:pt x="1866595" y="249948"/>
                </a:lnTo>
                <a:lnTo>
                  <a:pt x="1857460" y="268462"/>
                </a:lnTo>
                <a:lnTo>
                  <a:pt x="1822042" y="303988"/>
                </a:lnTo>
                <a:lnTo>
                  <a:pt x="1796240" y="320881"/>
                </a:lnTo>
                <a:lnTo>
                  <a:pt x="1765363" y="337115"/>
                </a:lnTo>
                <a:lnTo>
                  <a:pt x="1729651" y="352630"/>
                </a:lnTo>
                <a:lnTo>
                  <a:pt x="1689345" y="367368"/>
                </a:lnTo>
                <a:lnTo>
                  <a:pt x="1644686" y="381268"/>
                </a:lnTo>
                <a:lnTo>
                  <a:pt x="1595913" y="394271"/>
                </a:lnTo>
                <a:lnTo>
                  <a:pt x="1543268" y="406318"/>
                </a:lnTo>
                <a:lnTo>
                  <a:pt x="1486990" y="417349"/>
                </a:lnTo>
                <a:lnTo>
                  <a:pt x="1427320" y="427305"/>
                </a:lnTo>
                <a:lnTo>
                  <a:pt x="1364498" y="436126"/>
                </a:lnTo>
                <a:lnTo>
                  <a:pt x="1298765" y="443753"/>
                </a:lnTo>
                <a:lnTo>
                  <a:pt x="1230361" y="450127"/>
                </a:lnTo>
                <a:lnTo>
                  <a:pt x="1159527" y="455188"/>
                </a:lnTo>
                <a:lnTo>
                  <a:pt x="1086503" y="458876"/>
                </a:lnTo>
                <a:lnTo>
                  <a:pt x="1011529" y="461133"/>
                </a:lnTo>
                <a:lnTo>
                  <a:pt x="934847" y="461898"/>
                </a:lnTo>
                <a:lnTo>
                  <a:pt x="858181" y="461133"/>
                </a:lnTo>
                <a:lnTo>
                  <a:pt x="783221" y="458876"/>
                </a:lnTo>
                <a:lnTo>
                  <a:pt x="710207" y="455188"/>
                </a:lnTo>
                <a:lnTo>
                  <a:pt x="639380" y="450127"/>
                </a:lnTo>
                <a:lnTo>
                  <a:pt x="570982" y="443753"/>
                </a:lnTo>
                <a:lnTo>
                  <a:pt x="505251" y="436126"/>
                </a:lnTo>
                <a:lnTo>
                  <a:pt x="442430" y="427305"/>
                </a:lnTo>
                <a:lnTo>
                  <a:pt x="382758" y="417349"/>
                </a:lnTo>
                <a:lnTo>
                  <a:pt x="326477" y="406318"/>
                </a:lnTo>
                <a:lnTo>
                  <a:pt x="273827" y="394271"/>
                </a:lnTo>
                <a:lnTo>
                  <a:pt x="225049" y="381268"/>
                </a:lnTo>
                <a:lnTo>
                  <a:pt x="180384" y="367368"/>
                </a:lnTo>
                <a:lnTo>
                  <a:pt x="140072" y="352630"/>
                </a:lnTo>
                <a:lnTo>
                  <a:pt x="104354" y="337115"/>
                </a:lnTo>
                <a:lnTo>
                  <a:pt x="73471" y="320881"/>
                </a:lnTo>
                <a:lnTo>
                  <a:pt x="47663" y="303988"/>
                </a:lnTo>
                <a:lnTo>
                  <a:pt x="27171" y="286495"/>
                </a:lnTo>
                <a:lnTo>
                  <a:pt x="3099" y="249948"/>
                </a:lnTo>
                <a:lnTo>
                  <a:pt x="0" y="231012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9" name="object 209"/>
          <p:cNvSpPr/>
          <p:nvPr/>
        </p:nvSpPr>
        <p:spPr>
          <a:xfrm>
            <a:off x="7973822" y="3145283"/>
            <a:ext cx="0" cy="492251"/>
          </a:xfrm>
          <a:custGeom>
            <a:avLst/>
            <a:gdLst/>
            <a:ahLst/>
            <a:cxnLst/>
            <a:rect l="l" t="t" r="r" b="b"/>
            <a:pathLst>
              <a:path h="492251">
                <a:moveTo>
                  <a:pt x="0" y="492251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0" name="object 210"/>
          <p:cNvSpPr/>
          <p:nvPr/>
        </p:nvSpPr>
        <p:spPr>
          <a:xfrm>
            <a:off x="7434073" y="3031236"/>
            <a:ext cx="1155192" cy="40233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1" name="object 211"/>
          <p:cNvSpPr/>
          <p:nvPr/>
        </p:nvSpPr>
        <p:spPr>
          <a:xfrm>
            <a:off x="7613905" y="3028188"/>
            <a:ext cx="832103" cy="35204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2" name="object 212"/>
          <p:cNvSpPr/>
          <p:nvPr/>
        </p:nvSpPr>
        <p:spPr>
          <a:xfrm>
            <a:off x="7480935" y="3058033"/>
            <a:ext cx="1060221" cy="30873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3" name="object 213"/>
          <p:cNvSpPr/>
          <p:nvPr/>
        </p:nvSpPr>
        <p:spPr>
          <a:xfrm>
            <a:off x="7480935" y="3058033"/>
            <a:ext cx="1060221" cy="308737"/>
          </a:xfrm>
          <a:custGeom>
            <a:avLst/>
            <a:gdLst/>
            <a:ahLst/>
            <a:cxnLst/>
            <a:rect l="l" t="t" r="r" b="b"/>
            <a:pathLst>
              <a:path w="1060221" h="308737">
                <a:moveTo>
                  <a:pt x="0" y="308737"/>
                </a:moveTo>
                <a:lnTo>
                  <a:pt x="1060221" y="308737"/>
                </a:lnTo>
                <a:lnTo>
                  <a:pt x="1060221" y="0"/>
                </a:lnTo>
                <a:lnTo>
                  <a:pt x="0" y="0"/>
                </a:lnTo>
                <a:lnTo>
                  <a:pt x="0" y="3087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5" name="object 175"/>
          <p:cNvSpPr/>
          <p:nvPr/>
        </p:nvSpPr>
        <p:spPr>
          <a:xfrm>
            <a:off x="4975860" y="4475353"/>
            <a:ext cx="1861313" cy="456438"/>
          </a:xfrm>
          <a:custGeom>
            <a:avLst/>
            <a:gdLst/>
            <a:ahLst/>
            <a:cxnLst/>
            <a:rect l="l" t="t" r="r" b="b"/>
            <a:pathLst>
              <a:path w="1861312" h="456438">
                <a:moveTo>
                  <a:pt x="0" y="228219"/>
                </a:moveTo>
                <a:lnTo>
                  <a:pt x="12181" y="191183"/>
                </a:lnTo>
                <a:lnTo>
                  <a:pt x="47447" y="156057"/>
                </a:lnTo>
                <a:lnTo>
                  <a:pt x="103881" y="123308"/>
                </a:lnTo>
                <a:lnTo>
                  <a:pt x="139437" y="107972"/>
                </a:lnTo>
                <a:lnTo>
                  <a:pt x="179567" y="93405"/>
                </a:lnTo>
                <a:lnTo>
                  <a:pt x="224031" y="79668"/>
                </a:lnTo>
                <a:lnTo>
                  <a:pt x="272589" y="66817"/>
                </a:lnTo>
                <a:lnTo>
                  <a:pt x="325002" y="54913"/>
                </a:lnTo>
                <a:lnTo>
                  <a:pt x="381030" y="44013"/>
                </a:lnTo>
                <a:lnTo>
                  <a:pt x="440434" y="34175"/>
                </a:lnTo>
                <a:lnTo>
                  <a:pt x="502973" y="25460"/>
                </a:lnTo>
                <a:lnTo>
                  <a:pt x="568410" y="17924"/>
                </a:lnTo>
                <a:lnTo>
                  <a:pt x="636503" y="11628"/>
                </a:lnTo>
                <a:lnTo>
                  <a:pt x="707014" y="6628"/>
                </a:lnTo>
                <a:lnTo>
                  <a:pt x="779703" y="2985"/>
                </a:lnTo>
                <a:lnTo>
                  <a:pt x="854330" y="756"/>
                </a:lnTo>
                <a:lnTo>
                  <a:pt x="930655" y="0"/>
                </a:lnTo>
                <a:lnTo>
                  <a:pt x="1006981" y="756"/>
                </a:lnTo>
                <a:lnTo>
                  <a:pt x="1081608" y="2985"/>
                </a:lnTo>
                <a:lnTo>
                  <a:pt x="1154297" y="6628"/>
                </a:lnTo>
                <a:lnTo>
                  <a:pt x="1224808" y="11628"/>
                </a:lnTo>
                <a:lnTo>
                  <a:pt x="1292901" y="17924"/>
                </a:lnTo>
                <a:lnTo>
                  <a:pt x="1358338" y="25460"/>
                </a:lnTo>
                <a:lnTo>
                  <a:pt x="1420877" y="34175"/>
                </a:lnTo>
                <a:lnTo>
                  <a:pt x="1480281" y="44013"/>
                </a:lnTo>
                <a:lnTo>
                  <a:pt x="1536309" y="54913"/>
                </a:lnTo>
                <a:lnTo>
                  <a:pt x="1588722" y="66817"/>
                </a:lnTo>
                <a:lnTo>
                  <a:pt x="1637280" y="79668"/>
                </a:lnTo>
                <a:lnTo>
                  <a:pt x="1681744" y="93405"/>
                </a:lnTo>
                <a:lnTo>
                  <a:pt x="1721874" y="107972"/>
                </a:lnTo>
                <a:lnTo>
                  <a:pt x="1757430" y="123308"/>
                </a:lnTo>
                <a:lnTo>
                  <a:pt x="1788173" y="139356"/>
                </a:lnTo>
                <a:lnTo>
                  <a:pt x="1834263" y="173352"/>
                </a:lnTo>
                <a:lnTo>
                  <a:pt x="1858226" y="209492"/>
                </a:lnTo>
                <a:lnTo>
                  <a:pt x="1861312" y="228219"/>
                </a:lnTo>
                <a:lnTo>
                  <a:pt x="1858226" y="246928"/>
                </a:lnTo>
                <a:lnTo>
                  <a:pt x="1849130" y="265223"/>
                </a:lnTo>
                <a:lnTo>
                  <a:pt x="1813864" y="300331"/>
                </a:lnTo>
                <a:lnTo>
                  <a:pt x="1788173" y="317027"/>
                </a:lnTo>
                <a:lnTo>
                  <a:pt x="1757430" y="333073"/>
                </a:lnTo>
                <a:lnTo>
                  <a:pt x="1721874" y="348409"/>
                </a:lnTo>
                <a:lnTo>
                  <a:pt x="1681744" y="362977"/>
                </a:lnTo>
                <a:lnTo>
                  <a:pt x="1637280" y="376717"/>
                </a:lnTo>
                <a:lnTo>
                  <a:pt x="1588722" y="389572"/>
                </a:lnTo>
                <a:lnTo>
                  <a:pt x="1536309" y="401482"/>
                </a:lnTo>
                <a:lnTo>
                  <a:pt x="1480281" y="412388"/>
                </a:lnTo>
                <a:lnTo>
                  <a:pt x="1420877" y="422231"/>
                </a:lnTo>
                <a:lnTo>
                  <a:pt x="1358338" y="430953"/>
                </a:lnTo>
                <a:lnTo>
                  <a:pt x="1292901" y="438495"/>
                </a:lnTo>
                <a:lnTo>
                  <a:pt x="1224808" y="444797"/>
                </a:lnTo>
                <a:lnTo>
                  <a:pt x="1154297" y="449802"/>
                </a:lnTo>
                <a:lnTo>
                  <a:pt x="1081608" y="453449"/>
                </a:lnTo>
                <a:lnTo>
                  <a:pt x="1006981" y="455681"/>
                </a:lnTo>
                <a:lnTo>
                  <a:pt x="930655" y="456438"/>
                </a:lnTo>
                <a:lnTo>
                  <a:pt x="854330" y="455681"/>
                </a:lnTo>
                <a:lnTo>
                  <a:pt x="779703" y="453449"/>
                </a:lnTo>
                <a:lnTo>
                  <a:pt x="707014" y="449802"/>
                </a:lnTo>
                <a:lnTo>
                  <a:pt x="636503" y="444797"/>
                </a:lnTo>
                <a:lnTo>
                  <a:pt x="568410" y="438495"/>
                </a:lnTo>
                <a:lnTo>
                  <a:pt x="502973" y="430953"/>
                </a:lnTo>
                <a:lnTo>
                  <a:pt x="440434" y="422231"/>
                </a:lnTo>
                <a:lnTo>
                  <a:pt x="381030" y="412388"/>
                </a:lnTo>
                <a:lnTo>
                  <a:pt x="325002" y="401482"/>
                </a:lnTo>
                <a:lnTo>
                  <a:pt x="272589" y="389572"/>
                </a:lnTo>
                <a:lnTo>
                  <a:pt x="224031" y="376717"/>
                </a:lnTo>
                <a:lnTo>
                  <a:pt x="179567" y="362977"/>
                </a:lnTo>
                <a:lnTo>
                  <a:pt x="139437" y="348409"/>
                </a:lnTo>
                <a:lnTo>
                  <a:pt x="103881" y="333073"/>
                </a:lnTo>
                <a:lnTo>
                  <a:pt x="73138" y="317027"/>
                </a:lnTo>
                <a:lnTo>
                  <a:pt x="47447" y="300331"/>
                </a:lnTo>
                <a:lnTo>
                  <a:pt x="27048" y="283043"/>
                </a:lnTo>
                <a:lnTo>
                  <a:pt x="3085" y="246928"/>
                </a:lnTo>
                <a:lnTo>
                  <a:pt x="0" y="22821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6" name="object 176"/>
          <p:cNvSpPr/>
          <p:nvPr/>
        </p:nvSpPr>
        <p:spPr>
          <a:xfrm>
            <a:off x="4952493" y="3773932"/>
            <a:ext cx="1871853" cy="920623"/>
          </a:xfrm>
          <a:custGeom>
            <a:avLst/>
            <a:gdLst/>
            <a:ahLst/>
            <a:cxnLst/>
            <a:rect l="l" t="t" r="r" b="b"/>
            <a:pathLst>
              <a:path w="1871853" h="920623">
                <a:moveTo>
                  <a:pt x="0" y="0"/>
                </a:moveTo>
                <a:lnTo>
                  <a:pt x="0" y="920623"/>
                </a:lnTo>
                <a:lnTo>
                  <a:pt x="1871853" y="920623"/>
                </a:lnTo>
                <a:lnTo>
                  <a:pt x="1871853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7" name="object 177"/>
          <p:cNvSpPr/>
          <p:nvPr/>
        </p:nvSpPr>
        <p:spPr>
          <a:xfrm>
            <a:off x="4952491" y="3768344"/>
            <a:ext cx="0" cy="938530"/>
          </a:xfrm>
          <a:custGeom>
            <a:avLst/>
            <a:gdLst/>
            <a:ahLst/>
            <a:cxnLst/>
            <a:rect l="l" t="t" r="r" b="b"/>
            <a:pathLst>
              <a:path h="938529">
                <a:moveTo>
                  <a:pt x="0" y="0"/>
                </a:moveTo>
                <a:lnTo>
                  <a:pt x="0" y="93852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8" name="object 178"/>
          <p:cNvSpPr/>
          <p:nvPr/>
        </p:nvSpPr>
        <p:spPr>
          <a:xfrm>
            <a:off x="6828663" y="3768344"/>
            <a:ext cx="0" cy="938530"/>
          </a:xfrm>
          <a:custGeom>
            <a:avLst/>
            <a:gdLst/>
            <a:ahLst/>
            <a:cxnLst/>
            <a:rect l="l" t="t" r="r" b="b"/>
            <a:pathLst>
              <a:path h="938529">
                <a:moveTo>
                  <a:pt x="0" y="0"/>
                </a:moveTo>
                <a:lnTo>
                  <a:pt x="0" y="93852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9" name="object 179"/>
          <p:cNvSpPr/>
          <p:nvPr/>
        </p:nvSpPr>
        <p:spPr>
          <a:xfrm>
            <a:off x="4901184" y="3518916"/>
            <a:ext cx="1964436" cy="55168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0" name="object 180"/>
          <p:cNvSpPr/>
          <p:nvPr/>
        </p:nvSpPr>
        <p:spPr>
          <a:xfrm>
            <a:off x="4948301" y="3546855"/>
            <a:ext cx="1869695" cy="45643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1" name="object 181"/>
          <p:cNvSpPr/>
          <p:nvPr/>
        </p:nvSpPr>
        <p:spPr>
          <a:xfrm>
            <a:off x="4948301" y="3546855"/>
            <a:ext cx="1869695" cy="456438"/>
          </a:xfrm>
          <a:custGeom>
            <a:avLst/>
            <a:gdLst/>
            <a:ahLst/>
            <a:cxnLst/>
            <a:rect l="l" t="t" r="r" b="b"/>
            <a:pathLst>
              <a:path w="1869694" h="456438">
                <a:moveTo>
                  <a:pt x="0" y="228219"/>
                </a:moveTo>
                <a:lnTo>
                  <a:pt x="12236" y="191214"/>
                </a:lnTo>
                <a:lnTo>
                  <a:pt x="47663" y="156106"/>
                </a:lnTo>
                <a:lnTo>
                  <a:pt x="104354" y="123364"/>
                </a:lnTo>
                <a:lnTo>
                  <a:pt x="140072" y="108028"/>
                </a:lnTo>
                <a:lnTo>
                  <a:pt x="180384" y="93460"/>
                </a:lnTo>
                <a:lnTo>
                  <a:pt x="225049" y="79720"/>
                </a:lnTo>
                <a:lnTo>
                  <a:pt x="273827" y="66865"/>
                </a:lnTo>
                <a:lnTo>
                  <a:pt x="326477" y="54955"/>
                </a:lnTo>
                <a:lnTo>
                  <a:pt x="382758" y="44049"/>
                </a:lnTo>
                <a:lnTo>
                  <a:pt x="442430" y="34206"/>
                </a:lnTo>
                <a:lnTo>
                  <a:pt x="505251" y="25484"/>
                </a:lnTo>
                <a:lnTo>
                  <a:pt x="570982" y="17942"/>
                </a:lnTo>
                <a:lnTo>
                  <a:pt x="639380" y="11640"/>
                </a:lnTo>
                <a:lnTo>
                  <a:pt x="710207" y="6635"/>
                </a:lnTo>
                <a:lnTo>
                  <a:pt x="783221" y="2988"/>
                </a:lnTo>
                <a:lnTo>
                  <a:pt x="858181" y="756"/>
                </a:lnTo>
                <a:lnTo>
                  <a:pt x="934847" y="0"/>
                </a:lnTo>
                <a:lnTo>
                  <a:pt x="1011512" y="756"/>
                </a:lnTo>
                <a:lnTo>
                  <a:pt x="1086472" y="2988"/>
                </a:lnTo>
                <a:lnTo>
                  <a:pt x="1159486" y="6635"/>
                </a:lnTo>
                <a:lnTo>
                  <a:pt x="1230313" y="11640"/>
                </a:lnTo>
                <a:lnTo>
                  <a:pt x="1298711" y="17942"/>
                </a:lnTo>
                <a:lnTo>
                  <a:pt x="1364442" y="25484"/>
                </a:lnTo>
                <a:lnTo>
                  <a:pt x="1427263" y="34206"/>
                </a:lnTo>
                <a:lnTo>
                  <a:pt x="1486935" y="44049"/>
                </a:lnTo>
                <a:lnTo>
                  <a:pt x="1543216" y="54955"/>
                </a:lnTo>
                <a:lnTo>
                  <a:pt x="1595866" y="66865"/>
                </a:lnTo>
                <a:lnTo>
                  <a:pt x="1644644" y="79720"/>
                </a:lnTo>
                <a:lnTo>
                  <a:pt x="1689309" y="93460"/>
                </a:lnTo>
                <a:lnTo>
                  <a:pt x="1729621" y="108028"/>
                </a:lnTo>
                <a:lnTo>
                  <a:pt x="1765339" y="123364"/>
                </a:lnTo>
                <a:lnTo>
                  <a:pt x="1796222" y="139410"/>
                </a:lnTo>
                <a:lnTo>
                  <a:pt x="1842522" y="173394"/>
                </a:lnTo>
                <a:lnTo>
                  <a:pt x="1866594" y="209509"/>
                </a:lnTo>
                <a:lnTo>
                  <a:pt x="1869694" y="228219"/>
                </a:lnTo>
                <a:lnTo>
                  <a:pt x="1866594" y="246945"/>
                </a:lnTo>
                <a:lnTo>
                  <a:pt x="1857457" y="265254"/>
                </a:lnTo>
                <a:lnTo>
                  <a:pt x="1822030" y="300380"/>
                </a:lnTo>
                <a:lnTo>
                  <a:pt x="1765339" y="333129"/>
                </a:lnTo>
                <a:lnTo>
                  <a:pt x="1729621" y="348465"/>
                </a:lnTo>
                <a:lnTo>
                  <a:pt x="1689309" y="363032"/>
                </a:lnTo>
                <a:lnTo>
                  <a:pt x="1644644" y="376769"/>
                </a:lnTo>
                <a:lnTo>
                  <a:pt x="1595866" y="389620"/>
                </a:lnTo>
                <a:lnTo>
                  <a:pt x="1543216" y="401524"/>
                </a:lnTo>
                <a:lnTo>
                  <a:pt x="1486935" y="412424"/>
                </a:lnTo>
                <a:lnTo>
                  <a:pt x="1427263" y="422262"/>
                </a:lnTo>
                <a:lnTo>
                  <a:pt x="1364442" y="430977"/>
                </a:lnTo>
                <a:lnTo>
                  <a:pt x="1298711" y="438513"/>
                </a:lnTo>
                <a:lnTo>
                  <a:pt x="1230313" y="444809"/>
                </a:lnTo>
                <a:lnTo>
                  <a:pt x="1159486" y="449809"/>
                </a:lnTo>
                <a:lnTo>
                  <a:pt x="1086472" y="453452"/>
                </a:lnTo>
                <a:lnTo>
                  <a:pt x="1011512" y="455681"/>
                </a:lnTo>
                <a:lnTo>
                  <a:pt x="934847" y="456438"/>
                </a:lnTo>
                <a:lnTo>
                  <a:pt x="858164" y="455681"/>
                </a:lnTo>
                <a:lnTo>
                  <a:pt x="783190" y="453452"/>
                </a:lnTo>
                <a:lnTo>
                  <a:pt x="710166" y="449809"/>
                </a:lnTo>
                <a:lnTo>
                  <a:pt x="639332" y="444809"/>
                </a:lnTo>
                <a:lnTo>
                  <a:pt x="570928" y="438513"/>
                </a:lnTo>
                <a:lnTo>
                  <a:pt x="505195" y="430977"/>
                </a:lnTo>
                <a:lnTo>
                  <a:pt x="442373" y="422262"/>
                </a:lnTo>
                <a:lnTo>
                  <a:pt x="382703" y="412424"/>
                </a:lnTo>
                <a:lnTo>
                  <a:pt x="326425" y="401524"/>
                </a:lnTo>
                <a:lnTo>
                  <a:pt x="273780" y="389620"/>
                </a:lnTo>
                <a:lnTo>
                  <a:pt x="225007" y="376769"/>
                </a:lnTo>
                <a:lnTo>
                  <a:pt x="180348" y="363032"/>
                </a:lnTo>
                <a:lnTo>
                  <a:pt x="140042" y="348465"/>
                </a:lnTo>
                <a:lnTo>
                  <a:pt x="104330" y="333129"/>
                </a:lnTo>
                <a:lnTo>
                  <a:pt x="73453" y="317081"/>
                </a:lnTo>
                <a:lnTo>
                  <a:pt x="47651" y="300380"/>
                </a:lnTo>
                <a:lnTo>
                  <a:pt x="27164" y="283085"/>
                </a:lnTo>
                <a:lnTo>
                  <a:pt x="3098" y="246945"/>
                </a:lnTo>
                <a:lnTo>
                  <a:pt x="0" y="228219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2" name="object 182"/>
          <p:cNvSpPr/>
          <p:nvPr/>
        </p:nvSpPr>
        <p:spPr>
          <a:xfrm>
            <a:off x="5847080" y="3145283"/>
            <a:ext cx="0" cy="492251"/>
          </a:xfrm>
          <a:custGeom>
            <a:avLst/>
            <a:gdLst/>
            <a:ahLst/>
            <a:cxnLst/>
            <a:rect l="l" t="t" r="r" b="b"/>
            <a:pathLst>
              <a:path h="492251">
                <a:moveTo>
                  <a:pt x="0" y="492251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3" name="object 183"/>
          <p:cNvSpPr/>
          <p:nvPr/>
        </p:nvSpPr>
        <p:spPr>
          <a:xfrm>
            <a:off x="5090668" y="4375824"/>
            <a:ext cx="1689100" cy="124166"/>
          </a:xfrm>
          <a:custGeom>
            <a:avLst/>
            <a:gdLst/>
            <a:ahLst/>
            <a:cxnLst/>
            <a:rect l="l" t="t" r="r" b="b"/>
            <a:pathLst>
              <a:path w="1689099" h="124166">
                <a:moveTo>
                  <a:pt x="0" y="124166"/>
                </a:moveTo>
                <a:lnTo>
                  <a:pt x="1689099" y="124166"/>
                </a:lnTo>
                <a:lnTo>
                  <a:pt x="1689099" y="0"/>
                </a:lnTo>
                <a:lnTo>
                  <a:pt x="0" y="0"/>
                </a:lnTo>
                <a:lnTo>
                  <a:pt x="0" y="124166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4" name="object 184"/>
          <p:cNvSpPr/>
          <p:nvPr/>
        </p:nvSpPr>
        <p:spPr>
          <a:xfrm>
            <a:off x="5587746" y="4375786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2">
                <a:moveTo>
                  <a:pt x="0" y="0"/>
                </a:moveTo>
                <a:lnTo>
                  <a:pt x="0" y="13538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5" name="object 185"/>
          <p:cNvSpPr/>
          <p:nvPr/>
        </p:nvSpPr>
        <p:spPr>
          <a:xfrm>
            <a:off x="5887339" y="4375786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2">
                <a:moveTo>
                  <a:pt x="0" y="0"/>
                </a:moveTo>
                <a:lnTo>
                  <a:pt x="0" y="13538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6" name="object 186"/>
          <p:cNvSpPr/>
          <p:nvPr/>
        </p:nvSpPr>
        <p:spPr>
          <a:xfrm>
            <a:off x="6382385" y="4375786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2">
                <a:moveTo>
                  <a:pt x="0" y="0"/>
                </a:moveTo>
                <a:lnTo>
                  <a:pt x="0" y="13538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7" name="object 187"/>
          <p:cNvSpPr/>
          <p:nvPr/>
        </p:nvSpPr>
        <p:spPr>
          <a:xfrm>
            <a:off x="5577205" y="4229228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8" name="object 188"/>
          <p:cNvSpPr/>
          <p:nvPr/>
        </p:nvSpPr>
        <p:spPr>
          <a:xfrm>
            <a:off x="5874639" y="4229228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9" name="object 189"/>
          <p:cNvSpPr/>
          <p:nvPr/>
        </p:nvSpPr>
        <p:spPr>
          <a:xfrm>
            <a:off x="6369685" y="4229228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0" name="object 190"/>
          <p:cNvSpPr/>
          <p:nvPr/>
        </p:nvSpPr>
        <p:spPr>
          <a:xfrm>
            <a:off x="5058790" y="4087153"/>
            <a:ext cx="1689100" cy="124166"/>
          </a:xfrm>
          <a:custGeom>
            <a:avLst/>
            <a:gdLst/>
            <a:ahLst/>
            <a:cxnLst/>
            <a:rect l="l" t="t" r="r" b="b"/>
            <a:pathLst>
              <a:path w="1689099" h="124166">
                <a:moveTo>
                  <a:pt x="0" y="124166"/>
                </a:moveTo>
                <a:lnTo>
                  <a:pt x="1689099" y="124166"/>
                </a:lnTo>
                <a:lnTo>
                  <a:pt x="1689099" y="0"/>
                </a:lnTo>
                <a:lnTo>
                  <a:pt x="0" y="0"/>
                </a:lnTo>
                <a:lnTo>
                  <a:pt x="0" y="124166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1" name="object 191"/>
          <p:cNvSpPr/>
          <p:nvPr/>
        </p:nvSpPr>
        <p:spPr>
          <a:xfrm>
            <a:off x="5558028" y="4088256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2" name="object 192"/>
          <p:cNvSpPr/>
          <p:nvPr/>
        </p:nvSpPr>
        <p:spPr>
          <a:xfrm>
            <a:off x="5855462" y="4088256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3" name="object 193"/>
          <p:cNvSpPr/>
          <p:nvPr/>
        </p:nvSpPr>
        <p:spPr>
          <a:xfrm>
            <a:off x="6350635" y="4088256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4" name="object 194"/>
          <p:cNvSpPr/>
          <p:nvPr/>
        </p:nvSpPr>
        <p:spPr>
          <a:xfrm>
            <a:off x="5589904" y="4378072"/>
            <a:ext cx="0" cy="135255"/>
          </a:xfrm>
          <a:custGeom>
            <a:avLst/>
            <a:gdLst/>
            <a:ahLst/>
            <a:cxnLst/>
            <a:rect l="l" t="t" r="r" b="b"/>
            <a:pathLst>
              <a:path h="135254">
                <a:moveTo>
                  <a:pt x="0" y="0"/>
                </a:moveTo>
                <a:lnTo>
                  <a:pt x="0" y="13525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5" name="object 195"/>
          <p:cNvSpPr/>
          <p:nvPr/>
        </p:nvSpPr>
        <p:spPr>
          <a:xfrm>
            <a:off x="5887339" y="4378072"/>
            <a:ext cx="0" cy="135255"/>
          </a:xfrm>
          <a:custGeom>
            <a:avLst/>
            <a:gdLst/>
            <a:ahLst/>
            <a:cxnLst/>
            <a:rect l="l" t="t" r="r" b="b"/>
            <a:pathLst>
              <a:path h="135254">
                <a:moveTo>
                  <a:pt x="0" y="0"/>
                </a:moveTo>
                <a:lnTo>
                  <a:pt x="0" y="13525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6" name="object 196"/>
          <p:cNvSpPr/>
          <p:nvPr/>
        </p:nvSpPr>
        <p:spPr>
          <a:xfrm>
            <a:off x="6382385" y="4378072"/>
            <a:ext cx="0" cy="135255"/>
          </a:xfrm>
          <a:custGeom>
            <a:avLst/>
            <a:gdLst/>
            <a:ahLst/>
            <a:cxnLst/>
            <a:rect l="l" t="t" r="r" b="b"/>
            <a:pathLst>
              <a:path h="135254">
                <a:moveTo>
                  <a:pt x="0" y="0"/>
                </a:moveTo>
                <a:lnTo>
                  <a:pt x="0" y="13525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7" name="object 197"/>
          <p:cNvSpPr/>
          <p:nvPr/>
        </p:nvSpPr>
        <p:spPr>
          <a:xfrm>
            <a:off x="5077841" y="4228148"/>
            <a:ext cx="1689100" cy="125285"/>
          </a:xfrm>
          <a:custGeom>
            <a:avLst/>
            <a:gdLst/>
            <a:ahLst/>
            <a:cxnLst/>
            <a:rect l="l" t="t" r="r" b="b"/>
            <a:pathLst>
              <a:path w="1689099" h="125285">
                <a:moveTo>
                  <a:pt x="0" y="125285"/>
                </a:moveTo>
                <a:lnTo>
                  <a:pt x="1689099" y="125285"/>
                </a:lnTo>
                <a:lnTo>
                  <a:pt x="1689099" y="0"/>
                </a:lnTo>
                <a:lnTo>
                  <a:pt x="0" y="0"/>
                </a:lnTo>
                <a:lnTo>
                  <a:pt x="0" y="12528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8" name="object 198"/>
          <p:cNvSpPr/>
          <p:nvPr/>
        </p:nvSpPr>
        <p:spPr>
          <a:xfrm>
            <a:off x="5327905" y="3020567"/>
            <a:ext cx="1155191" cy="40386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9" name="object 199"/>
          <p:cNvSpPr/>
          <p:nvPr/>
        </p:nvSpPr>
        <p:spPr>
          <a:xfrm>
            <a:off x="5509261" y="3017520"/>
            <a:ext cx="832103" cy="35204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0" name="object 200"/>
          <p:cNvSpPr/>
          <p:nvPr/>
        </p:nvSpPr>
        <p:spPr>
          <a:xfrm>
            <a:off x="5375403" y="3048001"/>
            <a:ext cx="1060221" cy="308737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1" name="object 201"/>
          <p:cNvSpPr/>
          <p:nvPr/>
        </p:nvSpPr>
        <p:spPr>
          <a:xfrm>
            <a:off x="5375403" y="3048001"/>
            <a:ext cx="1060221" cy="308737"/>
          </a:xfrm>
          <a:custGeom>
            <a:avLst/>
            <a:gdLst/>
            <a:ahLst/>
            <a:cxnLst/>
            <a:rect l="l" t="t" r="r" b="b"/>
            <a:pathLst>
              <a:path w="1060221" h="308737">
                <a:moveTo>
                  <a:pt x="0" y="308737"/>
                </a:moveTo>
                <a:lnTo>
                  <a:pt x="1060221" y="308737"/>
                </a:lnTo>
                <a:lnTo>
                  <a:pt x="1060221" y="0"/>
                </a:lnTo>
                <a:lnTo>
                  <a:pt x="0" y="0"/>
                </a:lnTo>
                <a:lnTo>
                  <a:pt x="0" y="3087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8" name="object 138"/>
          <p:cNvSpPr/>
          <p:nvPr/>
        </p:nvSpPr>
        <p:spPr>
          <a:xfrm>
            <a:off x="696748" y="4443983"/>
            <a:ext cx="1899512" cy="509016"/>
          </a:xfrm>
          <a:custGeom>
            <a:avLst/>
            <a:gdLst/>
            <a:ahLst/>
            <a:cxnLst/>
            <a:rect l="l" t="t" r="r" b="b"/>
            <a:pathLst>
              <a:path w="1899513" h="509016">
                <a:moveTo>
                  <a:pt x="0" y="254508"/>
                </a:moveTo>
                <a:lnTo>
                  <a:pt x="12430" y="213249"/>
                </a:lnTo>
                <a:lnTo>
                  <a:pt x="48419" y="174101"/>
                </a:lnTo>
                <a:lnTo>
                  <a:pt x="74637" y="155483"/>
                </a:lnTo>
                <a:lnTo>
                  <a:pt x="106011" y="137590"/>
                </a:lnTo>
                <a:lnTo>
                  <a:pt x="142297" y="120487"/>
                </a:lnTo>
                <a:lnTo>
                  <a:pt x="183251" y="104241"/>
                </a:lnTo>
                <a:lnTo>
                  <a:pt x="228628" y="88917"/>
                </a:lnTo>
                <a:lnTo>
                  <a:pt x="278183" y="74580"/>
                </a:lnTo>
                <a:lnTo>
                  <a:pt x="331674" y="61297"/>
                </a:lnTo>
                <a:lnTo>
                  <a:pt x="388854" y="49133"/>
                </a:lnTo>
                <a:lnTo>
                  <a:pt x="449479" y="38154"/>
                </a:lnTo>
                <a:lnTo>
                  <a:pt x="513306" y="28426"/>
                </a:lnTo>
                <a:lnTo>
                  <a:pt x="580090" y="20014"/>
                </a:lnTo>
                <a:lnTo>
                  <a:pt x="649586" y="12984"/>
                </a:lnTo>
                <a:lnTo>
                  <a:pt x="721550" y="7402"/>
                </a:lnTo>
                <a:lnTo>
                  <a:pt x="795738" y="3333"/>
                </a:lnTo>
                <a:lnTo>
                  <a:pt x="871905" y="844"/>
                </a:lnTo>
                <a:lnTo>
                  <a:pt x="949807" y="0"/>
                </a:lnTo>
                <a:lnTo>
                  <a:pt x="1027698" y="844"/>
                </a:lnTo>
                <a:lnTo>
                  <a:pt x="1103855" y="3333"/>
                </a:lnTo>
                <a:lnTo>
                  <a:pt x="1178033" y="7402"/>
                </a:lnTo>
                <a:lnTo>
                  <a:pt x="1249988" y="12984"/>
                </a:lnTo>
                <a:lnTo>
                  <a:pt x="1319476" y="20014"/>
                </a:lnTo>
                <a:lnTo>
                  <a:pt x="1386253" y="28426"/>
                </a:lnTo>
                <a:lnTo>
                  <a:pt x="1450073" y="38154"/>
                </a:lnTo>
                <a:lnTo>
                  <a:pt x="1510692" y="49133"/>
                </a:lnTo>
                <a:lnTo>
                  <a:pt x="1567866" y="61297"/>
                </a:lnTo>
                <a:lnTo>
                  <a:pt x="1621351" y="74580"/>
                </a:lnTo>
                <a:lnTo>
                  <a:pt x="1670903" y="88917"/>
                </a:lnTo>
                <a:lnTo>
                  <a:pt x="1716275" y="104241"/>
                </a:lnTo>
                <a:lnTo>
                  <a:pt x="1757226" y="120487"/>
                </a:lnTo>
                <a:lnTo>
                  <a:pt x="1793509" y="137590"/>
                </a:lnTo>
                <a:lnTo>
                  <a:pt x="1824881" y="155483"/>
                </a:lnTo>
                <a:lnTo>
                  <a:pt x="1851097" y="174101"/>
                </a:lnTo>
                <a:lnTo>
                  <a:pt x="1887083" y="213249"/>
                </a:lnTo>
                <a:lnTo>
                  <a:pt x="1899513" y="254508"/>
                </a:lnTo>
                <a:lnTo>
                  <a:pt x="1896365" y="275385"/>
                </a:lnTo>
                <a:lnTo>
                  <a:pt x="1887083" y="295797"/>
                </a:lnTo>
                <a:lnTo>
                  <a:pt x="1851097" y="334963"/>
                </a:lnTo>
                <a:lnTo>
                  <a:pt x="1824881" y="353585"/>
                </a:lnTo>
                <a:lnTo>
                  <a:pt x="1793509" y="371481"/>
                </a:lnTo>
                <a:lnTo>
                  <a:pt x="1757226" y="388584"/>
                </a:lnTo>
                <a:lnTo>
                  <a:pt x="1716275" y="404829"/>
                </a:lnTo>
                <a:lnTo>
                  <a:pt x="1670903" y="420150"/>
                </a:lnTo>
                <a:lnTo>
                  <a:pt x="1621351" y="434482"/>
                </a:lnTo>
                <a:lnTo>
                  <a:pt x="1567866" y="447760"/>
                </a:lnTo>
                <a:lnTo>
                  <a:pt x="1510692" y="459918"/>
                </a:lnTo>
                <a:lnTo>
                  <a:pt x="1450073" y="470891"/>
                </a:lnTo>
                <a:lnTo>
                  <a:pt x="1386253" y="480613"/>
                </a:lnTo>
                <a:lnTo>
                  <a:pt x="1319476" y="489019"/>
                </a:lnTo>
                <a:lnTo>
                  <a:pt x="1249988" y="496043"/>
                </a:lnTo>
                <a:lnTo>
                  <a:pt x="1178033" y="501620"/>
                </a:lnTo>
                <a:lnTo>
                  <a:pt x="1103855" y="505685"/>
                </a:lnTo>
                <a:lnTo>
                  <a:pt x="1027698" y="508172"/>
                </a:lnTo>
                <a:lnTo>
                  <a:pt x="949807" y="509016"/>
                </a:lnTo>
                <a:lnTo>
                  <a:pt x="871905" y="508172"/>
                </a:lnTo>
                <a:lnTo>
                  <a:pt x="795738" y="505685"/>
                </a:lnTo>
                <a:lnTo>
                  <a:pt x="721550" y="501620"/>
                </a:lnTo>
                <a:lnTo>
                  <a:pt x="649586" y="496043"/>
                </a:lnTo>
                <a:lnTo>
                  <a:pt x="580090" y="489019"/>
                </a:lnTo>
                <a:lnTo>
                  <a:pt x="513306" y="480613"/>
                </a:lnTo>
                <a:lnTo>
                  <a:pt x="449479" y="470891"/>
                </a:lnTo>
                <a:lnTo>
                  <a:pt x="388854" y="459918"/>
                </a:lnTo>
                <a:lnTo>
                  <a:pt x="331674" y="447760"/>
                </a:lnTo>
                <a:lnTo>
                  <a:pt x="278183" y="434482"/>
                </a:lnTo>
                <a:lnTo>
                  <a:pt x="228628" y="420150"/>
                </a:lnTo>
                <a:lnTo>
                  <a:pt x="183251" y="404829"/>
                </a:lnTo>
                <a:lnTo>
                  <a:pt x="142297" y="388584"/>
                </a:lnTo>
                <a:lnTo>
                  <a:pt x="106011" y="371481"/>
                </a:lnTo>
                <a:lnTo>
                  <a:pt x="74637" y="353585"/>
                </a:lnTo>
                <a:lnTo>
                  <a:pt x="48419" y="334963"/>
                </a:lnTo>
                <a:lnTo>
                  <a:pt x="27602" y="315678"/>
                </a:lnTo>
                <a:lnTo>
                  <a:pt x="3148" y="275385"/>
                </a:lnTo>
                <a:lnTo>
                  <a:pt x="0" y="254508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9" name="object 139"/>
          <p:cNvSpPr/>
          <p:nvPr/>
        </p:nvSpPr>
        <p:spPr>
          <a:xfrm>
            <a:off x="711619" y="3756025"/>
            <a:ext cx="1871815" cy="906144"/>
          </a:xfrm>
          <a:custGeom>
            <a:avLst/>
            <a:gdLst/>
            <a:ahLst/>
            <a:cxnLst/>
            <a:rect l="l" t="t" r="r" b="b"/>
            <a:pathLst>
              <a:path w="1871814" h="906145">
                <a:moveTo>
                  <a:pt x="0" y="0"/>
                </a:moveTo>
                <a:lnTo>
                  <a:pt x="0" y="906144"/>
                </a:lnTo>
                <a:lnTo>
                  <a:pt x="1871814" y="906144"/>
                </a:lnTo>
                <a:lnTo>
                  <a:pt x="187181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0" name="object 140"/>
          <p:cNvSpPr/>
          <p:nvPr/>
        </p:nvSpPr>
        <p:spPr>
          <a:xfrm>
            <a:off x="705258" y="3752723"/>
            <a:ext cx="1882494" cy="911732"/>
          </a:xfrm>
          <a:custGeom>
            <a:avLst/>
            <a:gdLst/>
            <a:ahLst/>
            <a:cxnLst/>
            <a:rect l="l" t="t" r="r" b="b"/>
            <a:pathLst>
              <a:path w="1882495" h="911732">
                <a:moveTo>
                  <a:pt x="0" y="0"/>
                </a:moveTo>
                <a:lnTo>
                  <a:pt x="0" y="911732"/>
                </a:lnTo>
                <a:lnTo>
                  <a:pt x="1882495" y="911732"/>
                </a:lnTo>
                <a:lnTo>
                  <a:pt x="1882495" y="0"/>
                </a:lnTo>
                <a:lnTo>
                  <a:pt x="0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1" name="object 141"/>
          <p:cNvSpPr/>
          <p:nvPr/>
        </p:nvSpPr>
        <p:spPr>
          <a:xfrm>
            <a:off x="692505" y="3741547"/>
            <a:ext cx="0" cy="936244"/>
          </a:xfrm>
          <a:custGeom>
            <a:avLst/>
            <a:gdLst/>
            <a:ahLst/>
            <a:cxnLst/>
            <a:rect l="l" t="t" r="r" b="b"/>
            <a:pathLst>
              <a:path h="936244">
                <a:moveTo>
                  <a:pt x="0" y="0"/>
                </a:moveTo>
                <a:lnTo>
                  <a:pt x="0" y="93624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2" name="object 142"/>
          <p:cNvSpPr/>
          <p:nvPr/>
        </p:nvSpPr>
        <p:spPr>
          <a:xfrm>
            <a:off x="2587752" y="3752723"/>
            <a:ext cx="0" cy="920622"/>
          </a:xfrm>
          <a:custGeom>
            <a:avLst/>
            <a:gdLst/>
            <a:ahLst/>
            <a:cxnLst/>
            <a:rect l="l" t="t" r="r" b="b"/>
            <a:pathLst>
              <a:path h="920623">
                <a:moveTo>
                  <a:pt x="0" y="0"/>
                </a:moveTo>
                <a:lnTo>
                  <a:pt x="0" y="92062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3" name="object 143"/>
          <p:cNvSpPr/>
          <p:nvPr/>
        </p:nvSpPr>
        <p:spPr>
          <a:xfrm>
            <a:off x="659892" y="3506725"/>
            <a:ext cx="1964436" cy="541019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4" name="object 144"/>
          <p:cNvSpPr/>
          <p:nvPr/>
        </p:nvSpPr>
        <p:spPr>
          <a:xfrm>
            <a:off x="707378" y="3533522"/>
            <a:ext cx="1869706" cy="447420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5" name="object 145"/>
          <p:cNvSpPr/>
          <p:nvPr/>
        </p:nvSpPr>
        <p:spPr>
          <a:xfrm>
            <a:off x="707378" y="3533522"/>
            <a:ext cx="1869706" cy="447420"/>
          </a:xfrm>
          <a:custGeom>
            <a:avLst/>
            <a:gdLst/>
            <a:ahLst/>
            <a:cxnLst/>
            <a:rect l="l" t="t" r="r" b="b"/>
            <a:pathLst>
              <a:path w="1869706" h="447421">
                <a:moveTo>
                  <a:pt x="0" y="223646"/>
                </a:moveTo>
                <a:lnTo>
                  <a:pt x="12235" y="187357"/>
                </a:lnTo>
                <a:lnTo>
                  <a:pt x="47660" y="152936"/>
                </a:lnTo>
                <a:lnTo>
                  <a:pt x="104347" y="120844"/>
                </a:lnTo>
                <a:lnTo>
                  <a:pt x="140064" y="105815"/>
                </a:lnTo>
                <a:lnTo>
                  <a:pt x="180374" y="91540"/>
                </a:lnTo>
                <a:lnTo>
                  <a:pt x="225038" y="78077"/>
                </a:lnTo>
                <a:lnTo>
                  <a:pt x="273815" y="65484"/>
                </a:lnTo>
                <a:lnTo>
                  <a:pt x="326464" y="53817"/>
                </a:lnTo>
                <a:lnTo>
                  <a:pt x="382744" y="43135"/>
                </a:lnTo>
                <a:lnTo>
                  <a:pt x="442416" y="33494"/>
                </a:lnTo>
                <a:lnTo>
                  <a:pt x="505239" y="24952"/>
                </a:lnTo>
                <a:lnTo>
                  <a:pt x="570971" y="17567"/>
                </a:lnTo>
                <a:lnTo>
                  <a:pt x="639372" y="11396"/>
                </a:lnTo>
                <a:lnTo>
                  <a:pt x="710203" y="6496"/>
                </a:lnTo>
                <a:lnTo>
                  <a:pt x="783221" y="2925"/>
                </a:lnTo>
                <a:lnTo>
                  <a:pt x="858187" y="740"/>
                </a:lnTo>
                <a:lnTo>
                  <a:pt x="934859" y="0"/>
                </a:lnTo>
                <a:lnTo>
                  <a:pt x="1011542" y="740"/>
                </a:lnTo>
                <a:lnTo>
                  <a:pt x="1086516" y="2925"/>
                </a:lnTo>
                <a:lnTo>
                  <a:pt x="1159540" y="6496"/>
                </a:lnTo>
                <a:lnTo>
                  <a:pt x="1230374" y="11396"/>
                </a:lnTo>
                <a:lnTo>
                  <a:pt x="1298778" y="17567"/>
                </a:lnTo>
                <a:lnTo>
                  <a:pt x="1364511" y="24952"/>
                </a:lnTo>
                <a:lnTo>
                  <a:pt x="1427332" y="33494"/>
                </a:lnTo>
                <a:lnTo>
                  <a:pt x="1487002" y="43135"/>
                </a:lnTo>
                <a:lnTo>
                  <a:pt x="1543280" y="53817"/>
                </a:lnTo>
                <a:lnTo>
                  <a:pt x="1595926" y="65484"/>
                </a:lnTo>
                <a:lnTo>
                  <a:pt x="1644699" y="78077"/>
                </a:lnTo>
                <a:lnTo>
                  <a:pt x="1689358" y="91540"/>
                </a:lnTo>
                <a:lnTo>
                  <a:pt x="1729664" y="105815"/>
                </a:lnTo>
                <a:lnTo>
                  <a:pt x="1765375" y="120844"/>
                </a:lnTo>
                <a:lnTo>
                  <a:pt x="1796253" y="136570"/>
                </a:lnTo>
                <a:lnTo>
                  <a:pt x="1842542" y="169884"/>
                </a:lnTo>
                <a:lnTo>
                  <a:pt x="1866608" y="205297"/>
                </a:lnTo>
                <a:lnTo>
                  <a:pt x="1869706" y="223646"/>
                </a:lnTo>
                <a:lnTo>
                  <a:pt x="1866608" y="241997"/>
                </a:lnTo>
                <a:lnTo>
                  <a:pt x="1857473" y="259940"/>
                </a:lnTo>
                <a:lnTo>
                  <a:pt x="1822055" y="294370"/>
                </a:lnTo>
                <a:lnTo>
                  <a:pt x="1765375" y="326476"/>
                </a:lnTo>
                <a:lnTo>
                  <a:pt x="1729664" y="341514"/>
                </a:lnTo>
                <a:lnTo>
                  <a:pt x="1689358" y="355798"/>
                </a:lnTo>
                <a:lnTo>
                  <a:pt x="1644699" y="369270"/>
                </a:lnTo>
                <a:lnTo>
                  <a:pt x="1595926" y="381873"/>
                </a:lnTo>
                <a:lnTo>
                  <a:pt x="1543280" y="393549"/>
                </a:lnTo>
                <a:lnTo>
                  <a:pt x="1487002" y="404240"/>
                </a:lnTo>
                <a:lnTo>
                  <a:pt x="1427332" y="413890"/>
                </a:lnTo>
                <a:lnTo>
                  <a:pt x="1364511" y="422440"/>
                </a:lnTo>
                <a:lnTo>
                  <a:pt x="1298778" y="429833"/>
                </a:lnTo>
                <a:lnTo>
                  <a:pt x="1230374" y="436011"/>
                </a:lnTo>
                <a:lnTo>
                  <a:pt x="1159540" y="440916"/>
                </a:lnTo>
                <a:lnTo>
                  <a:pt x="1086516" y="444491"/>
                </a:lnTo>
                <a:lnTo>
                  <a:pt x="1011542" y="446679"/>
                </a:lnTo>
                <a:lnTo>
                  <a:pt x="934859" y="447420"/>
                </a:lnTo>
                <a:lnTo>
                  <a:pt x="858187" y="446679"/>
                </a:lnTo>
                <a:lnTo>
                  <a:pt x="783221" y="444491"/>
                </a:lnTo>
                <a:lnTo>
                  <a:pt x="710203" y="440916"/>
                </a:lnTo>
                <a:lnTo>
                  <a:pt x="639372" y="436011"/>
                </a:lnTo>
                <a:lnTo>
                  <a:pt x="570971" y="429833"/>
                </a:lnTo>
                <a:lnTo>
                  <a:pt x="505239" y="422440"/>
                </a:lnTo>
                <a:lnTo>
                  <a:pt x="442416" y="413890"/>
                </a:lnTo>
                <a:lnTo>
                  <a:pt x="382744" y="404240"/>
                </a:lnTo>
                <a:lnTo>
                  <a:pt x="326464" y="393549"/>
                </a:lnTo>
                <a:lnTo>
                  <a:pt x="273815" y="381873"/>
                </a:lnTo>
                <a:lnTo>
                  <a:pt x="225038" y="369270"/>
                </a:lnTo>
                <a:lnTo>
                  <a:pt x="180374" y="355798"/>
                </a:lnTo>
                <a:lnTo>
                  <a:pt x="140064" y="341514"/>
                </a:lnTo>
                <a:lnTo>
                  <a:pt x="104347" y="326476"/>
                </a:lnTo>
                <a:lnTo>
                  <a:pt x="73466" y="310743"/>
                </a:lnTo>
                <a:lnTo>
                  <a:pt x="47660" y="294370"/>
                </a:lnTo>
                <a:lnTo>
                  <a:pt x="27169" y="277417"/>
                </a:lnTo>
                <a:lnTo>
                  <a:pt x="3099" y="241997"/>
                </a:lnTo>
                <a:lnTo>
                  <a:pt x="0" y="223646"/>
                </a:lnTo>
                <a:close/>
              </a:path>
            </a:pathLst>
          </a:custGeom>
          <a:ln w="9524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6" name="object 146"/>
          <p:cNvSpPr/>
          <p:nvPr/>
        </p:nvSpPr>
        <p:spPr>
          <a:xfrm>
            <a:off x="1597660" y="3145283"/>
            <a:ext cx="0" cy="492251"/>
          </a:xfrm>
          <a:custGeom>
            <a:avLst/>
            <a:gdLst/>
            <a:ahLst/>
            <a:cxnLst/>
            <a:rect l="l" t="t" r="r" b="b"/>
            <a:pathLst>
              <a:path h="492251">
                <a:moveTo>
                  <a:pt x="0" y="492251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7" name="object 147"/>
          <p:cNvSpPr/>
          <p:nvPr/>
        </p:nvSpPr>
        <p:spPr>
          <a:xfrm>
            <a:off x="1059180" y="3035808"/>
            <a:ext cx="1155192" cy="40233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8" name="object 148"/>
          <p:cNvSpPr/>
          <p:nvPr/>
        </p:nvSpPr>
        <p:spPr>
          <a:xfrm>
            <a:off x="1240537" y="3032759"/>
            <a:ext cx="832103" cy="35204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9" name="object 149"/>
          <p:cNvSpPr/>
          <p:nvPr/>
        </p:nvSpPr>
        <p:spPr>
          <a:xfrm>
            <a:off x="1106818" y="3062605"/>
            <a:ext cx="1060221" cy="308737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0" name="object 150"/>
          <p:cNvSpPr/>
          <p:nvPr/>
        </p:nvSpPr>
        <p:spPr>
          <a:xfrm>
            <a:off x="1106818" y="3062605"/>
            <a:ext cx="1060221" cy="308737"/>
          </a:xfrm>
          <a:custGeom>
            <a:avLst/>
            <a:gdLst/>
            <a:ahLst/>
            <a:cxnLst/>
            <a:rect l="l" t="t" r="r" b="b"/>
            <a:pathLst>
              <a:path w="1060221" h="308737">
                <a:moveTo>
                  <a:pt x="0" y="308737"/>
                </a:moveTo>
                <a:lnTo>
                  <a:pt x="1060221" y="308737"/>
                </a:lnTo>
                <a:lnTo>
                  <a:pt x="1060221" y="0"/>
                </a:lnTo>
                <a:lnTo>
                  <a:pt x="0" y="0"/>
                </a:lnTo>
                <a:lnTo>
                  <a:pt x="0" y="3087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1" name="object 151"/>
          <p:cNvSpPr/>
          <p:nvPr/>
        </p:nvSpPr>
        <p:spPr>
          <a:xfrm>
            <a:off x="809358" y="4269502"/>
            <a:ext cx="1689100" cy="123047"/>
          </a:xfrm>
          <a:custGeom>
            <a:avLst/>
            <a:gdLst/>
            <a:ahLst/>
            <a:cxnLst/>
            <a:rect l="l" t="t" r="r" b="b"/>
            <a:pathLst>
              <a:path w="1689100" h="123047">
                <a:moveTo>
                  <a:pt x="0" y="123047"/>
                </a:moveTo>
                <a:lnTo>
                  <a:pt x="1689100" y="123047"/>
                </a:lnTo>
                <a:lnTo>
                  <a:pt x="1689100" y="0"/>
                </a:lnTo>
                <a:lnTo>
                  <a:pt x="0" y="0"/>
                </a:lnTo>
                <a:lnTo>
                  <a:pt x="0" y="12304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2" name="object 152"/>
          <p:cNvSpPr/>
          <p:nvPr/>
        </p:nvSpPr>
        <p:spPr>
          <a:xfrm>
            <a:off x="1308608" y="4269486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2">
                <a:moveTo>
                  <a:pt x="0" y="0"/>
                </a:moveTo>
                <a:lnTo>
                  <a:pt x="0" y="13538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3" name="object 153"/>
          <p:cNvSpPr/>
          <p:nvPr/>
        </p:nvSpPr>
        <p:spPr>
          <a:xfrm>
            <a:off x="1606169" y="4269486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2">
                <a:moveTo>
                  <a:pt x="0" y="0"/>
                </a:moveTo>
                <a:lnTo>
                  <a:pt x="0" y="13538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4" name="object 154"/>
          <p:cNvSpPr/>
          <p:nvPr/>
        </p:nvSpPr>
        <p:spPr>
          <a:xfrm>
            <a:off x="2101215" y="4269486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2">
                <a:moveTo>
                  <a:pt x="0" y="0"/>
                </a:moveTo>
                <a:lnTo>
                  <a:pt x="0" y="13538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5" name="object 155"/>
          <p:cNvSpPr/>
          <p:nvPr/>
        </p:nvSpPr>
        <p:spPr>
          <a:xfrm>
            <a:off x="811490" y="4401503"/>
            <a:ext cx="1689100" cy="125285"/>
          </a:xfrm>
          <a:custGeom>
            <a:avLst/>
            <a:gdLst/>
            <a:ahLst/>
            <a:cxnLst/>
            <a:rect l="l" t="t" r="r" b="b"/>
            <a:pathLst>
              <a:path w="1689100" h="125285">
                <a:moveTo>
                  <a:pt x="0" y="125285"/>
                </a:moveTo>
                <a:lnTo>
                  <a:pt x="1689100" y="125285"/>
                </a:lnTo>
                <a:lnTo>
                  <a:pt x="1689100" y="0"/>
                </a:lnTo>
                <a:lnTo>
                  <a:pt x="0" y="0"/>
                </a:lnTo>
                <a:lnTo>
                  <a:pt x="0" y="12528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6" name="object 156"/>
          <p:cNvSpPr/>
          <p:nvPr/>
        </p:nvSpPr>
        <p:spPr>
          <a:xfrm>
            <a:off x="1310767" y="4402583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7" name="object 157"/>
          <p:cNvSpPr/>
          <p:nvPr/>
        </p:nvSpPr>
        <p:spPr>
          <a:xfrm>
            <a:off x="1608200" y="4402583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8" name="object 158"/>
          <p:cNvSpPr/>
          <p:nvPr/>
        </p:nvSpPr>
        <p:spPr>
          <a:xfrm>
            <a:off x="2103247" y="4402583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9" name="object 159"/>
          <p:cNvSpPr/>
          <p:nvPr/>
        </p:nvSpPr>
        <p:spPr>
          <a:xfrm>
            <a:off x="809358" y="4661066"/>
            <a:ext cx="1689100" cy="124166"/>
          </a:xfrm>
          <a:custGeom>
            <a:avLst/>
            <a:gdLst/>
            <a:ahLst/>
            <a:cxnLst/>
            <a:rect l="l" t="t" r="r" b="b"/>
            <a:pathLst>
              <a:path w="1689100" h="124166">
                <a:moveTo>
                  <a:pt x="0" y="124166"/>
                </a:moveTo>
                <a:lnTo>
                  <a:pt x="1689100" y="124166"/>
                </a:lnTo>
                <a:lnTo>
                  <a:pt x="1689100" y="0"/>
                </a:lnTo>
                <a:lnTo>
                  <a:pt x="0" y="0"/>
                </a:lnTo>
                <a:lnTo>
                  <a:pt x="0" y="124166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0" name="object 160"/>
          <p:cNvSpPr/>
          <p:nvPr/>
        </p:nvSpPr>
        <p:spPr>
          <a:xfrm>
            <a:off x="1308608" y="4661028"/>
            <a:ext cx="0" cy="136525"/>
          </a:xfrm>
          <a:custGeom>
            <a:avLst/>
            <a:gdLst/>
            <a:ahLst/>
            <a:cxnLst/>
            <a:rect l="l" t="t" r="r" b="b"/>
            <a:pathLst>
              <a:path h="136525">
                <a:moveTo>
                  <a:pt x="0" y="0"/>
                </a:moveTo>
                <a:lnTo>
                  <a:pt x="0" y="1365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1" name="object 161"/>
          <p:cNvSpPr/>
          <p:nvPr/>
        </p:nvSpPr>
        <p:spPr>
          <a:xfrm>
            <a:off x="1606169" y="4661028"/>
            <a:ext cx="0" cy="136525"/>
          </a:xfrm>
          <a:custGeom>
            <a:avLst/>
            <a:gdLst/>
            <a:ahLst/>
            <a:cxnLst/>
            <a:rect l="l" t="t" r="r" b="b"/>
            <a:pathLst>
              <a:path h="136525">
                <a:moveTo>
                  <a:pt x="0" y="0"/>
                </a:moveTo>
                <a:lnTo>
                  <a:pt x="0" y="1365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2" name="object 162"/>
          <p:cNvSpPr/>
          <p:nvPr/>
        </p:nvSpPr>
        <p:spPr>
          <a:xfrm>
            <a:off x="2101215" y="4661028"/>
            <a:ext cx="0" cy="136525"/>
          </a:xfrm>
          <a:custGeom>
            <a:avLst/>
            <a:gdLst/>
            <a:ahLst/>
            <a:cxnLst/>
            <a:rect l="l" t="t" r="r" b="b"/>
            <a:pathLst>
              <a:path h="136525">
                <a:moveTo>
                  <a:pt x="0" y="0"/>
                </a:moveTo>
                <a:lnTo>
                  <a:pt x="0" y="1365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3" name="object 163"/>
          <p:cNvSpPr/>
          <p:nvPr/>
        </p:nvSpPr>
        <p:spPr>
          <a:xfrm>
            <a:off x="790244" y="3981999"/>
            <a:ext cx="1689100" cy="124165"/>
          </a:xfrm>
          <a:custGeom>
            <a:avLst/>
            <a:gdLst/>
            <a:ahLst/>
            <a:cxnLst/>
            <a:rect l="l" t="t" r="r" b="b"/>
            <a:pathLst>
              <a:path w="1689100" h="124165">
                <a:moveTo>
                  <a:pt x="0" y="124165"/>
                </a:moveTo>
                <a:lnTo>
                  <a:pt x="1689100" y="124165"/>
                </a:lnTo>
                <a:lnTo>
                  <a:pt x="1689100" y="0"/>
                </a:lnTo>
                <a:lnTo>
                  <a:pt x="0" y="0"/>
                </a:lnTo>
                <a:lnTo>
                  <a:pt x="0" y="124165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4" name="object 164"/>
          <p:cNvSpPr/>
          <p:nvPr/>
        </p:nvSpPr>
        <p:spPr>
          <a:xfrm>
            <a:off x="1308608" y="3982085"/>
            <a:ext cx="0" cy="135254"/>
          </a:xfrm>
          <a:custGeom>
            <a:avLst/>
            <a:gdLst/>
            <a:ahLst/>
            <a:cxnLst/>
            <a:rect l="l" t="t" r="r" b="b"/>
            <a:pathLst>
              <a:path h="135254">
                <a:moveTo>
                  <a:pt x="0" y="0"/>
                </a:moveTo>
                <a:lnTo>
                  <a:pt x="0" y="13525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5" name="object 165"/>
          <p:cNvSpPr/>
          <p:nvPr/>
        </p:nvSpPr>
        <p:spPr>
          <a:xfrm>
            <a:off x="1606169" y="3982085"/>
            <a:ext cx="0" cy="135254"/>
          </a:xfrm>
          <a:custGeom>
            <a:avLst/>
            <a:gdLst/>
            <a:ahLst/>
            <a:cxnLst/>
            <a:rect l="l" t="t" r="r" b="b"/>
            <a:pathLst>
              <a:path h="135254">
                <a:moveTo>
                  <a:pt x="0" y="0"/>
                </a:moveTo>
                <a:lnTo>
                  <a:pt x="0" y="13525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6" name="object 166"/>
          <p:cNvSpPr/>
          <p:nvPr/>
        </p:nvSpPr>
        <p:spPr>
          <a:xfrm>
            <a:off x="2101215" y="3982085"/>
            <a:ext cx="0" cy="135254"/>
          </a:xfrm>
          <a:custGeom>
            <a:avLst/>
            <a:gdLst/>
            <a:ahLst/>
            <a:cxnLst/>
            <a:rect l="l" t="t" r="r" b="b"/>
            <a:pathLst>
              <a:path h="135254">
                <a:moveTo>
                  <a:pt x="0" y="0"/>
                </a:moveTo>
                <a:lnTo>
                  <a:pt x="0" y="13525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7" name="object 167"/>
          <p:cNvSpPr/>
          <p:nvPr/>
        </p:nvSpPr>
        <p:spPr>
          <a:xfrm>
            <a:off x="811490" y="4128555"/>
            <a:ext cx="1689100" cy="124166"/>
          </a:xfrm>
          <a:custGeom>
            <a:avLst/>
            <a:gdLst/>
            <a:ahLst/>
            <a:cxnLst/>
            <a:rect l="l" t="t" r="r" b="b"/>
            <a:pathLst>
              <a:path w="1689100" h="124166">
                <a:moveTo>
                  <a:pt x="0" y="124166"/>
                </a:moveTo>
                <a:lnTo>
                  <a:pt x="1689100" y="124166"/>
                </a:lnTo>
                <a:lnTo>
                  <a:pt x="1689100" y="0"/>
                </a:lnTo>
                <a:lnTo>
                  <a:pt x="0" y="0"/>
                </a:lnTo>
                <a:lnTo>
                  <a:pt x="0" y="124166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8" name="object 168"/>
          <p:cNvSpPr/>
          <p:nvPr/>
        </p:nvSpPr>
        <p:spPr>
          <a:xfrm>
            <a:off x="1310767" y="4128644"/>
            <a:ext cx="0" cy="136398"/>
          </a:xfrm>
          <a:custGeom>
            <a:avLst/>
            <a:gdLst/>
            <a:ahLst/>
            <a:cxnLst/>
            <a:rect l="l" t="t" r="r" b="b"/>
            <a:pathLst>
              <a:path h="136398">
                <a:moveTo>
                  <a:pt x="0" y="0"/>
                </a:moveTo>
                <a:lnTo>
                  <a:pt x="0" y="13639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9" name="object 169"/>
          <p:cNvSpPr/>
          <p:nvPr/>
        </p:nvSpPr>
        <p:spPr>
          <a:xfrm>
            <a:off x="1608200" y="4128644"/>
            <a:ext cx="0" cy="136398"/>
          </a:xfrm>
          <a:custGeom>
            <a:avLst/>
            <a:gdLst/>
            <a:ahLst/>
            <a:cxnLst/>
            <a:rect l="l" t="t" r="r" b="b"/>
            <a:pathLst>
              <a:path h="136398">
                <a:moveTo>
                  <a:pt x="0" y="0"/>
                </a:moveTo>
                <a:lnTo>
                  <a:pt x="0" y="13639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0" name="object 170"/>
          <p:cNvSpPr/>
          <p:nvPr/>
        </p:nvSpPr>
        <p:spPr>
          <a:xfrm>
            <a:off x="2103247" y="4128644"/>
            <a:ext cx="0" cy="136398"/>
          </a:xfrm>
          <a:custGeom>
            <a:avLst/>
            <a:gdLst/>
            <a:ahLst/>
            <a:cxnLst/>
            <a:rect l="l" t="t" r="r" b="b"/>
            <a:pathLst>
              <a:path h="136398">
                <a:moveTo>
                  <a:pt x="0" y="0"/>
                </a:moveTo>
                <a:lnTo>
                  <a:pt x="0" y="13639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1" name="object 171"/>
          <p:cNvSpPr/>
          <p:nvPr/>
        </p:nvSpPr>
        <p:spPr>
          <a:xfrm>
            <a:off x="809358" y="4530129"/>
            <a:ext cx="1689100" cy="124166"/>
          </a:xfrm>
          <a:custGeom>
            <a:avLst/>
            <a:gdLst/>
            <a:ahLst/>
            <a:cxnLst/>
            <a:rect l="l" t="t" r="r" b="b"/>
            <a:pathLst>
              <a:path w="1689100" h="124166">
                <a:moveTo>
                  <a:pt x="0" y="124166"/>
                </a:moveTo>
                <a:lnTo>
                  <a:pt x="1689100" y="124166"/>
                </a:lnTo>
                <a:lnTo>
                  <a:pt x="1689100" y="0"/>
                </a:lnTo>
                <a:lnTo>
                  <a:pt x="0" y="0"/>
                </a:lnTo>
                <a:lnTo>
                  <a:pt x="0" y="124166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2" name="object 172"/>
          <p:cNvSpPr/>
          <p:nvPr/>
        </p:nvSpPr>
        <p:spPr>
          <a:xfrm>
            <a:off x="1308608" y="4531234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3" name="object 173"/>
          <p:cNvSpPr/>
          <p:nvPr/>
        </p:nvSpPr>
        <p:spPr>
          <a:xfrm>
            <a:off x="1606169" y="4531234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4" name="object 174"/>
          <p:cNvSpPr/>
          <p:nvPr/>
        </p:nvSpPr>
        <p:spPr>
          <a:xfrm>
            <a:off x="2101215" y="4531234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6" name="object 126"/>
          <p:cNvSpPr/>
          <p:nvPr/>
        </p:nvSpPr>
        <p:spPr>
          <a:xfrm>
            <a:off x="2846960" y="4472052"/>
            <a:ext cx="1863344" cy="456311"/>
          </a:xfrm>
          <a:custGeom>
            <a:avLst/>
            <a:gdLst/>
            <a:ahLst/>
            <a:cxnLst/>
            <a:rect l="l" t="t" r="r" b="b"/>
            <a:pathLst>
              <a:path w="1863344" h="456311">
                <a:moveTo>
                  <a:pt x="0" y="228092"/>
                </a:moveTo>
                <a:lnTo>
                  <a:pt x="12192" y="191091"/>
                </a:lnTo>
                <a:lnTo>
                  <a:pt x="47491" y="155992"/>
                </a:lnTo>
                <a:lnTo>
                  <a:pt x="103980" y="123265"/>
                </a:lnTo>
                <a:lnTo>
                  <a:pt x="139572" y="107937"/>
                </a:lnTo>
                <a:lnTo>
                  <a:pt x="179742" y="93378"/>
                </a:lnTo>
                <a:lnTo>
                  <a:pt x="224251" y="79647"/>
                </a:lnTo>
                <a:lnTo>
                  <a:pt x="272859" y="66802"/>
                </a:lnTo>
                <a:lnTo>
                  <a:pt x="325327" y="54901"/>
                </a:lnTo>
                <a:lnTo>
                  <a:pt x="381414" y="44004"/>
                </a:lnTo>
                <a:lnTo>
                  <a:pt x="440882" y="34170"/>
                </a:lnTo>
                <a:lnTo>
                  <a:pt x="503490" y="25456"/>
                </a:lnTo>
                <a:lnTo>
                  <a:pt x="568999" y="17922"/>
                </a:lnTo>
                <a:lnTo>
                  <a:pt x="637170" y="11627"/>
                </a:lnTo>
                <a:lnTo>
                  <a:pt x="707762" y="6628"/>
                </a:lnTo>
                <a:lnTo>
                  <a:pt x="780536" y="2985"/>
                </a:lnTo>
                <a:lnTo>
                  <a:pt x="855252" y="756"/>
                </a:lnTo>
                <a:lnTo>
                  <a:pt x="931671" y="0"/>
                </a:lnTo>
                <a:lnTo>
                  <a:pt x="1008091" y="756"/>
                </a:lnTo>
                <a:lnTo>
                  <a:pt x="1082807" y="2985"/>
                </a:lnTo>
                <a:lnTo>
                  <a:pt x="1155581" y="6628"/>
                </a:lnTo>
                <a:lnTo>
                  <a:pt x="1226173" y="11627"/>
                </a:lnTo>
                <a:lnTo>
                  <a:pt x="1294344" y="17922"/>
                </a:lnTo>
                <a:lnTo>
                  <a:pt x="1359853" y="25456"/>
                </a:lnTo>
                <a:lnTo>
                  <a:pt x="1422461" y="34170"/>
                </a:lnTo>
                <a:lnTo>
                  <a:pt x="1481929" y="44004"/>
                </a:lnTo>
                <a:lnTo>
                  <a:pt x="1538016" y="54901"/>
                </a:lnTo>
                <a:lnTo>
                  <a:pt x="1590484" y="66802"/>
                </a:lnTo>
                <a:lnTo>
                  <a:pt x="1639092" y="79647"/>
                </a:lnTo>
                <a:lnTo>
                  <a:pt x="1683601" y="93378"/>
                </a:lnTo>
                <a:lnTo>
                  <a:pt x="1723771" y="107937"/>
                </a:lnTo>
                <a:lnTo>
                  <a:pt x="1759363" y="123265"/>
                </a:lnTo>
                <a:lnTo>
                  <a:pt x="1790136" y="139303"/>
                </a:lnTo>
                <a:lnTo>
                  <a:pt x="1836270" y="173274"/>
                </a:lnTo>
                <a:lnTo>
                  <a:pt x="1860255" y="209383"/>
                </a:lnTo>
                <a:lnTo>
                  <a:pt x="1863344" y="228092"/>
                </a:lnTo>
                <a:lnTo>
                  <a:pt x="1860255" y="246818"/>
                </a:lnTo>
                <a:lnTo>
                  <a:pt x="1851151" y="265127"/>
                </a:lnTo>
                <a:lnTo>
                  <a:pt x="1815852" y="300253"/>
                </a:lnTo>
                <a:lnTo>
                  <a:pt x="1790136" y="316954"/>
                </a:lnTo>
                <a:lnTo>
                  <a:pt x="1759363" y="333002"/>
                </a:lnTo>
                <a:lnTo>
                  <a:pt x="1723771" y="348338"/>
                </a:lnTo>
                <a:lnTo>
                  <a:pt x="1683601" y="362905"/>
                </a:lnTo>
                <a:lnTo>
                  <a:pt x="1639092" y="376642"/>
                </a:lnTo>
                <a:lnTo>
                  <a:pt x="1590484" y="389493"/>
                </a:lnTo>
                <a:lnTo>
                  <a:pt x="1538016" y="401397"/>
                </a:lnTo>
                <a:lnTo>
                  <a:pt x="1481929" y="412297"/>
                </a:lnTo>
                <a:lnTo>
                  <a:pt x="1422461" y="422135"/>
                </a:lnTo>
                <a:lnTo>
                  <a:pt x="1359853" y="430850"/>
                </a:lnTo>
                <a:lnTo>
                  <a:pt x="1294344" y="438386"/>
                </a:lnTo>
                <a:lnTo>
                  <a:pt x="1226173" y="444682"/>
                </a:lnTo>
                <a:lnTo>
                  <a:pt x="1155581" y="449682"/>
                </a:lnTo>
                <a:lnTo>
                  <a:pt x="1082807" y="453325"/>
                </a:lnTo>
                <a:lnTo>
                  <a:pt x="1008091" y="455554"/>
                </a:lnTo>
                <a:lnTo>
                  <a:pt x="931671" y="456311"/>
                </a:lnTo>
                <a:lnTo>
                  <a:pt x="855252" y="455554"/>
                </a:lnTo>
                <a:lnTo>
                  <a:pt x="780536" y="453325"/>
                </a:lnTo>
                <a:lnTo>
                  <a:pt x="707762" y="449682"/>
                </a:lnTo>
                <a:lnTo>
                  <a:pt x="637170" y="444682"/>
                </a:lnTo>
                <a:lnTo>
                  <a:pt x="568999" y="438386"/>
                </a:lnTo>
                <a:lnTo>
                  <a:pt x="503490" y="430850"/>
                </a:lnTo>
                <a:lnTo>
                  <a:pt x="440882" y="422135"/>
                </a:lnTo>
                <a:lnTo>
                  <a:pt x="381414" y="412297"/>
                </a:lnTo>
                <a:lnTo>
                  <a:pt x="325327" y="401397"/>
                </a:lnTo>
                <a:lnTo>
                  <a:pt x="272859" y="389493"/>
                </a:lnTo>
                <a:lnTo>
                  <a:pt x="224251" y="376642"/>
                </a:lnTo>
                <a:lnTo>
                  <a:pt x="179742" y="362905"/>
                </a:lnTo>
                <a:lnTo>
                  <a:pt x="139572" y="348338"/>
                </a:lnTo>
                <a:lnTo>
                  <a:pt x="103980" y="333002"/>
                </a:lnTo>
                <a:lnTo>
                  <a:pt x="73207" y="316954"/>
                </a:lnTo>
                <a:lnTo>
                  <a:pt x="47491" y="300253"/>
                </a:lnTo>
                <a:lnTo>
                  <a:pt x="27073" y="282958"/>
                </a:lnTo>
                <a:lnTo>
                  <a:pt x="3088" y="246818"/>
                </a:lnTo>
                <a:lnTo>
                  <a:pt x="0" y="22809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7" name="object 127"/>
          <p:cNvSpPr/>
          <p:nvPr/>
        </p:nvSpPr>
        <p:spPr>
          <a:xfrm>
            <a:off x="2829942" y="3760597"/>
            <a:ext cx="1869695" cy="922782"/>
          </a:xfrm>
          <a:custGeom>
            <a:avLst/>
            <a:gdLst/>
            <a:ahLst/>
            <a:cxnLst/>
            <a:rect l="l" t="t" r="r" b="b"/>
            <a:pathLst>
              <a:path w="1869694" h="922781">
                <a:moveTo>
                  <a:pt x="0" y="0"/>
                </a:moveTo>
                <a:lnTo>
                  <a:pt x="0" y="922782"/>
                </a:lnTo>
                <a:lnTo>
                  <a:pt x="1869694" y="922782"/>
                </a:lnTo>
                <a:lnTo>
                  <a:pt x="186969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8" name="object 128"/>
          <p:cNvSpPr/>
          <p:nvPr/>
        </p:nvSpPr>
        <p:spPr>
          <a:xfrm>
            <a:off x="2821432" y="3756026"/>
            <a:ext cx="0" cy="937513"/>
          </a:xfrm>
          <a:custGeom>
            <a:avLst/>
            <a:gdLst/>
            <a:ahLst/>
            <a:cxnLst/>
            <a:rect l="l" t="t" r="r" b="b"/>
            <a:pathLst>
              <a:path h="937513">
                <a:moveTo>
                  <a:pt x="0" y="0"/>
                </a:moveTo>
                <a:lnTo>
                  <a:pt x="0" y="93751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9" name="object 129"/>
          <p:cNvSpPr/>
          <p:nvPr/>
        </p:nvSpPr>
        <p:spPr>
          <a:xfrm>
            <a:off x="4703953" y="3756026"/>
            <a:ext cx="0" cy="937513"/>
          </a:xfrm>
          <a:custGeom>
            <a:avLst/>
            <a:gdLst/>
            <a:ahLst/>
            <a:cxnLst/>
            <a:rect l="l" t="t" r="r" b="b"/>
            <a:pathLst>
              <a:path h="937513">
                <a:moveTo>
                  <a:pt x="0" y="0"/>
                </a:moveTo>
                <a:lnTo>
                  <a:pt x="0" y="93751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0" name="object 130"/>
          <p:cNvSpPr/>
          <p:nvPr/>
        </p:nvSpPr>
        <p:spPr>
          <a:xfrm>
            <a:off x="2776728" y="3506724"/>
            <a:ext cx="1964436" cy="550163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1" name="object 131"/>
          <p:cNvSpPr/>
          <p:nvPr/>
        </p:nvSpPr>
        <p:spPr>
          <a:xfrm>
            <a:off x="2823591" y="3533521"/>
            <a:ext cx="1869695" cy="456310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2" name="object 132"/>
          <p:cNvSpPr/>
          <p:nvPr/>
        </p:nvSpPr>
        <p:spPr>
          <a:xfrm>
            <a:off x="2823591" y="3533521"/>
            <a:ext cx="1869695" cy="456310"/>
          </a:xfrm>
          <a:custGeom>
            <a:avLst/>
            <a:gdLst/>
            <a:ahLst/>
            <a:cxnLst/>
            <a:rect l="l" t="t" r="r" b="b"/>
            <a:pathLst>
              <a:path w="1869694" h="456310">
                <a:moveTo>
                  <a:pt x="0" y="228091"/>
                </a:moveTo>
                <a:lnTo>
                  <a:pt x="12236" y="191091"/>
                </a:lnTo>
                <a:lnTo>
                  <a:pt x="47663" y="155992"/>
                </a:lnTo>
                <a:lnTo>
                  <a:pt x="104354" y="123265"/>
                </a:lnTo>
                <a:lnTo>
                  <a:pt x="140072" y="107937"/>
                </a:lnTo>
                <a:lnTo>
                  <a:pt x="180384" y="93378"/>
                </a:lnTo>
                <a:lnTo>
                  <a:pt x="225049" y="79647"/>
                </a:lnTo>
                <a:lnTo>
                  <a:pt x="273827" y="66802"/>
                </a:lnTo>
                <a:lnTo>
                  <a:pt x="326477" y="54901"/>
                </a:lnTo>
                <a:lnTo>
                  <a:pt x="382758" y="44004"/>
                </a:lnTo>
                <a:lnTo>
                  <a:pt x="442430" y="34170"/>
                </a:lnTo>
                <a:lnTo>
                  <a:pt x="505251" y="25456"/>
                </a:lnTo>
                <a:lnTo>
                  <a:pt x="570982" y="17922"/>
                </a:lnTo>
                <a:lnTo>
                  <a:pt x="639380" y="11627"/>
                </a:lnTo>
                <a:lnTo>
                  <a:pt x="710207" y="6628"/>
                </a:lnTo>
                <a:lnTo>
                  <a:pt x="783221" y="2985"/>
                </a:lnTo>
                <a:lnTo>
                  <a:pt x="858181" y="756"/>
                </a:lnTo>
                <a:lnTo>
                  <a:pt x="934846" y="0"/>
                </a:lnTo>
                <a:lnTo>
                  <a:pt x="1011529" y="756"/>
                </a:lnTo>
                <a:lnTo>
                  <a:pt x="1086503" y="2985"/>
                </a:lnTo>
                <a:lnTo>
                  <a:pt x="1159527" y="6628"/>
                </a:lnTo>
                <a:lnTo>
                  <a:pt x="1230361" y="11627"/>
                </a:lnTo>
                <a:lnTo>
                  <a:pt x="1298765" y="17922"/>
                </a:lnTo>
                <a:lnTo>
                  <a:pt x="1364498" y="25456"/>
                </a:lnTo>
                <a:lnTo>
                  <a:pt x="1427320" y="34170"/>
                </a:lnTo>
                <a:lnTo>
                  <a:pt x="1486990" y="44004"/>
                </a:lnTo>
                <a:lnTo>
                  <a:pt x="1543268" y="54901"/>
                </a:lnTo>
                <a:lnTo>
                  <a:pt x="1595913" y="66802"/>
                </a:lnTo>
                <a:lnTo>
                  <a:pt x="1644686" y="79647"/>
                </a:lnTo>
                <a:lnTo>
                  <a:pt x="1689345" y="93378"/>
                </a:lnTo>
                <a:lnTo>
                  <a:pt x="1729651" y="107937"/>
                </a:lnTo>
                <a:lnTo>
                  <a:pt x="1765363" y="123265"/>
                </a:lnTo>
                <a:lnTo>
                  <a:pt x="1796240" y="139303"/>
                </a:lnTo>
                <a:lnTo>
                  <a:pt x="1842529" y="173274"/>
                </a:lnTo>
                <a:lnTo>
                  <a:pt x="1866595" y="209383"/>
                </a:lnTo>
                <a:lnTo>
                  <a:pt x="1869694" y="228091"/>
                </a:lnTo>
                <a:lnTo>
                  <a:pt x="1866595" y="246927"/>
                </a:lnTo>
                <a:lnTo>
                  <a:pt x="1857460" y="265219"/>
                </a:lnTo>
                <a:lnTo>
                  <a:pt x="1822042" y="300318"/>
                </a:lnTo>
                <a:lnTo>
                  <a:pt x="1765363" y="333045"/>
                </a:lnTo>
                <a:lnTo>
                  <a:pt x="1729651" y="348373"/>
                </a:lnTo>
                <a:lnTo>
                  <a:pt x="1689345" y="362932"/>
                </a:lnTo>
                <a:lnTo>
                  <a:pt x="1644686" y="376663"/>
                </a:lnTo>
                <a:lnTo>
                  <a:pt x="1595913" y="389509"/>
                </a:lnTo>
                <a:lnTo>
                  <a:pt x="1543268" y="401409"/>
                </a:lnTo>
                <a:lnTo>
                  <a:pt x="1486990" y="412306"/>
                </a:lnTo>
                <a:lnTo>
                  <a:pt x="1427320" y="422140"/>
                </a:lnTo>
                <a:lnTo>
                  <a:pt x="1364498" y="430854"/>
                </a:lnTo>
                <a:lnTo>
                  <a:pt x="1298765" y="438388"/>
                </a:lnTo>
                <a:lnTo>
                  <a:pt x="1230361" y="444683"/>
                </a:lnTo>
                <a:lnTo>
                  <a:pt x="1159527" y="449682"/>
                </a:lnTo>
                <a:lnTo>
                  <a:pt x="1086503" y="453325"/>
                </a:lnTo>
                <a:lnTo>
                  <a:pt x="1011529" y="455554"/>
                </a:lnTo>
                <a:lnTo>
                  <a:pt x="934846" y="456310"/>
                </a:lnTo>
                <a:lnTo>
                  <a:pt x="858181" y="455554"/>
                </a:lnTo>
                <a:lnTo>
                  <a:pt x="783221" y="453325"/>
                </a:lnTo>
                <a:lnTo>
                  <a:pt x="710207" y="449682"/>
                </a:lnTo>
                <a:lnTo>
                  <a:pt x="639380" y="444683"/>
                </a:lnTo>
                <a:lnTo>
                  <a:pt x="570982" y="438388"/>
                </a:lnTo>
                <a:lnTo>
                  <a:pt x="505251" y="430854"/>
                </a:lnTo>
                <a:lnTo>
                  <a:pt x="442430" y="422140"/>
                </a:lnTo>
                <a:lnTo>
                  <a:pt x="382758" y="412306"/>
                </a:lnTo>
                <a:lnTo>
                  <a:pt x="326477" y="401409"/>
                </a:lnTo>
                <a:lnTo>
                  <a:pt x="273827" y="389509"/>
                </a:lnTo>
                <a:lnTo>
                  <a:pt x="225049" y="376663"/>
                </a:lnTo>
                <a:lnTo>
                  <a:pt x="180384" y="362932"/>
                </a:lnTo>
                <a:lnTo>
                  <a:pt x="140072" y="348373"/>
                </a:lnTo>
                <a:lnTo>
                  <a:pt x="104354" y="333045"/>
                </a:lnTo>
                <a:lnTo>
                  <a:pt x="73471" y="317007"/>
                </a:lnTo>
                <a:lnTo>
                  <a:pt x="47663" y="300318"/>
                </a:lnTo>
                <a:lnTo>
                  <a:pt x="27171" y="283036"/>
                </a:lnTo>
                <a:lnTo>
                  <a:pt x="3099" y="246927"/>
                </a:lnTo>
                <a:lnTo>
                  <a:pt x="0" y="228218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3" name="object 133"/>
          <p:cNvSpPr/>
          <p:nvPr/>
        </p:nvSpPr>
        <p:spPr>
          <a:xfrm>
            <a:off x="3722370" y="3145283"/>
            <a:ext cx="0" cy="492251"/>
          </a:xfrm>
          <a:custGeom>
            <a:avLst/>
            <a:gdLst/>
            <a:ahLst/>
            <a:cxnLst/>
            <a:rect l="l" t="t" r="r" b="b"/>
            <a:pathLst>
              <a:path h="492251">
                <a:moveTo>
                  <a:pt x="0" y="492251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4" name="object 134"/>
          <p:cNvSpPr/>
          <p:nvPr/>
        </p:nvSpPr>
        <p:spPr>
          <a:xfrm>
            <a:off x="3183637" y="3032761"/>
            <a:ext cx="1155191" cy="403860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5" name="object 135"/>
          <p:cNvSpPr/>
          <p:nvPr/>
        </p:nvSpPr>
        <p:spPr>
          <a:xfrm>
            <a:off x="3364993" y="3029711"/>
            <a:ext cx="832103" cy="35204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6" name="object 136"/>
          <p:cNvSpPr/>
          <p:nvPr/>
        </p:nvSpPr>
        <p:spPr>
          <a:xfrm>
            <a:off x="3231516" y="3060319"/>
            <a:ext cx="1060221" cy="308737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7" name="object 137"/>
          <p:cNvSpPr/>
          <p:nvPr/>
        </p:nvSpPr>
        <p:spPr>
          <a:xfrm>
            <a:off x="3231516" y="3060319"/>
            <a:ext cx="1060221" cy="308737"/>
          </a:xfrm>
          <a:custGeom>
            <a:avLst/>
            <a:gdLst/>
            <a:ahLst/>
            <a:cxnLst/>
            <a:rect l="l" t="t" r="r" b="b"/>
            <a:pathLst>
              <a:path w="1060221" h="308737">
                <a:moveTo>
                  <a:pt x="0" y="308737"/>
                </a:moveTo>
                <a:lnTo>
                  <a:pt x="1060221" y="308737"/>
                </a:lnTo>
                <a:lnTo>
                  <a:pt x="1060221" y="0"/>
                </a:lnTo>
                <a:lnTo>
                  <a:pt x="0" y="0"/>
                </a:lnTo>
                <a:lnTo>
                  <a:pt x="0" y="3087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8" name="object 118"/>
          <p:cNvSpPr txBox="1"/>
          <p:nvPr/>
        </p:nvSpPr>
        <p:spPr>
          <a:xfrm>
            <a:off x="1186384" y="1323475"/>
            <a:ext cx="497747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-4" dirty="0" smtClean="0">
                <a:latin typeface="+mj-lt"/>
                <a:cs typeface="Cambria"/>
              </a:rPr>
              <a:t>O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der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17" name="object 117"/>
          <p:cNvSpPr txBox="1"/>
          <p:nvPr/>
        </p:nvSpPr>
        <p:spPr>
          <a:xfrm>
            <a:off x="5646548" y="3109984"/>
            <a:ext cx="545650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AMP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3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16" name="object 116"/>
          <p:cNvSpPr txBox="1"/>
          <p:nvPr/>
        </p:nvSpPr>
        <p:spPr>
          <a:xfrm>
            <a:off x="7752334" y="3120017"/>
            <a:ext cx="545650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AMP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4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15" name="object 115"/>
          <p:cNvSpPr txBox="1"/>
          <p:nvPr/>
        </p:nvSpPr>
        <p:spPr>
          <a:xfrm>
            <a:off x="1377444" y="3124208"/>
            <a:ext cx="545650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AMP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1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14" name="object 114"/>
          <p:cNvSpPr txBox="1"/>
          <p:nvPr/>
        </p:nvSpPr>
        <p:spPr>
          <a:xfrm>
            <a:off x="3502534" y="3122176"/>
            <a:ext cx="545650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AMP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2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13" name="object 113"/>
          <p:cNvSpPr txBox="1"/>
          <p:nvPr/>
        </p:nvSpPr>
        <p:spPr>
          <a:xfrm>
            <a:off x="867564" y="4030734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402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12" name="object 112"/>
          <p:cNvSpPr txBox="1"/>
          <p:nvPr/>
        </p:nvSpPr>
        <p:spPr>
          <a:xfrm>
            <a:off x="1369314" y="4036196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3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11" name="object 111"/>
          <p:cNvSpPr txBox="1"/>
          <p:nvPr/>
        </p:nvSpPr>
        <p:spPr>
          <a:xfrm>
            <a:off x="1656081" y="4035059"/>
            <a:ext cx="435927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4</a:t>
            </a:r>
            <a:r>
              <a:rPr sz="1400" spc="-4" dirty="0" smtClean="0">
                <a:latin typeface="+mj-lt"/>
                <a:cs typeface="Cambria"/>
              </a:rPr>
              <a:t>/</a:t>
            </a:r>
            <a:r>
              <a:rPr sz="1400" spc="0" dirty="0" smtClean="0">
                <a:latin typeface="+mj-lt"/>
                <a:cs typeface="Cambria"/>
              </a:rPr>
              <a:t>16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10" name="object 110"/>
          <p:cNvSpPr txBox="1"/>
          <p:nvPr/>
        </p:nvSpPr>
        <p:spPr>
          <a:xfrm>
            <a:off x="2165985" y="4036196"/>
            <a:ext cx="152444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09" name="object 109"/>
          <p:cNvSpPr txBox="1"/>
          <p:nvPr/>
        </p:nvSpPr>
        <p:spPr>
          <a:xfrm>
            <a:off x="5117720" y="4135890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103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08" name="object 108"/>
          <p:cNvSpPr txBox="1"/>
          <p:nvPr/>
        </p:nvSpPr>
        <p:spPr>
          <a:xfrm>
            <a:off x="5619115" y="4142621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1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07" name="object 107"/>
          <p:cNvSpPr txBox="1"/>
          <p:nvPr/>
        </p:nvSpPr>
        <p:spPr>
          <a:xfrm>
            <a:off x="5906263" y="4140215"/>
            <a:ext cx="435927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4</a:t>
            </a:r>
            <a:r>
              <a:rPr sz="1400" spc="-4" dirty="0" smtClean="0">
                <a:latin typeface="+mj-lt"/>
                <a:cs typeface="Cambria"/>
              </a:rPr>
              <a:t>/</a:t>
            </a:r>
            <a:r>
              <a:rPr sz="1400" spc="0" dirty="0" smtClean="0">
                <a:latin typeface="+mj-lt"/>
                <a:cs typeface="Cambria"/>
              </a:rPr>
              <a:t>10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06" name="object 106"/>
          <p:cNvSpPr txBox="1"/>
          <p:nvPr/>
        </p:nvSpPr>
        <p:spPr>
          <a:xfrm>
            <a:off x="6416167" y="4142621"/>
            <a:ext cx="168639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O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05" name="object 105"/>
          <p:cNvSpPr txBox="1"/>
          <p:nvPr/>
        </p:nvSpPr>
        <p:spPr>
          <a:xfrm>
            <a:off x="869698" y="4176150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202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04" name="object 104"/>
          <p:cNvSpPr txBox="1"/>
          <p:nvPr/>
        </p:nvSpPr>
        <p:spPr>
          <a:xfrm>
            <a:off x="1369314" y="4184024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2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03" name="object 103"/>
          <p:cNvSpPr txBox="1"/>
          <p:nvPr/>
        </p:nvSpPr>
        <p:spPr>
          <a:xfrm>
            <a:off x="1658240" y="4181611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4/09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2168144" y="4184024"/>
            <a:ext cx="152444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5136898" y="4276733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324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00" name="object 100"/>
          <p:cNvSpPr txBox="1"/>
          <p:nvPr/>
        </p:nvSpPr>
        <p:spPr>
          <a:xfrm>
            <a:off x="5638292" y="4282448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3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9" name="object 99"/>
          <p:cNvSpPr txBox="1"/>
          <p:nvPr/>
        </p:nvSpPr>
        <p:spPr>
          <a:xfrm>
            <a:off x="5925058" y="4282448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4/13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8" name="object 98"/>
          <p:cNvSpPr txBox="1"/>
          <p:nvPr/>
        </p:nvSpPr>
        <p:spPr>
          <a:xfrm>
            <a:off x="6435345" y="4282448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0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7" name="object 97"/>
          <p:cNvSpPr txBox="1"/>
          <p:nvPr/>
        </p:nvSpPr>
        <p:spPr>
          <a:xfrm>
            <a:off x="867563" y="4316999"/>
            <a:ext cx="448225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225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6" name="object 96"/>
          <p:cNvSpPr txBox="1"/>
          <p:nvPr/>
        </p:nvSpPr>
        <p:spPr>
          <a:xfrm>
            <a:off x="1367156" y="4323730"/>
            <a:ext cx="151091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2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5" name="object 95"/>
          <p:cNvSpPr txBox="1"/>
          <p:nvPr/>
        </p:nvSpPr>
        <p:spPr>
          <a:xfrm>
            <a:off x="1656081" y="4321564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4/15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4" name="object 94"/>
          <p:cNvSpPr txBox="1"/>
          <p:nvPr/>
        </p:nvSpPr>
        <p:spPr>
          <a:xfrm>
            <a:off x="2165986" y="4323730"/>
            <a:ext cx="152660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3" name="object 93"/>
          <p:cNvSpPr txBox="1"/>
          <p:nvPr/>
        </p:nvSpPr>
        <p:spPr>
          <a:xfrm>
            <a:off x="5149724" y="4425705"/>
            <a:ext cx="1449781" cy="2092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95"/>
              </a:lnSpc>
              <a:spcBef>
                <a:spcPts val="79"/>
              </a:spcBef>
            </a:pPr>
            <a:r>
              <a:rPr sz="2100" spc="0" baseline="2030" dirty="0" smtClean="0">
                <a:latin typeface="+mj-lt"/>
                <a:cs typeface="Cambria"/>
              </a:rPr>
              <a:t>7325 </a:t>
            </a:r>
            <a:r>
              <a:rPr sz="2100" spc="217" baseline="2030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2   </a:t>
            </a:r>
            <a:r>
              <a:rPr sz="1400" spc="247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4/13  </a:t>
            </a:r>
            <a:r>
              <a:rPr sz="1400" spc="6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0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2" name="object 92"/>
          <p:cNvSpPr txBox="1"/>
          <p:nvPr/>
        </p:nvSpPr>
        <p:spPr>
          <a:xfrm>
            <a:off x="869698" y="4450088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415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1" name="object 91"/>
          <p:cNvSpPr txBox="1"/>
          <p:nvPr/>
        </p:nvSpPr>
        <p:spPr>
          <a:xfrm>
            <a:off x="1371346" y="4455931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1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0" name="object 90"/>
          <p:cNvSpPr txBox="1"/>
          <p:nvPr/>
        </p:nvSpPr>
        <p:spPr>
          <a:xfrm>
            <a:off x="1658240" y="4455931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4/13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9" name="object 89"/>
          <p:cNvSpPr txBox="1"/>
          <p:nvPr/>
        </p:nvSpPr>
        <p:spPr>
          <a:xfrm>
            <a:off x="2168144" y="4455931"/>
            <a:ext cx="152444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8" name="object 88"/>
          <p:cNvSpPr txBox="1"/>
          <p:nvPr/>
        </p:nvSpPr>
        <p:spPr>
          <a:xfrm>
            <a:off x="867563" y="4578873"/>
            <a:ext cx="448225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188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7" name="object 87"/>
          <p:cNvSpPr txBox="1"/>
          <p:nvPr/>
        </p:nvSpPr>
        <p:spPr>
          <a:xfrm>
            <a:off x="1369315" y="4585477"/>
            <a:ext cx="151091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1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6" name="object 86"/>
          <p:cNvSpPr txBox="1"/>
          <p:nvPr/>
        </p:nvSpPr>
        <p:spPr>
          <a:xfrm>
            <a:off x="1656081" y="4583312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4/13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2165986" y="4585477"/>
            <a:ext cx="152660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867564" y="4708661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384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1369314" y="4714375"/>
            <a:ext cx="722842" cy="20586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65"/>
              </a:lnSpc>
              <a:spcBef>
                <a:spcPts val="78"/>
              </a:spcBef>
            </a:pPr>
            <a:r>
              <a:rPr sz="1400" spc="0" dirty="0" smtClean="0">
                <a:latin typeface="+mj-lt"/>
                <a:cs typeface="Cambria"/>
              </a:rPr>
              <a:t>1   </a:t>
            </a:r>
            <a:r>
              <a:rPr sz="1400" spc="247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4/12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2" name="object 82"/>
          <p:cNvSpPr txBox="1"/>
          <p:nvPr/>
        </p:nvSpPr>
        <p:spPr>
          <a:xfrm>
            <a:off x="2165985" y="4716535"/>
            <a:ext cx="152444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1" name="object 81"/>
          <p:cNvSpPr txBox="1"/>
          <p:nvPr/>
        </p:nvSpPr>
        <p:spPr>
          <a:xfrm>
            <a:off x="667005" y="5165828"/>
            <a:ext cx="133811" cy="12095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0"/>
              </a:lnSpc>
              <a:spcBef>
                <a:spcPts val="76"/>
              </a:spcBef>
            </a:pPr>
            <a:r>
              <a:rPr sz="1400" spc="0" dirty="0" smtClean="0">
                <a:solidFill>
                  <a:srgbClr val="AC2B37"/>
                </a:solidFill>
                <a:latin typeface="Wingdings"/>
                <a:cs typeface="Wingdings"/>
              </a:rPr>
              <a:t></a:t>
            </a:r>
            <a:endParaRPr sz="1400">
              <a:latin typeface="Wingdings"/>
              <a:cs typeface="Wingdings"/>
            </a:endParaRPr>
          </a:p>
          <a:p>
            <a:pPr marL="12700">
              <a:lnSpc>
                <a:spcPct val="92488"/>
              </a:lnSpc>
              <a:spcBef>
                <a:spcPts val="348"/>
              </a:spcBef>
            </a:pPr>
            <a:r>
              <a:rPr sz="1400" spc="0" dirty="0" smtClean="0">
                <a:solidFill>
                  <a:srgbClr val="AC2B37"/>
                </a:solidFill>
                <a:latin typeface="Wingdings"/>
                <a:cs typeface="Wingdings"/>
              </a:rPr>
              <a:t></a:t>
            </a:r>
            <a:endParaRPr sz="1400">
              <a:latin typeface="Wingdings"/>
              <a:cs typeface="Wingdings"/>
            </a:endParaRPr>
          </a:p>
          <a:p>
            <a:pPr marL="12700">
              <a:lnSpc>
                <a:spcPct val="92488"/>
              </a:lnSpc>
              <a:spcBef>
                <a:spcPts val="425"/>
              </a:spcBef>
            </a:pPr>
            <a:r>
              <a:rPr sz="1400" spc="0" dirty="0" smtClean="0">
                <a:solidFill>
                  <a:srgbClr val="AC2B37"/>
                </a:solidFill>
                <a:latin typeface="Wingdings"/>
                <a:cs typeface="Wingdings"/>
              </a:rPr>
              <a:t></a:t>
            </a:r>
            <a:endParaRPr sz="1400">
              <a:latin typeface="Wingdings"/>
              <a:cs typeface="Wingdings"/>
            </a:endParaRPr>
          </a:p>
          <a:p>
            <a:pPr marL="12700">
              <a:lnSpc>
                <a:spcPct val="92488"/>
              </a:lnSpc>
              <a:spcBef>
                <a:spcPts val="425"/>
              </a:spcBef>
            </a:pPr>
            <a:r>
              <a:rPr sz="1400" spc="0" dirty="0" smtClean="0">
                <a:solidFill>
                  <a:srgbClr val="AC2B37"/>
                </a:solidFill>
                <a:latin typeface="Wingdings"/>
                <a:cs typeface="Wingdings"/>
              </a:rPr>
              <a:t></a:t>
            </a:r>
            <a:endParaRPr sz="1400">
              <a:latin typeface="Wingdings"/>
              <a:cs typeface="Wingdings"/>
            </a:endParaRPr>
          </a:p>
          <a:p>
            <a:pPr marL="12700">
              <a:lnSpc>
                <a:spcPct val="92488"/>
              </a:lnSpc>
              <a:spcBef>
                <a:spcPts val="425"/>
              </a:spcBef>
            </a:pPr>
            <a:r>
              <a:rPr sz="1400" spc="0" dirty="0" smtClean="0">
                <a:solidFill>
                  <a:srgbClr val="AC2B37"/>
                </a:solidFill>
                <a:latin typeface="Wingdings"/>
                <a:cs typeface="Wingdings"/>
              </a:rPr>
              <a:t></a:t>
            </a:r>
            <a:endParaRPr sz="1400">
              <a:latin typeface="Wingdings"/>
              <a:cs typeface="Wingdings"/>
            </a:endParaRPr>
          </a:p>
        </p:txBody>
      </p:sp>
      <p:sp>
        <p:nvSpPr>
          <p:cNvPr id="80" name="object 80"/>
          <p:cNvSpPr txBox="1"/>
          <p:nvPr/>
        </p:nvSpPr>
        <p:spPr>
          <a:xfrm>
            <a:off x="847140" y="5165828"/>
            <a:ext cx="5635259" cy="12095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200" spc="-79" dirty="0" smtClean="0">
                <a:latin typeface="+mj-lt"/>
                <a:cs typeface="Cambria"/>
              </a:rPr>
              <a:t>V</a:t>
            </a:r>
            <a:r>
              <a:rPr sz="1200" spc="0" dirty="0" smtClean="0">
                <a:latin typeface="+mj-lt"/>
                <a:cs typeface="Cambria"/>
              </a:rPr>
              <a:t>al</a:t>
            </a:r>
            <a:r>
              <a:rPr sz="1200" spc="4" dirty="0" smtClean="0">
                <a:latin typeface="+mj-lt"/>
                <a:cs typeface="Cambria"/>
              </a:rPr>
              <a:t>u</a:t>
            </a:r>
            <a:r>
              <a:rPr sz="1200" spc="0" dirty="0" smtClean="0">
                <a:latin typeface="+mj-lt"/>
                <a:cs typeface="Cambria"/>
              </a:rPr>
              <a:t>es</a:t>
            </a:r>
            <a:r>
              <a:rPr sz="1200" spc="-25" dirty="0" smtClean="0">
                <a:latin typeface="+mj-lt"/>
                <a:cs typeface="Cambria"/>
              </a:rPr>
              <a:t> </a:t>
            </a:r>
            <a:r>
              <a:rPr sz="1200" spc="-14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or </a:t>
            </a:r>
            <a:r>
              <a:rPr sz="1200" spc="-4" dirty="0" smtClean="0">
                <a:latin typeface="+mj-lt"/>
                <a:cs typeface="Cambria"/>
              </a:rPr>
              <a:t>O</a:t>
            </a:r>
            <a:r>
              <a:rPr sz="1200" spc="-29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de</a:t>
            </a:r>
            <a:r>
              <a:rPr sz="1200" spc="-4" dirty="0" smtClean="0">
                <a:latin typeface="+mj-lt"/>
                <a:cs typeface="Cambria"/>
              </a:rPr>
              <a:t>r_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at</a:t>
            </a:r>
            <a:r>
              <a:rPr sz="1200" spc="4" dirty="0" smtClean="0">
                <a:latin typeface="+mj-lt"/>
                <a:cs typeface="Cambria"/>
              </a:rPr>
              <a:t>u</a:t>
            </a:r>
            <a:r>
              <a:rPr sz="1200" spc="0" dirty="0" smtClean="0">
                <a:latin typeface="+mj-lt"/>
                <a:cs typeface="Cambria"/>
              </a:rPr>
              <a:t>s a</a:t>
            </a:r>
            <a:r>
              <a:rPr sz="1200" spc="-29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14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hi</a:t>
            </a:r>
            <a:r>
              <a:rPr sz="1200" spc="-9" dirty="0" smtClean="0">
                <a:latin typeface="+mj-lt"/>
                <a:cs typeface="Cambria"/>
              </a:rPr>
              <a:t>g</a:t>
            </a:r>
            <a:r>
              <a:rPr sz="1200" spc="4" dirty="0" smtClean="0">
                <a:latin typeface="+mj-lt"/>
                <a:cs typeface="Cambria"/>
              </a:rPr>
              <a:t>h</a:t>
            </a:r>
            <a:r>
              <a:rPr sz="1200" spc="-19" dirty="0" smtClean="0">
                <a:latin typeface="+mj-lt"/>
                <a:cs typeface="Cambria"/>
              </a:rPr>
              <a:t>l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-4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n</a:t>
            </a:r>
            <a:r>
              <a:rPr sz="1200" spc="-4" dirty="0" smtClean="0">
                <a:latin typeface="+mj-lt"/>
                <a:cs typeface="Cambria"/>
              </a:rPr>
              <a:t>o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-</a:t>
            </a:r>
            <a:r>
              <a:rPr sz="1200" spc="4" dirty="0" smtClean="0">
                <a:latin typeface="+mj-lt"/>
                <a:cs typeface="Cambria"/>
              </a:rPr>
              <a:t>u</a:t>
            </a:r>
            <a:r>
              <a:rPr sz="1200" spc="0" dirty="0" smtClean="0">
                <a:latin typeface="+mj-lt"/>
                <a:cs typeface="Cambria"/>
              </a:rPr>
              <a:t>niq</a:t>
            </a:r>
            <a:r>
              <a:rPr sz="1200" spc="4" dirty="0" smtClean="0">
                <a:latin typeface="+mj-lt"/>
                <a:cs typeface="Cambria"/>
              </a:rPr>
              <a:t>u</a:t>
            </a:r>
            <a:r>
              <a:rPr sz="1200" spc="0" dirty="0" smtClean="0">
                <a:latin typeface="+mj-lt"/>
                <a:cs typeface="Cambria"/>
              </a:rPr>
              <a:t>e,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-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d</a:t>
            </a:r>
            <a:r>
              <a:rPr sz="1200" spc="14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th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29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19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29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e, 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t</a:t>
            </a:r>
            <a:r>
              <a:rPr sz="1200" spc="307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 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UPI.</a:t>
            </a:r>
            <a:endParaRPr sz="1200" dirty="0">
              <a:latin typeface="+mj-lt"/>
              <a:cs typeface="Cambria"/>
            </a:endParaRPr>
          </a:p>
          <a:p>
            <a:pPr marL="12700" marR="226716">
              <a:lnSpc>
                <a:spcPts val="1641"/>
              </a:lnSpc>
              <a:spcBef>
                <a:spcPts val="257"/>
              </a:spcBef>
            </a:pPr>
            <a:r>
              <a:rPr sz="1200" spc="-4" dirty="0" smtClean="0">
                <a:latin typeface="+mj-lt"/>
                <a:cs typeface="Cambria"/>
              </a:rPr>
              <a:t>O</a:t>
            </a:r>
            <a:r>
              <a:rPr sz="1200" spc="0" dirty="0" smtClean="0">
                <a:latin typeface="+mj-lt"/>
                <a:cs typeface="Cambria"/>
              </a:rPr>
              <a:t>n</a:t>
            </a:r>
            <a:r>
              <a:rPr sz="1200" spc="-25" dirty="0" smtClean="0">
                <a:latin typeface="+mj-lt"/>
                <a:cs typeface="Cambria"/>
              </a:rPr>
              <a:t>l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-19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t</a:t>
            </a:r>
            <a:r>
              <a:rPr sz="1200" spc="-9" dirty="0" smtClean="0">
                <a:latin typeface="+mj-lt"/>
                <a:cs typeface="Cambria"/>
              </a:rPr>
              <a:t>w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19" dirty="0" smtClean="0">
                <a:latin typeface="+mj-lt"/>
                <a:cs typeface="Cambria"/>
              </a:rPr>
              <a:t> </a:t>
            </a:r>
            <a:r>
              <a:rPr sz="1200" spc="-25" dirty="0" smtClean="0">
                <a:latin typeface="+mj-lt"/>
                <a:cs typeface="Cambria"/>
              </a:rPr>
              <a:t>v</a:t>
            </a:r>
            <a:r>
              <a:rPr sz="1200" spc="0" dirty="0" smtClean="0">
                <a:latin typeface="+mj-lt"/>
                <a:cs typeface="Cambria"/>
              </a:rPr>
              <a:t>al</a:t>
            </a:r>
            <a:r>
              <a:rPr sz="1200" spc="4" dirty="0" smtClean="0">
                <a:latin typeface="+mj-lt"/>
                <a:cs typeface="Cambria"/>
              </a:rPr>
              <a:t>u</a:t>
            </a:r>
            <a:r>
              <a:rPr sz="1200" spc="0" dirty="0" smtClean="0">
                <a:latin typeface="+mj-lt"/>
                <a:cs typeface="Cambria"/>
              </a:rPr>
              <a:t>es</a:t>
            </a:r>
            <a:r>
              <a:rPr sz="1200" spc="-25" dirty="0" smtClean="0">
                <a:latin typeface="+mj-lt"/>
                <a:cs typeface="Cambria"/>
              </a:rPr>
              <a:t> </a:t>
            </a:r>
            <a:r>
              <a:rPr sz="1200" spc="-9" dirty="0" smtClean="0">
                <a:latin typeface="+mj-lt"/>
                <a:cs typeface="Cambria"/>
              </a:rPr>
              <a:t>e</a:t>
            </a:r>
            <a:r>
              <a:rPr sz="1200" spc="4" dirty="0" smtClean="0">
                <a:latin typeface="+mj-lt"/>
                <a:cs typeface="Cambria"/>
              </a:rPr>
              <a:t>xi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25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,</a:t>
            </a:r>
            <a:r>
              <a:rPr sz="1200" spc="-1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so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on</a:t>
            </a:r>
            <a:r>
              <a:rPr sz="1200" spc="-25" dirty="0" smtClean="0">
                <a:latin typeface="+mj-lt"/>
                <a:cs typeface="Cambria"/>
              </a:rPr>
              <a:t>l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-19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t</a:t>
            </a:r>
            <a:r>
              <a:rPr sz="1200" spc="-9" dirty="0" smtClean="0">
                <a:latin typeface="+mj-lt"/>
                <a:cs typeface="Cambria"/>
              </a:rPr>
              <a:t>w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1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M</a:t>
            </a:r>
            <a:r>
              <a:rPr sz="1200" spc="-19" dirty="0" smtClean="0">
                <a:latin typeface="+mj-lt"/>
                <a:cs typeface="Cambria"/>
              </a:rPr>
              <a:t>P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9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wi</a:t>
            </a:r>
            <a:r>
              <a:rPr sz="1200" spc="0" dirty="0" smtClean="0">
                <a:latin typeface="+mj-lt"/>
                <a:cs typeface="Cambria"/>
              </a:rPr>
              <a:t>ll</a:t>
            </a:r>
            <a:r>
              <a:rPr sz="1200" spc="-25" dirty="0" smtClean="0">
                <a:latin typeface="+mj-lt"/>
                <a:cs typeface="Cambria"/>
              </a:rPr>
              <a:t> </a:t>
            </a:r>
            <a:r>
              <a:rPr sz="1200" spc="-9" dirty="0" smtClean="0">
                <a:latin typeface="+mj-lt"/>
                <a:cs typeface="Cambria"/>
              </a:rPr>
              <a:t>e</a:t>
            </a:r>
            <a:r>
              <a:rPr sz="1200" spc="-25" dirty="0" smtClean="0">
                <a:latin typeface="+mj-lt"/>
                <a:cs typeface="Cambria"/>
              </a:rPr>
              <a:t>v</a:t>
            </a:r>
            <a:r>
              <a:rPr sz="1200" spc="0" dirty="0" smtClean="0">
                <a:latin typeface="+mj-lt"/>
                <a:cs typeface="Cambria"/>
              </a:rPr>
              <a:t>er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be</a:t>
            </a:r>
            <a:r>
              <a:rPr sz="1200" spc="4" dirty="0" smtClean="0">
                <a:latin typeface="+mj-lt"/>
                <a:cs typeface="Cambria"/>
              </a:rPr>
              <a:t> u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-4" dirty="0" smtClean="0">
                <a:latin typeface="+mj-lt"/>
                <a:cs typeface="Cambria"/>
              </a:rPr>
              <a:t>e</a:t>
            </a:r>
            <a:r>
              <a:rPr sz="1200" spc="0" dirty="0" smtClean="0">
                <a:latin typeface="+mj-lt"/>
                <a:cs typeface="Cambria"/>
              </a:rPr>
              <a:t>d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-14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or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thi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-25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able. </a:t>
            </a:r>
            <a:endParaRPr sz="1200" dirty="0">
              <a:latin typeface="+mj-lt"/>
              <a:cs typeface="Cambria"/>
            </a:endParaRPr>
          </a:p>
          <a:p>
            <a:pPr marL="12700" marR="226716">
              <a:lnSpc>
                <a:spcPts val="1641"/>
              </a:lnSpc>
              <a:spcBef>
                <a:spcPts val="338"/>
              </a:spcBef>
            </a:pPr>
            <a:r>
              <a:rPr sz="1200" spc="-4" dirty="0" smtClean="0">
                <a:latin typeface="+mj-lt"/>
                <a:cs typeface="Cambria"/>
              </a:rPr>
              <a:t>T</a:t>
            </a:r>
            <a:r>
              <a:rPr sz="1200" spc="4" dirty="0" smtClean="0">
                <a:latin typeface="+mj-lt"/>
                <a:cs typeface="Cambria"/>
              </a:rPr>
              <a:t>hi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-25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able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wi</a:t>
            </a:r>
            <a:r>
              <a:rPr sz="1200" spc="0" dirty="0" smtClean="0">
                <a:latin typeface="+mj-lt"/>
                <a:cs typeface="Cambria"/>
              </a:rPr>
              <a:t>ll</a:t>
            </a:r>
            <a:r>
              <a:rPr sz="1200" spc="-25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n</a:t>
            </a:r>
            <a:r>
              <a:rPr sz="1200" spc="-4" dirty="0" smtClean="0">
                <a:latin typeface="+mj-lt"/>
                <a:cs typeface="Cambria"/>
              </a:rPr>
              <a:t>o</a:t>
            </a:r>
            <a:r>
              <a:rPr sz="1200" spc="0" dirty="0" smtClean="0">
                <a:latin typeface="+mj-lt"/>
                <a:cs typeface="Cambria"/>
              </a:rPr>
              <a:t>t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per</a:t>
            </a:r>
            <a:r>
              <a:rPr sz="1200" spc="-19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m</a:t>
            </a:r>
            <a:r>
              <a:rPr sz="1200" spc="-9" dirty="0" smtClean="0">
                <a:latin typeface="+mj-lt"/>
                <a:cs typeface="Cambria"/>
              </a:rPr>
              <a:t> w</a:t>
            </a:r>
            <a:r>
              <a:rPr sz="1200" spc="0" dirty="0" smtClean="0">
                <a:latin typeface="+mj-lt"/>
                <a:cs typeface="Cambria"/>
              </a:rPr>
              <a:t>ell</a:t>
            </a:r>
            <a:r>
              <a:rPr sz="1200" spc="-14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n pa</a:t>
            </a:r>
            <a:r>
              <a:rPr sz="1200" spc="-29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allel</a:t>
            </a:r>
            <a:r>
              <a:rPr sz="1200" spc="-1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ope</a:t>
            </a:r>
            <a:r>
              <a:rPr sz="1200" spc="-29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at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s.</a:t>
            </a:r>
            <a:endParaRPr sz="1200" dirty="0">
              <a:latin typeface="+mj-lt"/>
              <a:cs typeface="Cambria"/>
            </a:endParaRPr>
          </a:p>
          <a:p>
            <a:pPr marL="12700" marR="26746">
              <a:lnSpc>
                <a:spcPct val="97696"/>
              </a:lnSpc>
              <a:spcBef>
                <a:spcPts val="338"/>
              </a:spcBef>
            </a:pPr>
            <a:r>
              <a:rPr sz="1200" spc="-4" dirty="0" smtClean="0">
                <a:latin typeface="+mj-lt"/>
                <a:cs typeface="Cambria"/>
              </a:rPr>
              <a:t>H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-9" dirty="0" smtClean="0">
                <a:latin typeface="+mj-lt"/>
                <a:cs typeface="Cambria"/>
              </a:rPr>
              <a:t>g</a:t>
            </a:r>
            <a:r>
              <a:rPr sz="1200" spc="4" dirty="0" smtClean="0">
                <a:latin typeface="+mj-lt"/>
                <a:cs typeface="Cambria"/>
              </a:rPr>
              <a:t>h</a:t>
            </a:r>
            <a:r>
              <a:rPr sz="1200" spc="-19" dirty="0" smtClean="0">
                <a:latin typeface="+mj-lt"/>
                <a:cs typeface="Cambria"/>
              </a:rPr>
              <a:t>l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-4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n</a:t>
            </a:r>
            <a:r>
              <a:rPr sz="1200" spc="-4" dirty="0" smtClean="0">
                <a:latin typeface="+mj-lt"/>
                <a:cs typeface="Cambria"/>
              </a:rPr>
              <a:t>o</a:t>
            </a:r>
            <a:r>
              <a:rPr sz="1200" spc="0" dirty="0" smtClean="0">
                <a:latin typeface="+mj-lt"/>
                <a:cs typeface="Cambria"/>
              </a:rPr>
              <a:t>n-</a:t>
            </a:r>
            <a:r>
              <a:rPr sz="1200" spc="4" dirty="0" smtClean="0">
                <a:latin typeface="+mj-lt"/>
                <a:cs typeface="Cambria"/>
              </a:rPr>
              <a:t>u</a:t>
            </a:r>
            <a:r>
              <a:rPr sz="1200" spc="0" dirty="0" smtClean="0">
                <a:latin typeface="+mj-lt"/>
                <a:cs typeface="Cambria"/>
              </a:rPr>
              <a:t>niq</a:t>
            </a:r>
            <a:r>
              <a:rPr sz="1200" spc="4" dirty="0" smtClean="0">
                <a:latin typeface="+mj-lt"/>
                <a:cs typeface="Cambria"/>
              </a:rPr>
              <a:t>u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c</a:t>
            </a:r>
            <a:r>
              <a:rPr sz="1200" spc="0" dirty="0" smtClean="0">
                <a:latin typeface="+mj-lt"/>
                <a:cs typeface="Cambria"/>
              </a:rPr>
              <a:t>ol</a:t>
            </a:r>
            <a:r>
              <a:rPr sz="1200" spc="4" dirty="0" smtClean="0">
                <a:latin typeface="+mj-lt"/>
                <a:cs typeface="Cambria"/>
              </a:rPr>
              <a:t>u</a:t>
            </a:r>
            <a:r>
              <a:rPr sz="1200" spc="0" dirty="0" smtClean="0">
                <a:latin typeface="+mj-lt"/>
                <a:cs typeface="Cambria"/>
              </a:rPr>
              <a:t>m</a:t>
            </a:r>
            <a:r>
              <a:rPr sz="1200" spc="-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-2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-29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1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poor</a:t>
            </a:r>
            <a:r>
              <a:rPr sz="1200" spc="-29" dirty="0" smtClean="0">
                <a:latin typeface="+mj-lt"/>
                <a:cs typeface="Cambria"/>
              </a:rPr>
              <a:t> </a:t>
            </a:r>
            <a:r>
              <a:rPr sz="1200" spc="-4" dirty="0" smtClean="0">
                <a:latin typeface="+mj-lt"/>
                <a:cs typeface="Cambria"/>
              </a:rPr>
              <a:t>P</a:t>
            </a:r>
            <a:r>
              <a:rPr sz="1200" spc="0" dirty="0" smtClean="0">
                <a:latin typeface="+mj-lt"/>
                <a:cs typeface="Cambria"/>
              </a:rPr>
              <a:t>I</a:t>
            </a:r>
            <a:r>
              <a:rPr sz="1200" spc="4" dirty="0" smtClean="0">
                <a:latin typeface="+mj-lt"/>
                <a:cs typeface="Cambria"/>
              </a:rPr>
              <a:t> ch</a:t>
            </a:r>
            <a:r>
              <a:rPr sz="1200" spc="0" dirty="0" smtClean="0">
                <a:latin typeface="+mj-lt"/>
                <a:cs typeface="Cambria"/>
              </a:rPr>
              <a:t>oi</a:t>
            </a:r>
            <a:r>
              <a:rPr sz="1200" spc="9" dirty="0" smtClean="0">
                <a:latin typeface="+mj-lt"/>
                <a:cs typeface="Cambria"/>
              </a:rPr>
              <a:t>c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4" dirty="0" smtClean="0">
                <a:latin typeface="+mj-lt"/>
                <a:cs typeface="Cambria"/>
              </a:rPr>
              <a:t>s</a:t>
            </a:r>
            <a:r>
              <a:rPr sz="1200" spc="0" dirty="0" smtClean="0">
                <a:latin typeface="+mj-lt"/>
                <a:cs typeface="Cambria"/>
              </a:rPr>
              <a:t>.</a:t>
            </a:r>
            <a:endParaRPr sz="1200" dirty="0">
              <a:latin typeface="+mj-lt"/>
              <a:cs typeface="Cambria"/>
            </a:endParaRPr>
          </a:p>
          <a:p>
            <a:pPr marL="12700" marR="26746">
              <a:lnSpc>
                <a:spcPct val="97696"/>
              </a:lnSpc>
              <a:spcBef>
                <a:spcPts val="335"/>
              </a:spcBef>
            </a:pPr>
            <a:r>
              <a:rPr sz="1200" spc="-4" dirty="0" smtClean="0">
                <a:latin typeface="+mj-lt"/>
                <a:cs typeface="Cambria"/>
              </a:rPr>
              <a:t>T</a:t>
            </a:r>
            <a:r>
              <a:rPr sz="1200" spc="4" dirty="0" smtClean="0">
                <a:latin typeface="+mj-lt"/>
                <a:cs typeface="Cambria"/>
              </a:rPr>
              <a:t>h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deg</a:t>
            </a:r>
            <a:r>
              <a:rPr sz="1200" spc="-25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ee of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u</a:t>
            </a:r>
            <a:r>
              <a:rPr sz="1200" spc="0" dirty="0" smtClean="0">
                <a:latin typeface="+mj-lt"/>
                <a:cs typeface="Cambria"/>
              </a:rPr>
              <a:t>niq</a:t>
            </a:r>
            <a:r>
              <a:rPr sz="1200" spc="4" dirty="0" smtClean="0">
                <a:latin typeface="+mj-lt"/>
                <a:cs typeface="Cambria"/>
              </a:rPr>
              <a:t>u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4" dirty="0" smtClean="0">
                <a:latin typeface="+mj-lt"/>
                <a:cs typeface="Cambria"/>
              </a:rPr>
              <a:t>s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s </a:t>
            </a:r>
            <a:r>
              <a:rPr sz="1200" spc="4" dirty="0" smtClean="0">
                <a:latin typeface="+mj-lt"/>
                <a:cs typeface="Cambria"/>
              </a:rPr>
              <a:t>c</a:t>
            </a:r>
            <a:r>
              <a:rPr sz="1200" spc="-4" dirty="0" smtClean="0">
                <a:latin typeface="+mj-lt"/>
                <a:cs typeface="Cambria"/>
              </a:rPr>
              <a:t>r</a:t>
            </a:r>
            <a:r>
              <a:rPr sz="1200" spc="4" dirty="0" smtClean="0">
                <a:latin typeface="+mj-lt"/>
                <a:cs typeface="Cambria"/>
              </a:rPr>
              <a:t>itic</a:t>
            </a:r>
            <a:r>
              <a:rPr sz="1200" spc="0" dirty="0" smtClean="0">
                <a:latin typeface="+mj-lt"/>
                <a:cs typeface="Cambria"/>
              </a:rPr>
              <a:t>al</a:t>
            </a:r>
            <a:r>
              <a:rPr sz="1200" spc="-39" dirty="0" smtClean="0">
                <a:latin typeface="+mj-lt"/>
                <a:cs typeface="Cambria"/>
              </a:rPr>
              <a:t> </a:t>
            </a:r>
            <a:r>
              <a:rPr sz="1200" spc="-9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4" dirty="0" smtClean="0">
                <a:latin typeface="+mj-lt"/>
                <a:cs typeface="Cambria"/>
              </a:rPr>
              <a:t>ff</a:t>
            </a:r>
            <a:r>
              <a:rPr sz="1200" spc="4" dirty="0" smtClean="0">
                <a:latin typeface="+mj-lt"/>
                <a:cs typeface="Cambria"/>
              </a:rPr>
              <a:t>ici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4" dirty="0" smtClean="0">
                <a:latin typeface="+mj-lt"/>
                <a:cs typeface="Cambria"/>
              </a:rPr>
              <a:t>n</a:t>
            </a:r>
            <a:r>
              <a:rPr sz="1200" spc="4" dirty="0" smtClean="0">
                <a:latin typeface="+mj-lt"/>
                <a:cs typeface="Cambria"/>
              </a:rPr>
              <a:t>c</a:t>
            </a:r>
            <a:r>
              <a:rPr sz="1200" spc="-119" dirty="0" smtClean="0">
                <a:latin typeface="+mj-lt"/>
                <a:cs typeface="Cambria"/>
              </a:rPr>
              <a:t>y</a:t>
            </a:r>
            <a:r>
              <a:rPr sz="1200" spc="0" dirty="0" smtClean="0">
                <a:latin typeface="+mj-lt"/>
                <a:cs typeface="Cambria"/>
              </a:rPr>
              <a:t>.</a:t>
            </a:r>
            <a:endParaRPr sz="1200" dirty="0">
              <a:latin typeface="+mj-lt"/>
              <a:cs typeface="Cambria"/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5068317" y="4087153"/>
            <a:ext cx="514159" cy="1325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5582474" y="4087153"/>
            <a:ext cx="282576" cy="1325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5865050" y="4087153"/>
            <a:ext cx="495108" cy="1325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6360160" y="4087153"/>
            <a:ext cx="397256" cy="1325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5068317" y="4219733"/>
            <a:ext cx="514159" cy="1448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5582474" y="4219733"/>
            <a:ext cx="282576" cy="1448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5865050" y="4219733"/>
            <a:ext cx="495108" cy="1448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6360160" y="4219733"/>
            <a:ext cx="397256" cy="1448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5068317" y="4364628"/>
            <a:ext cx="514159" cy="1353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5582474" y="4364628"/>
            <a:ext cx="282576" cy="1353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5865050" y="4364628"/>
            <a:ext cx="495108" cy="1353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6360160" y="4364628"/>
            <a:ext cx="397256" cy="1353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698882" y="3752724"/>
            <a:ext cx="1888870" cy="2292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698883" y="3981999"/>
            <a:ext cx="101986" cy="67737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800869" y="3981999"/>
            <a:ext cx="508819" cy="1353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1309689" y="3981999"/>
            <a:ext cx="297497" cy="1353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1607185" y="3981999"/>
            <a:ext cx="495047" cy="1353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2102232" y="3981999"/>
            <a:ext cx="387738" cy="1353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2489969" y="3981999"/>
            <a:ext cx="97782" cy="67737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800869" y="4117360"/>
            <a:ext cx="508819" cy="14375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1309689" y="4117360"/>
            <a:ext cx="297497" cy="14375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1607185" y="4117360"/>
            <a:ext cx="495047" cy="14375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2102232" y="4117360"/>
            <a:ext cx="387738" cy="14375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800869" y="4261111"/>
            <a:ext cx="508819" cy="1359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1309689" y="4261111"/>
            <a:ext cx="297497" cy="1359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1607185" y="4261111"/>
            <a:ext cx="495047" cy="1359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2102232" y="4261111"/>
            <a:ext cx="387738" cy="1359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800869" y="4397025"/>
            <a:ext cx="508819" cy="13143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1309689" y="4397025"/>
            <a:ext cx="297497" cy="13143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1607185" y="4397025"/>
            <a:ext cx="495047" cy="13143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2102232" y="4397025"/>
            <a:ext cx="387738" cy="13143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800869" y="4528459"/>
            <a:ext cx="508819" cy="1309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1309689" y="4528459"/>
            <a:ext cx="297497" cy="1309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1607185" y="4528459"/>
            <a:ext cx="495047" cy="1309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2102232" y="4528459"/>
            <a:ext cx="387738" cy="1309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698883" y="4659377"/>
            <a:ext cx="101986" cy="1381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800869" y="4659376"/>
            <a:ext cx="508819" cy="125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40"/>
              </a:spcBef>
            </a:pPr>
            <a:endParaRPr sz="950">
              <a:latin typeface="+mj-lt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1309689" y="4659376"/>
            <a:ext cx="297497" cy="125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40"/>
              </a:spcBef>
            </a:pPr>
            <a:endParaRPr sz="950">
              <a:latin typeface="+mj-lt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1607185" y="4659376"/>
            <a:ext cx="495047" cy="125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40"/>
              </a:spcBef>
            </a:pPr>
            <a:endParaRPr sz="950">
              <a:latin typeface="+mj-lt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2102232" y="4659376"/>
            <a:ext cx="387738" cy="125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40"/>
              </a:spcBef>
            </a:pPr>
            <a:endParaRPr sz="950">
              <a:latin typeface="+mj-lt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2489969" y="4659376"/>
            <a:ext cx="97782" cy="125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40"/>
              </a:spcBef>
            </a:pPr>
            <a:endParaRPr sz="950">
              <a:latin typeface="+mj-lt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7480935" y="3058033"/>
            <a:ext cx="1060221" cy="872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37"/>
              </a:spcBef>
            </a:pPr>
            <a:endParaRPr sz="650">
              <a:latin typeface="+mj-lt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7480935" y="3145282"/>
            <a:ext cx="492887" cy="2214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7973822" y="3145282"/>
            <a:ext cx="567334" cy="2214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7480935" y="3366771"/>
            <a:ext cx="492887" cy="2707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7973822" y="3366771"/>
            <a:ext cx="567334" cy="2707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5375403" y="3048000"/>
            <a:ext cx="1060221" cy="9728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16"/>
              </a:spcBef>
            </a:pPr>
            <a:endParaRPr sz="750">
              <a:latin typeface="+mj-lt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375403" y="3145282"/>
            <a:ext cx="471677" cy="2114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5847081" y="3145282"/>
            <a:ext cx="588543" cy="2114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375403" y="3356737"/>
            <a:ext cx="471677" cy="2807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5847081" y="3356737"/>
            <a:ext cx="588543" cy="2807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231516" y="3060319"/>
            <a:ext cx="490856" cy="3087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3722370" y="3060319"/>
            <a:ext cx="569367" cy="3087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3231516" y="3369055"/>
            <a:ext cx="490856" cy="26847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722370" y="3369055"/>
            <a:ext cx="569367" cy="26847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106817" y="3062605"/>
            <a:ext cx="490843" cy="3087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597660" y="3062605"/>
            <a:ext cx="569380" cy="3087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106817" y="3371342"/>
            <a:ext cx="490843" cy="2661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597660" y="3371342"/>
            <a:ext cx="569380" cy="2661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367522" y="1264006"/>
            <a:ext cx="1297425" cy="23324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39450" marR="351417" algn="ctr">
              <a:lnSpc>
                <a:spcPct val="95825"/>
              </a:lnSpc>
              <a:spcBef>
                <a:spcPts val="200"/>
              </a:spcBef>
            </a:pPr>
            <a:r>
              <a:rPr sz="600" b="1" dirty="0" smtClean="0">
                <a:latin typeface="+mj-lt"/>
                <a:cs typeface="Arial"/>
              </a:rPr>
              <a:t>O</a:t>
            </a:r>
            <a:r>
              <a:rPr sz="600" b="1" spc="9" dirty="0" smtClean="0">
                <a:latin typeface="+mj-lt"/>
                <a:cs typeface="Arial"/>
              </a:rPr>
              <a:t>r</a:t>
            </a:r>
            <a:r>
              <a:rPr sz="600" b="1" spc="-9" dirty="0" smtClean="0">
                <a:latin typeface="+mj-lt"/>
                <a:cs typeface="Arial"/>
              </a:rPr>
              <a:t>d</a:t>
            </a:r>
            <a:r>
              <a:rPr sz="600" b="1" spc="0" dirty="0" smtClean="0">
                <a:latin typeface="+mj-lt"/>
                <a:cs typeface="Arial"/>
              </a:rPr>
              <a:t>er</a:t>
            </a:r>
            <a:endParaRPr sz="600">
              <a:latin typeface="+mj-lt"/>
              <a:cs typeface="Arial"/>
            </a:endParaRPr>
          </a:p>
          <a:p>
            <a:pPr marL="231827" marR="240792" algn="ctr">
              <a:lnSpc>
                <a:spcPct val="95825"/>
              </a:lnSpc>
              <a:spcBef>
                <a:spcPts val="210"/>
              </a:spcBef>
            </a:pPr>
            <a:r>
              <a:rPr sz="600" b="1" spc="4" dirty="0" smtClean="0">
                <a:latin typeface="+mj-lt"/>
                <a:cs typeface="Arial"/>
              </a:rPr>
              <a:t>N</a:t>
            </a:r>
            <a:r>
              <a:rPr sz="600" b="1" spc="-9" dirty="0" smtClean="0">
                <a:latin typeface="+mj-lt"/>
                <a:cs typeface="Arial"/>
              </a:rPr>
              <a:t>u</a:t>
            </a:r>
            <a:r>
              <a:rPr sz="600" b="1" spc="14" dirty="0" smtClean="0">
                <a:latin typeface="+mj-lt"/>
                <a:cs typeface="Arial"/>
              </a:rPr>
              <a:t>m</a:t>
            </a:r>
            <a:r>
              <a:rPr sz="600" b="1" spc="-9" dirty="0" smtClean="0">
                <a:latin typeface="+mj-lt"/>
                <a:cs typeface="Arial"/>
              </a:rPr>
              <a:t>b</a:t>
            </a:r>
            <a:r>
              <a:rPr sz="600" b="1" spc="0" dirty="0" smtClean="0">
                <a:latin typeface="+mj-lt"/>
                <a:cs typeface="Arial"/>
              </a:rPr>
              <a:t>er</a:t>
            </a:r>
            <a:endParaRPr sz="600">
              <a:latin typeface="+mj-lt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664949" y="1264006"/>
            <a:ext cx="1405355" cy="23324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91339" marR="204445" algn="ctr">
              <a:lnSpc>
                <a:spcPct val="95825"/>
              </a:lnSpc>
              <a:spcBef>
                <a:spcPts val="200"/>
              </a:spcBef>
            </a:pPr>
            <a:r>
              <a:rPr sz="600" b="1" spc="4" dirty="0" smtClean="0">
                <a:latin typeface="+mj-lt"/>
                <a:cs typeface="Arial"/>
              </a:rPr>
              <a:t>C</a:t>
            </a:r>
            <a:r>
              <a:rPr sz="600" b="1" spc="-9" dirty="0" smtClean="0">
                <a:latin typeface="+mj-lt"/>
                <a:cs typeface="Arial"/>
              </a:rPr>
              <a:t>u</a:t>
            </a:r>
            <a:r>
              <a:rPr sz="600" b="1" spc="0" dirty="0" smtClean="0">
                <a:latin typeface="+mj-lt"/>
                <a:cs typeface="Arial"/>
              </a:rPr>
              <a:t>s</a:t>
            </a:r>
            <a:r>
              <a:rPr sz="600" b="1" spc="-14" dirty="0" smtClean="0">
                <a:latin typeface="+mj-lt"/>
                <a:cs typeface="Arial"/>
              </a:rPr>
              <a:t>t</a:t>
            </a:r>
            <a:r>
              <a:rPr sz="600" b="1" spc="-9" dirty="0" smtClean="0">
                <a:latin typeface="+mj-lt"/>
                <a:cs typeface="Arial"/>
              </a:rPr>
              <a:t>o</a:t>
            </a:r>
            <a:r>
              <a:rPr sz="600" b="1" spc="14" dirty="0" smtClean="0">
                <a:latin typeface="+mj-lt"/>
                <a:cs typeface="Arial"/>
              </a:rPr>
              <a:t>m</a:t>
            </a:r>
            <a:r>
              <a:rPr sz="600" b="1" spc="0" dirty="0" smtClean="0">
                <a:latin typeface="+mj-lt"/>
                <a:cs typeface="Arial"/>
              </a:rPr>
              <a:t>er</a:t>
            </a:r>
            <a:endParaRPr sz="600">
              <a:latin typeface="+mj-lt"/>
              <a:cs typeface="Arial"/>
            </a:endParaRPr>
          </a:p>
          <a:p>
            <a:pPr marL="285726" marR="294823" algn="ctr">
              <a:lnSpc>
                <a:spcPct val="95825"/>
              </a:lnSpc>
              <a:spcBef>
                <a:spcPts val="210"/>
              </a:spcBef>
            </a:pPr>
            <a:r>
              <a:rPr sz="600" b="1" spc="4" dirty="0" smtClean="0">
                <a:latin typeface="+mj-lt"/>
                <a:cs typeface="Arial"/>
              </a:rPr>
              <a:t>N</a:t>
            </a:r>
            <a:r>
              <a:rPr sz="600" b="1" spc="-9" dirty="0" smtClean="0">
                <a:latin typeface="+mj-lt"/>
                <a:cs typeface="Arial"/>
              </a:rPr>
              <a:t>u</a:t>
            </a:r>
            <a:r>
              <a:rPr sz="600" b="1" spc="14" dirty="0" smtClean="0">
                <a:latin typeface="+mj-lt"/>
                <a:cs typeface="Arial"/>
              </a:rPr>
              <a:t>m</a:t>
            </a:r>
            <a:r>
              <a:rPr sz="600" b="1" spc="-9" dirty="0" smtClean="0">
                <a:latin typeface="+mj-lt"/>
                <a:cs typeface="Arial"/>
              </a:rPr>
              <a:t>b</a:t>
            </a:r>
            <a:r>
              <a:rPr sz="600" b="1" spc="0" dirty="0" smtClean="0">
                <a:latin typeface="+mj-lt"/>
                <a:cs typeface="Arial"/>
              </a:rPr>
              <a:t>er</a:t>
            </a:r>
            <a:endParaRPr sz="600">
              <a:latin typeface="+mj-lt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070304" y="1264006"/>
            <a:ext cx="1038085" cy="23324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28908">
              <a:lnSpc>
                <a:spcPct val="95825"/>
              </a:lnSpc>
              <a:spcBef>
                <a:spcPts val="200"/>
              </a:spcBef>
            </a:pPr>
            <a:r>
              <a:rPr sz="600" b="1" dirty="0" smtClean="0">
                <a:latin typeface="+mj-lt"/>
                <a:cs typeface="Arial"/>
              </a:rPr>
              <a:t>O</a:t>
            </a:r>
            <a:r>
              <a:rPr sz="600" b="1" spc="9" dirty="0" smtClean="0">
                <a:latin typeface="+mj-lt"/>
                <a:cs typeface="Arial"/>
              </a:rPr>
              <a:t>r</a:t>
            </a:r>
            <a:r>
              <a:rPr sz="600" b="1" spc="-9" dirty="0" smtClean="0">
                <a:latin typeface="+mj-lt"/>
                <a:cs typeface="Arial"/>
              </a:rPr>
              <a:t>d</a:t>
            </a:r>
            <a:r>
              <a:rPr sz="600" b="1" spc="0" dirty="0" smtClean="0">
                <a:latin typeface="+mj-lt"/>
                <a:cs typeface="Arial"/>
              </a:rPr>
              <a:t>er</a:t>
            </a:r>
            <a:endParaRPr sz="600">
              <a:latin typeface="+mj-lt"/>
              <a:cs typeface="Arial"/>
            </a:endParaRPr>
          </a:p>
          <a:p>
            <a:pPr marL="290305">
              <a:lnSpc>
                <a:spcPct val="95825"/>
              </a:lnSpc>
              <a:spcBef>
                <a:spcPts val="210"/>
              </a:spcBef>
            </a:pPr>
            <a:r>
              <a:rPr sz="600" b="1" spc="4" dirty="0" smtClean="0">
                <a:latin typeface="+mj-lt"/>
                <a:cs typeface="Arial"/>
              </a:rPr>
              <a:t>D</a:t>
            </a:r>
            <a:r>
              <a:rPr sz="600" b="1" spc="0" dirty="0" smtClean="0">
                <a:latin typeface="+mj-lt"/>
                <a:cs typeface="Arial"/>
              </a:rPr>
              <a:t>a</a:t>
            </a:r>
            <a:r>
              <a:rPr sz="600" b="1" spc="-14" dirty="0" smtClean="0">
                <a:latin typeface="+mj-lt"/>
                <a:cs typeface="Arial"/>
              </a:rPr>
              <a:t>t</a:t>
            </a:r>
            <a:r>
              <a:rPr sz="600" b="1" spc="0" dirty="0" smtClean="0">
                <a:latin typeface="+mj-lt"/>
                <a:cs typeface="Arial"/>
              </a:rPr>
              <a:t>e</a:t>
            </a:r>
            <a:endParaRPr sz="600">
              <a:latin typeface="+mj-lt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7108388" y="1264006"/>
            <a:ext cx="1081030" cy="23324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46995">
              <a:lnSpc>
                <a:spcPct val="95825"/>
              </a:lnSpc>
              <a:spcBef>
                <a:spcPts val="200"/>
              </a:spcBef>
            </a:pPr>
            <a:r>
              <a:rPr sz="600" b="1" dirty="0" smtClean="0">
                <a:latin typeface="+mj-lt"/>
                <a:cs typeface="Arial"/>
              </a:rPr>
              <a:t>O</a:t>
            </a:r>
            <a:r>
              <a:rPr sz="600" b="1" spc="9" dirty="0" smtClean="0">
                <a:latin typeface="+mj-lt"/>
                <a:cs typeface="Arial"/>
              </a:rPr>
              <a:t>r</a:t>
            </a:r>
            <a:r>
              <a:rPr sz="600" b="1" spc="-9" dirty="0" smtClean="0">
                <a:latin typeface="+mj-lt"/>
                <a:cs typeface="Arial"/>
              </a:rPr>
              <a:t>d</a:t>
            </a:r>
            <a:r>
              <a:rPr sz="600" b="1" spc="0" dirty="0" smtClean="0">
                <a:latin typeface="+mj-lt"/>
                <a:cs typeface="Arial"/>
              </a:rPr>
              <a:t>er</a:t>
            </a:r>
            <a:endParaRPr sz="600">
              <a:latin typeface="+mj-lt"/>
              <a:cs typeface="Arial"/>
            </a:endParaRPr>
          </a:p>
          <a:p>
            <a:pPr marL="214499">
              <a:lnSpc>
                <a:spcPct val="95825"/>
              </a:lnSpc>
              <a:spcBef>
                <a:spcPts val="210"/>
              </a:spcBef>
            </a:pPr>
            <a:r>
              <a:rPr sz="600" b="1" spc="9" dirty="0" smtClean="0">
                <a:latin typeface="+mj-lt"/>
                <a:cs typeface="Arial"/>
              </a:rPr>
              <a:t>S</a:t>
            </a:r>
            <a:r>
              <a:rPr sz="600" b="1" spc="-9" dirty="0" smtClean="0">
                <a:latin typeface="+mj-lt"/>
                <a:cs typeface="Arial"/>
              </a:rPr>
              <a:t>t</a:t>
            </a:r>
            <a:r>
              <a:rPr sz="600" b="1" spc="0" dirty="0" smtClean="0">
                <a:latin typeface="+mj-lt"/>
                <a:cs typeface="Arial"/>
              </a:rPr>
              <a:t>a</a:t>
            </a:r>
            <a:r>
              <a:rPr sz="600" b="1" spc="-14" dirty="0" smtClean="0">
                <a:latin typeface="+mj-lt"/>
                <a:cs typeface="Arial"/>
              </a:rPr>
              <a:t>t</a:t>
            </a:r>
            <a:r>
              <a:rPr sz="600" b="1" spc="-9" dirty="0" smtClean="0">
                <a:latin typeface="+mj-lt"/>
                <a:cs typeface="Arial"/>
              </a:rPr>
              <a:t>u</a:t>
            </a:r>
            <a:r>
              <a:rPr sz="600" b="1" spc="0" dirty="0" smtClean="0">
                <a:latin typeface="+mj-lt"/>
                <a:cs typeface="Arial"/>
              </a:rPr>
              <a:t>s</a:t>
            </a:r>
            <a:endParaRPr sz="600">
              <a:latin typeface="+mj-lt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367522" y="1497254"/>
            <a:ext cx="1297425" cy="1522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18364" marR="501951" algn="ctr">
              <a:lnSpc>
                <a:spcPct val="95825"/>
              </a:lnSpc>
              <a:spcBef>
                <a:spcPts val="204"/>
              </a:spcBef>
            </a:pPr>
            <a:r>
              <a:rPr sz="700" b="1" spc="9" dirty="0" smtClean="0">
                <a:latin typeface="+mj-lt"/>
                <a:cs typeface="Arial"/>
              </a:rPr>
              <a:t>PK</a:t>
            </a:r>
            <a:endParaRPr sz="700">
              <a:latin typeface="+mj-lt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664949" y="1497254"/>
            <a:ext cx="1405355" cy="1522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070304" y="1497254"/>
            <a:ext cx="1038085" cy="1522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108388" y="1497254"/>
            <a:ext cx="1081030" cy="1522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367522" y="1649532"/>
            <a:ext cx="1297425" cy="1481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664949" y="1649532"/>
            <a:ext cx="1405355" cy="1481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070304" y="1649532"/>
            <a:ext cx="1038085" cy="1481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7108388" y="1649532"/>
            <a:ext cx="1081030" cy="1481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43251">
              <a:lnSpc>
                <a:spcPct val="95825"/>
              </a:lnSpc>
              <a:spcBef>
                <a:spcPts val="65"/>
              </a:spcBef>
            </a:pPr>
            <a:r>
              <a:rPr sz="700" b="1" spc="-9" dirty="0" smtClean="0">
                <a:latin typeface="+mj-lt"/>
                <a:cs typeface="Arial"/>
              </a:rPr>
              <a:t>NU</a:t>
            </a:r>
            <a:r>
              <a:rPr sz="700" b="1" spc="9" dirty="0" smtClean="0">
                <a:latin typeface="+mj-lt"/>
                <a:cs typeface="Arial"/>
              </a:rPr>
              <a:t>P</a:t>
            </a:r>
            <a:r>
              <a:rPr sz="700" b="1" spc="0" dirty="0" smtClean="0">
                <a:latin typeface="+mj-lt"/>
                <a:cs typeface="Arial"/>
              </a:rPr>
              <a:t>I</a:t>
            </a:r>
            <a:endParaRPr sz="700">
              <a:latin typeface="+mj-lt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367522" y="1797637"/>
            <a:ext cx="1297425" cy="10958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40452">
              <a:lnSpc>
                <a:spcPct val="95825"/>
              </a:lnSpc>
              <a:spcBef>
                <a:spcPts val="185"/>
              </a:spcBef>
            </a:pPr>
            <a:r>
              <a:rPr sz="700" spc="-4" dirty="0" smtClean="0">
                <a:latin typeface="+mj-lt"/>
                <a:cs typeface="Arial"/>
              </a:rPr>
              <a:t>7325</a:t>
            </a:r>
            <a:endParaRPr sz="700">
              <a:latin typeface="+mj-lt"/>
              <a:cs typeface="Arial"/>
            </a:endParaRPr>
          </a:p>
          <a:p>
            <a:pPr marL="336858">
              <a:lnSpc>
                <a:spcPct val="95825"/>
              </a:lnSpc>
              <a:spcBef>
                <a:spcPts val="40"/>
              </a:spcBef>
            </a:pPr>
            <a:r>
              <a:rPr sz="700" spc="-4" dirty="0" smtClean="0">
                <a:latin typeface="+mj-lt"/>
                <a:cs typeface="Arial"/>
              </a:rPr>
              <a:t>7324</a:t>
            </a:r>
            <a:endParaRPr sz="700">
              <a:latin typeface="+mj-lt"/>
              <a:cs typeface="Arial"/>
            </a:endParaRPr>
          </a:p>
          <a:p>
            <a:pPr marL="336858">
              <a:lnSpc>
                <a:spcPct val="95825"/>
              </a:lnSpc>
              <a:spcBef>
                <a:spcPts val="40"/>
              </a:spcBef>
            </a:pPr>
            <a:r>
              <a:rPr sz="700" spc="-4" dirty="0" smtClean="0">
                <a:latin typeface="+mj-lt"/>
                <a:cs typeface="Arial"/>
              </a:rPr>
              <a:t>7415</a:t>
            </a:r>
            <a:endParaRPr sz="700">
              <a:latin typeface="+mj-lt"/>
              <a:cs typeface="Arial"/>
            </a:endParaRPr>
          </a:p>
          <a:p>
            <a:pPr marL="336858">
              <a:lnSpc>
                <a:spcPct val="95825"/>
              </a:lnSpc>
              <a:spcBef>
                <a:spcPts val="40"/>
              </a:spcBef>
            </a:pPr>
            <a:r>
              <a:rPr sz="700" spc="-4" dirty="0" smtClean="0">
                <a:latin typeface="+mj-lt"/>
                <a:cs typeface="Arial"/>
              </a:rPr>
              <a:t>7103</a:t>
            </a:r>
            <a:endParaRPr sz="700">
              <a:latin typeface="+mj-lt"/>
              <a:cs typeface="Arial"/>
            </a:endParaRPr>
          </a:p>
          <a:p>
            <a:pPr marL="336858">
              <a:lnSpc>
                <a:spcPct val="95825"/>
              </a:lnSpc>
              <a:spcBef>
                <a:spcPts val="40"/>
              </a:spcBef>
            </a:pPr>
            <a:r>
              <a:rPr sz="700" spc="-4" dirty="0" smtClean="0">
                <a:latin typeface="+mj-lt"/>
                <a:cs typeface="Arial"/>
              </a:rPr>
              <a:t>7225</a:t>
            </a:r>
            <a:endParaRPr sz="700">
              <a:latin typeface="+mj-lt"/>
              <a:cs typeface="Arial"/>
            </a:endParaRPr>
          </a:p>
          <a:p>
            <a:pPr marL="336858">
              <a:lnSpc>
                <a:spcPct val="95825"/>
              </a:lnSpc>
              <a:spcBef>
                <a:spcPts val="40"/>
              </a:spcBef>
            </a:pPr>
            <a:r>
              <a:rPr sz="700" spc="-4" dirty="0" smtClean="0">
                <a:latin typeface="+mj-lt"/>
                <a:cs typeface="Arial"/>
              </a:rPr>
              <a:t>7384</a:t>
            </a:r>
            <a:endParaRPr sz="700">
              <a:latin typeface="+mj-lt"/>
              <a:cs typeface="Arial"/>
            </a:endParaRPr>
          </a:p>
          <a:p>
            <a:pPr marL="336858">
              <a:lnSpc>
                <a:spcPct val="95825"/>
              </a:lnSpc>
              <a:spcBef>
                <a:spcPts val="40"/>
              </a:spcBef>
            </a:pPr>
            <a:r>
              <a:rPr sz="700" spc="-4" dirty="0" smtClean="0">
                <a:latin typeface="+mj-lt"/>
                <a:cs typeface="Arial"/>
              </a:rPr>
              <a:t>7402</a:t>
            </a:r>
            <a:endParaRPr sz="700">
              <a:latin typeface="+mj-lt"/>
              <a:cs typeface="Arial"/>
            </a:endParaRPr>
          </a:p>
          <a:p>
            <a:pPr marL="336858">
              <a:lnSpc>
                <a:spcPct val="95825"/>
              </a:lnSpc>
              <a:spcBef>
                <a:spcPts val="40"/>
              </a:spcBef>
            </a:pPr>
            <a:r>
              <a:rPr sz="700" spc="-4" dirty="0" smtClean="0">
                <a:latin typeface="+mj-lt"/>
                <a:cs typeface="Arial"/>
              </a:rPr>
              <a:t>7188</a:t>
            </a:r>
            <a:endParaRPr sz="700">
              <a:latin typeface="+mj-lt"/>
              <a:cs typeface="Arial"/>
            </a:endParaRPr>
          </a:p>
          <a:p>
            <a:pPr marL="336858">
              <a:lnSpc>
                <a:spcPct val="95825"/>
              </a:lnSpc>
              <a:spcBef>
                <a:spcPts val="40"/>
              </a:spcBef>
            </a:pPr>
            <a:r>
              <a:rPr sz="700" spc="-4" dirty="0" smtClean="0">
                <a:latin typeface="+mj-lt"/>
                <a:cs typeface="Arial"/>
              </a:rPr>
              <a:t>7202</a:t>
            </a:r>
            <a:endParaRPr sz="700">
              <a:latin typeface="+mj-lt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664949" y="1797637"/>
            <a:ext cx="1405355" cy="10958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12876" marR="618974" algn="ctr">
              <a:lnSpc>
                <a:spcPct val="95825"/>
              </a:lnSpc>
              <a:spcBef>
                <a:spcPts val="185"/>
              </a:spcBef>
            </a:pPr>
            <a:r>
              <a:rPr sz="700" spc="0" dirty="0" smtClean="0">
                <a:latin typeface="+mj-lt"/>
                <a:cs typeface="Arial"/>
              </a:rPr>
              <a:t>2</a:t>
            </a:r>
            <a:endParaRPr sz="700">
              <a:latin typeface="+mj-lt"/>
              <a:cs typeface="Arial"/>
            </a:endParaRPr>
          </a:p>
          <a:p>
            <a:pPr marL="612876" marR="618974" algn="ctr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3</a:t>
            </a:r>
            <a:endParaRPr sz="700">
              <a:latin typeface="+mj-lt"/>
              <a:cs typeface="Arial"/>
            </a:endParaRPr>
          </a:p>
          <a:p>
            <a:pPr marL="612876" marR="618974" algn="ctr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1</a:t>
            </a:r>
            <a:endParaRPr sz="700">
              <a:latin typeface="+mj-lt"/>
              <a:cs typeface="Arial"/>
            </a:endParaRPr>
          </a:p>
          <a:p>
            <a:pPr marL="612876" marR="618974" algn="ctr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1</a:t>
            </a:r>
            <a:endParaRPr sz="700">
              <a:latin typeface="+mj-lt"/>
              <a:cs typeface="Arial"/>
            </a:endParaRPr>
          </a:p>
          <a:p>
            <a:pPr marL="612876" marR="618974" algn="ctr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2</a:t>
            </a:r>
            <a:endParaRPr sz="700">
              <a:latin typeface="+mj-lt"/>
              <a:cs typeface="Arial"/>
            </a:endParaRPr>
          </a:p>
          <a:p>
            <a:pPr marL="612876" marR="618974" algn="ctr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1</a:t>
            </a:r>
            <a:endParaRPr sz="700">
              <a:latin typeface="+mj-lt"/>
              <a:cs typeface="Arial"/>
            </a:endParaRPr>
          </a:p>
          <a:p>
            <a:pPr marL="612876" marR="618974" algn="ctr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3</a:t>
            </a:r>
            <a:endParaRPr sz="700">
              <a:latin typeface="+mj-lt"/>
              <a:cs typeface="Arial"/>
            </a:endParaRPr>
          </a:p>
          <a:p>
            <a:pPr marL="612876" marR="618974" algn="ctr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1</a:t>
            </a:r>
            <a:endParaRPr sz="700">
              <a:latin typeface="+mj-lt"/>
              <a:cs typeface="Arial"/>
            </a:endParaRPr>
          </a:p>
          <a:p>
            <a:pPr marL="612876" marR="618974" algn="ctr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2</a:t>
            </a:r>
            <a:endParaRPr sz="700">
              <a:latin typeface="+mj-lt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070304" y="1797637"/>
            <a:ext cx="1038085" cy="10958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79373">
              <a:lnSpc>
                <a:spcPct val="95825"/>
              </a:lnSpc>
              <a:spcBef>
                <a:spcPts val="185"/>
              </a:spcBef>
            </a:pPr>
            <a:r>
              <a:rPr sz="700" spc="0" dirty="0" smtClean="0">
                <a:latin typeface="+mj-lt"/>
                <a:cs typeface="Arial"/>
              </a:rPr>
              <a:t>4/13</a:t>
            </a:r>
            <a:endParaRPr sz="700">
              <a:latin typeface="+mj-lt"/>
              <a:cs typeface="Arial"/>
            </a:endParaRPr>
          </a:p>
          <a:p>
            <a:pPr marL="279373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4/13</a:t>
            </a:r>
            <a:endParaRPr sz="700">
              <a:latin typeface="+mj-lt"/>
              <a:cs typeface="Arial"/>
            </a:endParaRPr>
          </a:p>
          <a:p>
            <a:pPr marL="279373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4/13</a:t>
            </a:r>
            <a:endParaRPr sz="700">
              <a:latin typeface="+mj-lt"/>
              <a:cs typeface="Arial"/>
            </a:endParaRPr>
          </a:p>
          <a:p>
            <a:pPr marL="279373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4/10</a:t>
            </a:r>
            <a:endParaRPr sz="700">
              <a:latin typeface="+mj-lt"/>
              <a:cs typeface="Arial"/>
            </a:endParaRPr>
          </a:p>
          <a:p>
            <a:pPr marL="279373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4/15</a:t>
            </a:r>
            <a:endParaRPr sz="700">
              <a:latin typeface="+mj-lt"/>
              <a:cs typeface="Arial"/>
            </a:endParaRPr>
          </a:p>
          <a:p>
            <a:pPr marL="279373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4/12</a:t>
            </a:r>
            <a:endParaRPr sz="700">
              <a:latin typeface="+mj-lt"/>
              <a:cs typeface="Arial"/>
            </a:endParaRPr>
          </a:p>
          <a:p>
            <a:pPr marL="279373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4/16</a:t>
            </a:r>
            <a:endParaRPr sz="700">
              <a:latin typeface="+mj-lt"/>
              <a:cs typeface="Arial"/>
            </a:endParaRPr>
          </a:p>
          <a:p>
            <a:pPr marL="279373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4/13</a:t>
            </a:r>
            <a:endParaRPr sz="700">
              <a:latin typeface="+mj-lt"/>
              <a:cs typeface="Arial"/>
            </a:endParaRPr>
          </a:p>
          <a:p>
            <a:pPr marL="279373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4/09</a:t>
            </a:r>
            <a:endParaRPr sz="700">
              <a:latin typeface="+mj-lt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7108388" y="1797637"/>
            <a:ext cx="1081030" cy="10958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29957" marR="448155" indent="0" algn="ctr">
              <a:lnSpc>
                <a:spcPts val="804"/>
              </a:lnSpc>
              <a:spcBef>
                <a:spcPts val="185"/>
              </a:spcBef>
            </a:pPr>
            <a:r>
              <a:rPr sz="700" spc="0" dirty="0" smtClean="0">
                <a:latin typeface="+mj-lt"/>
                <a:cs typeface="Arial"/>
              </a:rPr>
              <a:t>O O C O C C C C C</a:t>
            </a:r>
            <a:endParaRPr sz="700">
              <a:latin typeface="+mj-lt"/>
              <a:cs typeface="Arial"/>
            </a:endParaRPr>
          </a:p>
        </p:txBody>
      </p:sp>
      <p:sp>
        <p:nvSpPr>
          <p:cNvPr id="241" name="Title 24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w Distribution Using a Highly Non Unique Index </a:t>
            </a:r>
            <a:endParaRPr lang="en-US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9"/>
          <p:cNvSpPr/>
          <p:nvPr/>
        </p:nvSpPr>
        <p:spPr>
          <a:xfrm>
            <a:off x="1" y="649225"/>
            <a:ext cx="9906000" cy="8336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58964" y="6443182"/>
            <a:ext cx="1310641" cy="32068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" y="6362700"/>
            <a:ext cx="9905998" cy="0"/>
          </a:xfrm>
          <a:custGeom>
            <a:avLst/>
            <a:gdLst/>
            <a:ahLst/>
            <a:cxnLst/>
            <a:rect l="l" t="t" r="r" b="b"/>
            <a:pathLst>
              <a:path w="9905998">
                <a:moveTo>
                  <a:pt x="990599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7389622" y="6666386"/>
            <a:ext cx="2309483" cy="1159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25"/>
              </a:spcBef>
            </a:pP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Co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p</a:t>
            </a:r>
            <a:r>
              <a:rPr sz="700" spc="-25" dirty="0" smtClean="0">
                <a:solidFill>
                  <a:srgbClr val="998B85"/>
                </a:solidFill>
                <a:latin typeface="Arial"/>
                <a:cs typeface="Arial"/>
              </a:rPr>
              <a:t>y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r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ig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h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t</a:t>
            </a:r>
            <a:r>
              <a:rPr sz="700" spc="14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©</a:t>
            </a:r>
            <a:r>
              <a:rPr sz="700" spc="-5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C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apge</a:t>
            </a:r>
            <a:r>
              <a:rPr sz="700" spc="9" dirty="0" smtClean="0">
                <a:solidFill>
                  <a:srgbClr val="998B85"/>
                </a:solidFill>
                <a:latin typeface="Arial"/>
                <a:cs typeface="Arial"/>
              </a:rPr>
              <a:t>m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ini</a:t>
            </a:r>
            <a:r>
              <a:rPr sz="700" spc="-23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2013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.</a:t>
            </a:r>
            <a:r>
              <a:rPr sz="700" spc="2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4" dirty="0" smtClean="0">
                <a:solidFill>
                  <a:srgbClr val="998B85"/>
                </a:solidFill>
                <a:latin typeface="Arial"/>
                <a:cs typeface="Arial"/>
              </a:rPr>
              <a:t>A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ll</a:t>
            </a:r>
            <a:r>
              <a:rPr sz="700" spc="-17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Ri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gh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ts Res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er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v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e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d       </a:t>
            </a:r>
            <a:r>
              <a:rPr sz="700" spc="59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15</a:t>
            </a:r>
            <a:endParaRPr sz="70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2" y="6223000"/>
            <a:ext cx="9905998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4" name="Title 1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econdary Indexes</a:t>
            </a:r>
            <a:endParaRPr lang="en-US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dirty="0"/>
              <a:t>A secondary index is an alternate path to the rows of a table.</a:t>
            </a:r>
          </a:p>
          <a:p>
            <a:pPr lvl="1"/>
            <a:r>
              <a:rPr lang="en-US" dirty="0"/>
              <a:t>A table can have from 0 to 32 secondary indexes. Secondary indexes:</a:t>
            </a:r>
          </a:p>
          <a:p>
            <a:pPr lvl="2"/>
            <a:r>
              <a:rPr lang="en-US" dirty="0"/>
              <a:t>Do not affect table distribution.</a:t>
            </a:r>
          </a:p>
          <a:p>
            <a:pPr lvl="2"/>
            <a:r>
              <a:rPr lang="en-US" dirty="0"/>
              <a:t>Add overhead, both in terms of disk space and maintenance.</a:t>
            </a:r>
          </a:p>
          <a:p>
            <a:pPr lvl="2"/>
            <a:r>
              <a:rPr lang="en-US" dirty="0"/>
              <a:t>May be added or dropped dynamically as needed. Are chosen to improve table performance.</a:t>
            </a:r>
          </a:p>
          <a:p>
            <a:endParaRPr lang="en-US" dirty="0"/>
          </a:p>
        </p:txBody>
      </p:sp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ondary Indexes</a:t>
            </a:r>
          </a:p>
        </p:txBody>
      </p:sp>
      <p:sp>
        <p:nvSpPr>
          <p:cNvPr id="15" name="object 15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619104" y="3556000"/>
            <a:ext cx="8803005" cy="203352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marL="135762">
              <a:lnSpc>
                <a:spcPct val="97696"/>
              </a:lnSpc>
              <a:spcBef>
                <a:spcPts val="345"/>
              </a:spcBef>
            </a:pP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700" spc="-9" dirty="0" smtClean="0">
                <a:solidFill>
                  <a:srgbClr val="253046"/>
                </a:solidFill>
                <a:latin typeface="+mj-lt"/>
                <a:cs typeface="Cambria"/>
              </a:rPr>
              <a:t>h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700" spc="-25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700" spc="-2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700" spc="-25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7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h</a:t>
            </a:r>
            <a:r>
              <a:rPr sz="1700" spc="-1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e</a:t>
            </a:r>
            <a:r>
              <a:rPr sz="17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g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700" spc="-9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700" spc="-25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al</a:t>
            </a:r>
            <a:r>
              <a:rPr sz="1700" spc="-39" dirty="0" smtClean="0">
                <a:solidFill>
                  <a:srgbClr val="253046"/>
                </a:solidFill>
                <a:latin typeface="+mj-lt"/>
                <a:cs typeface="Cambria"/>
              </a:rPr>
              <a:t> wa</a:t>
            </a:r>
            <a:r>
              <a:rPr sz="1700" spc="-19" dirty="0" smtClean="0">
                <a:solidFill>
                  <a:srgbClr val="253046"/>
                </a:solidFill>
                <a:latin typeface="+mj-lt"/>
                <a:cs typeface="Cambria"/>
              </a:rPr>
              <a:t>y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s </a:t>
            </a:r>
            <a:r>
              <a:rPr sz="1700" spc="-1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-9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7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700" spc="-2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7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b</a:t>
            </a:r>
            <a:r>
              <a:rPr sz="1700" spc="4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:</a:t>
            </a:r>
            <a:endParaRPr sz="1700" dirty="0">
              <a:latin typeface="+mj-lt"/>
              <a:cs typeface="Cambria"/>
            </a:endParaRPr>
          </a:p>
          <a:p>
            <a:pPr marL="135762">
              <a:lnSpc>
                <a:spcPct val="102091"/>
              </a:lnSpc>
              <a:spcBef>
                <a:spcPts val="973"/>
              </a:spcBef>
            </a:pPr>
            <a:r>
              <a:rPr sz="1700" spc="0" dirty="0" smtClean="0">
                <a:solidFill>
                  <a:srgbClr val="253046"/>
                </a:solidFill>
                <a:latin typeface="+mj-lt"/>
                <a:cs typeface="Symbol"/>
              </a:rPr>
              <a:t></a:t>
            </a:r>
            <a:r>
              <a:rPr sz="1700" spc="315" dirty="0" smtClean="0">
                <a:solidFill>
                  <a:srgbClr val="253046"/>
                </a:solidFill>
                <a:latin typeface="+mj-lt"/>
                <a:cs typeface="Times New Roman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P</a:t>
            </a:r>
            <a:r>
              <a:rPr sz="1700" spc="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ry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 i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nd</a:t>
            </a:r>
            <a:r>
              <a:rPr sz="1700" spc="-25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x</a:t>
            </a:r>
            <a:r>
              <a:rPr sz="17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ac</a:t>
            </a:r>
            <a:r>
              <a:rPr sz="17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ss              </a:t>
            </a:r>
            <a:r>
              <a:rPr sz="1700" spc="175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(</a:t>
            </a:r>
            <a:r>
              <a:rPr sz="1700" i="1" spc="0" dirty="0" smtClean="0">
                <a:solidFill>
                  <a:srgbClr val="253046"/>
                </a:solidFill>
                <a:latin typeface="+mj-lt"/>
                <a:cs typeface="Cambria"/>
              </a:rPr>
              <a:t>one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-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MP</a:t>
            </a:r>
            <a:r>
              <a:rPr sz="17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ac</a:t>
            </a:r>
            <a:r>
              <a:rPr sz="17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ss)</a:t>
            </a:r>
            <a:endParaRPr sz="1700" dirty="0">
              <a:latin typeface="+mj-lt"/>
              <a:cs typeface="Cambria"/>
            </a:endParaRPr>
          </a:p>
          <a:p>
            <a:pPr marL="135762">
              <a:lnSpc>
                <a:spcPct val="102091"/>
              </a:lnSpc>
              <a:spcBef>
                <a:spcPts val="973"/>
              </a:spcBef>
            </a:pPr>
            <a:r>
              <a:rPr sz="1700" spc="0" dirty="0" smtClean="0">
                <a:solidFill>
                  <a:srgbClr val="253046"/>
                </a:solidFill>
                <a:latin typeface="+mj-lt"/>
                <a:cs typeface="Symbol"/>
              </a:rPr>
              <a:t></a:t>
            </a:r>
            <a:r>
              <a:rPr sz="1700" spc="315" dirty="0" smtClean="0">
                <a:solidFill>
                  <a:srgbClr val="253046"/>
                </a:solidFill>
                <a:latin typeface="+mj-lt"/>
                <a:cs typeface="Times New Roman"/>
              </a:rPr>
              <a:t> 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co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dary</a:t>
            </a:r>
            <a:r>
              <a:rPr sz="17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nd</a:t>
            </a:r>
            <a:r>
              <a:rPr sz="1700" spc="-25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x ac</a:t>
            </a:r>
            <a:r>
              <a:rPr sz="17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ss          </a:t>
            </a:r>
            <a:r>
              <a:rPr sz="1700" spc="1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(</a:t>
            </a:r>
            <a:r>
              <a:rPr sz="1700" i="1" spc="1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700" i="1" spc="-14" dirty="0" smtClean="0">
                <a:solidFill>
                  <a:srgbClr val="253046"/>
                </a:solidFill>
                <a:latin typeface="+mj-lt"/>
                <a:cs typeface="Cambria"/>
              </a:rPr>
              <a:t>w</a:t>
            </a:r>
            <a:r>
              <a:rPr sz="1700" i="1" spc="4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-or</a:t>
            </a:r>
            <a:r>
              <a:rPr sz="1700" spc="-1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i="1" spc="0" dirty="0" smtClean="0">
                <a:solidFill>
                  <a:srgbClr val="253046"/>
                </a:solidFill>
                <a:latin typeface="+mj-lt"/>
                <a:cs typeface="Cambria"/>
              </a:rPr>
              <a:t>al</a:t>
            </a:r>
            <a:r>
              <a:rPr sz="1700" i="1" spc="4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-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MP</a:t>
            </a:r>
            <a:r>
              <a:rPr sz="17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ac</a:t>
            </a:r>
            <a:r>
              <a:rPr sz="17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ss)</a:t>
            </a:r>
            <a:endParaRPr sz="1700" dirty="0">
              <a:latin typeface="+mj-lt"/>
              <a:cs typeface="Cambria"/>
            </a:endParaRPr>
          </a:p>
          <a:p>
            <a:pPr marL="135762">
              <a:lnSpc>
                <a:spcPct val="102091"/>
              </a:lnSpc>
              <a:spcBef>
                <a:spcPts val="975"/>
              </a:spcBef>
            </a:pPr>
            <a:r>
              <a:rPr sz="1700" spc="0" dirty="0" smtClean="0">
                <a:solidFill>
                  <a:srgbClr val="253046"/>
                </a:solidFill>
                <a:latin typeface="+mj-lt"/>
                <a:cs typeface="Symbol"/>
              </a:rPr>
              <a:t></a:t>
            </a:r>
            <a:r>
              <a:rPr sz="1700" spc="315" dirty="0" smtClean="0">
                <a:solidFill>
                  <a:srgbClr val="253046"/>
                </a:solidFill>
                <a:latin typeface="+mj-lt"/>
                <a:cs typeface="Times New Roman"/>
              </a:rPr>
              <a:t> </a:t>
            </a:r>
            <a:r>
              <a:rPr sz="1700" spc="-25" dirty="0" smtClean="0">
                <a:solidFill>
                  <a:srgbClr val="253046"/>
                </a:solidFill>
                <a:latin typeface="+mj-lt"/>
                <a:cs typeface="Cambria"/>
              </a:rPr>
              <a:t>F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ull</a:t>
            </a:r>
            <a:r>
              <a:rPr sz="1700" spc="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-13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ab</a:t>
            </a:r>
            <a:r>
              <a:rPr sz="1700" spc="4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7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can                          </a:t>
            </a:r>
            <a:r>
              <a:rPr sz="1700" spc="20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(</a:t>
            </a:r>
            <a:r>
              <a:rPr sz="1700" i="1" spc="0" dirty="0" smtClean="0">
                <a:solidFill>
                  <a:srgbClr val="253046"/>
                </a:solidFill>
                <a:latin typeface="+mj-lt"/>
                <a:cs typeface="Cambria"/>
              </a:rPr>
              <a:t>al</a:t>
            </a:r>
            <a:r>
              <a:rPr sz="1700" i="1" spc="4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-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MP</a:t>
            </a:r>
            <a:r>
              <a:rPr sz="17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ac</a:t>
            </a:r>
            <a:r>
              <a:rPr sz="17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ss)</a:t>
            </a:r>
            <a:endParaRPr sz="1700" dirty="0">
              <a:latin typeface="+mj-lt"/>
              <a:cs typeface="Cambria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object 35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678738" y="5410200"/>
            <a:ext cx="9050655" cy="954747"/>
          </a:xfrm>
          <a:custGeom>
            <a:avLst/>
            <a:gdLst/>
            <a:ahLst/>
            <a:cxnLst/>
            <a:rect l="l" t="t" r="r" b="b"/>
            <a:pathLst>
              <a:path w="9050655" h="954747">
                <a:moveTo>
                  <a:pt x="0" y="954747"/>
                </a:moveTo>
                <a:lnTo>
                  <a:pt x="9050655" y="954747"/>
                </a:lnTo>
                <a:lnTo>
                  <a:pt x="9050655" y="0"/>
                </a:lnTo>
                <a:lnTo>
                  <a:pt x="0" y="0"/>
                </a:lnTo>
                <a:lnTo>
                  <a:pt x="0" y="954747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632880" y="2579484"/>
            <a:ext cx="9124062" cy="631583"/>
          </a:xfrm>
          <a:custGeom>
            <a:avLst/>
            <a:gdLst/>
            <a:ahLst/>
            <a:cxnLst/>
            <a:rect l="l" t="t" r="r" b="b"/>
            <a:pathLst>
              <a:path w="9124061" h="631583">
                <a:moveTo>
                  <a:pt x="0" y="631583"/>
                </a:moveTo>
                <a:lnTo>
                  <a:pt x="9124061" y="631583"/>
                </a:lnTo>
                <a:lnTo>
                  <a:pt x="9124061" y="0"/>
                </a:lnTo>
                <a:lnTo>
                  <a:pt x="0" y="0"/>
                </a:lnTo>
                <a:lnTo>
                  <a:pt x="0" y="631583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678751" y="3635616"/>
            <a:ext cx="9030081" cy="631583"/>
          </a:xfrm>
          <a:custGeom>
            <a:avLst/>
            <a:gdLst/>
            <a:ahLst/>
            <a:cxnLst/>
            <a:rect l="l" t="t" r="r" b="b"/>
            <a:pathLst>
              <a:path w="9030081" h="631583">
                <a:moveTo>
                  <a:pt x="0" y="631583"/>
                </a:moveTo>
                <a:lnTo>
                  <a:pt x="9030081" y="631583"/>
                </a:lnTo>
                <a:lnTo>
                  <a:pt x="9030081" y="0"/>
                </a:lnTo>
                <a:lnTo>
                  <a:pt x="0" y="0"/>
                </a:lnTo>
                <a:lnTo>
                  <a:pt x="0" y="631583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660401" y="4648188"/>
            <a:ext cx="3962400" cy="631583"/>
          </a:xfrm>
          <a:custGeom>
            <a:avLst/>
            <a:gdLst/>
            <a:ahLst/>
            <a:cxnLst/>
            <a:rect l="l" t="t" r="r" b="b"/>
            <a:pathLst>
              <a:path w="3962400" h="631583">
                <a:moveTo>
                  <a:pt x="0" y="631583"/>
                </a:moveTo>
                <a:lnTo>
                  <a:pt x="3962400" y="631583"/>
                </a:lnTo>
                <a:lnTo>
                  <a:pt x="3962400" y="0"/>
                </a:lnTo>
                <a:lnTo>
                  <a:pt x="0" y="0"/>
                </a:lnTo>
                <a:lnTo>
                  <a:pt x="0" y="631583"/>
                </a:lnTo>
                <a:close/>
              </a:path>
            </a:pathLst>
          </a:custGeom>
          <a:solidFill>
            <a:srgbClr val="99FFCC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660401" y="4648188"/>
            <a:ext cx="3962400" cy="631583"/>
          </a:xfrm>
          <a:custGeom>
            <a:avLst/>
            <a:gdLst/>
            <a:ahLst/>
            <a:cxnLst/>
            <a:rect l="l" t="t" r="r" b="b"/>
            <a:pathLst>
              <a:path w="3962400" h="631583">
                <a:moveTo>
                  <a:pt x="0" y="631583"/>
                </a:moveTo>
                <a:lnTo>
                  <a:pt x="3962400" y="631583"/>
                </a:lnTo>
                <a:lnTo>
                  <a:pt x="3962400" y="0"/>
                </a:lnTo>
                <a:lnTo>
                  <a:pt x="0" y="0"/>
                </a:lnTo>
                <a:lnTo>
                  <a:pt x="0" y="631583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4728338" y="4648188"/>
            <a:ext cx="5012563" cy="631583"/>
          </a:xfrm>
          <a:custGeom>
            <a:avLst/>
            <a:gdLst/>
            <a:ahLst/>
            <a:cxnLst/>
            <a:rect l="l" t="t" r="r" b="b"/>
            <a:pathLst>
              <a:path w="5012563" h="631583">
                <a:moveTo>
                  <a:pt x="0" y="631583"/>
                </a:moveTo>
                <a:lnTo>
                  <a:pt x="5012563" y="631583"/>
                </a:lnTo>
                <a:lnTo>
                  <a:pt x="5012563" y="0"/>
                </a:lnTo>
                <a:lnTo>
                  <a:pt x="0" y="0"/>
                </a:lnTo>
                <a:lnTo>
                  <a:pt x="0" y="631583"/>
                </a:lnTo>
                <a:close/>
              </a:path>
            </a:pathLst>
          </a:custGeom>
          <a:solidFill>
            <a:srgbClr val="99FFCC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4728338" y="4648188"/>
            <a:ext cx="5012563" cy="631583"/>
          </a:xfrm>
          <a:custGeom>
            <a:avLst/>
            <a:gdLst/>
            <a:ahLst/>
            <a:cxnLst/>
            <a:rect l="l" t="t" r="r" b="b"/>
            <a:pathLst>
              <a:path w="5012563" h="631583">
                <a:moveTo>
                  <a:pt x="0" y="631583"/>
                </a:moveTo>
                <a:lnTo>
                  <a:pt x="5012563" y="631583"/>
                </a:lnTo>
                <a:lnTo>
                  <a:pt x="5012563" y="0"/>
                </a:lnTo>
                <a:lnTo>
                  <a:pt x="0" y="0"/>
                </a:lnTo>
                <a:lnTo>
                  <a:pt x="0" y="631583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526491" y="1283216"/>
            <a:ext cx="2687472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da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y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d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x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y be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de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f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d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: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322067" y="1283216"/>
            <a:ext cx="1464908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-&gt;</a:t>
            </a:r>
            <a:r>
              <a:rPr sz="1400" spc="-19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t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ble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at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n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393563" y="1283216"/>
            <a:ext cx="1357477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(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8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-10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B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LE)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270251" y="1581920"/>
            <a:ext cx="3433787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-&gt;</a:t>
            </a:r>
            <a:r>
              <a:rPr sz="1400" spc="292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-54" dirty="0" smtClean="0">
                <a:solidFill>
                  <a:srgbClr val="253046"/>
                </a:solidFill>
                <a:latin typeface="+mj-lt"/>
                <a:cs typeface="Cambria"/>
              </a:rPr>
              <a:t>F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l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w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g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ble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at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n</a:t>
            </a:r>
            <a:r>
              <a:rPr sz="1400" spc="297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(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8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D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X)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399792" y="1881005"/>
            <a:ext cx="210312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-&gt;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634146" y="1881005"/>
            <a:ext cx="1830862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ing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p to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16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l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029716" y="2358906"/>
            <a:ext cx="313950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USI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037337" y="3391543"/>
            <a:ext cx="435920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I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969975" y="4405638"/>
            <a:ext cx="313950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USI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447538" y="4448310"/>
            <a:ext cx="435920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I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78738" y="5410200"/>
            <a:ext cx="9050655" cy="9547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100">
              <a:lnSpc>
                <a:spcPct val="97696"/>
              </a:lnSpc>
              <a:spcBef>
                <a:spcPts val="400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o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:</a:t>
            </a:r>
            <a:endParaRPr sz="1400">
              <a:latin typeface="+mj-lt"/>
              <a:cs typeface="Cambria"/>
            </a:endParaRPr>
          </a:p>
          <a:p>
            <a:pPr marL="92100">
              <a:lnSpc>
                <a:spcPct val="102091"/>
              </a:lnSpc>
              <a:spcBef>
                <a:spcPts val="801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Symbol"/>
              </a:rPr>
              <a:t>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Times New Roman"/>
              </a:rPr>
              <a:t>  </a:t>
            </a:r>
            <a:r>
              <a:rPr sz="1400" spc="114" dirty="0" smtClean="0">
                <a:solidFill>
                  <a:srgbClr val="253046"/>
                </a:solidFill>
                <a:latin typeface="+mj-lt"/>
                <a:cs typeface="Times New Roman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econda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y</a:t>
            </a:r>
            <a:r>
              <a:rPr sz="14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d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x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s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use an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u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b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-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ble</a:t>
            </a:r>
            <a:r>
              <a:rPr sz="14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be b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400" spc="2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.</a:t>
            </a:r>
            <a:endParaRPr sz="1400">
              <a:latin typeface="+mj-lt"/>
              <a:cs typeface="Cambria"/>
            </a:endParaRPr>
          </a:p>
          <a:p>
            <a:pPr marL="92100">
              <a:lnSpc>
                <a:spcPct val="102091"/>
              </a:lnSpc>
              <a:spcBef>
                <a:spcPts val="801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Symbol"/>
              </a:rPr>
              <a:t>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Times New Roman"/>
              </a:rPr>
              <a:t>  </a:t>
            </a:r>
            <a:r>
              <a:rPr sz="1400" spc="114" dirty="0" smtClean="0">
                <a:solidFill>
                  <a:srgbClr val="253046"/>
                </a:solidFill>
                <a:latin typeface="+mj-lt"/>
                <a:cs typeface="Times New Roman"/>
              </a:rPr>
              <a:t> 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D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pping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th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d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x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uses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th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u</a:t>
            </a:r>
            <a:r>
              <a:rPr sz="1400" spc="14" dirty="0" smtClean="0">
                <a:solidFill>
                  <a:srgbClr val="253046"/>
                </a:solidFill>
                <a:latin typeface="+mj-lt"/>
                <a:cs typeface="Cambria"/>
              </a:rPr>
              <a:t>b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-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ble</a:t>
            </a:r>
            <a:r>
              <a:rPr sz="14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be de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d.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9729394" y="5410200"/>
            <a:ext cx="176606" cy="9547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60401" y="4648188"/>
            <a:ext cx="3962400" cy="63158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043266" marR="1042988" algn="ctr">
              <a:lnSpc>
                <a:spcPct val="97696"/>
              </a:lnSpc>
              <a:spcBef>
                <a:spcPts val="395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8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25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IQUE</a:t>
            </a:r>
            <a:r>
              <a:rPr sz="1400" spc="-25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D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X</a:t>
            </a:r>
            <a:endParaRPr sz="1400" dirty="0">
              <a:latin typeface="+mj-lt"/>
              <a:cs typeface="Cambria"/>
            </a:endParaRPr>
          </a:p>
          <a:p>
            <a:pPr marL="686650" marR="686198" algn="ctr">
              <a:lnSpc>
                <a:spcPct val="97696"/>
              </a:lnSpc>
              <a:spcBef>
                <a:spcPts val="878"/>
              </a:spcBef>
            </a:pP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(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pl</a:t>
            </a:r>
            <a:r>
              <a:rPr sz="1400" spc="-25" dirty="0" smtClean="0">
                <a:solidFill>
                  <a:srgbClr val="253046"/>
                </a:solidFill>
                <a:latin typeface="+mj-lt"/>
                <a:cs typeface="Cambria"/>
              </a:rPr>
              <a:t>oy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e-numbe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)</a:t>
            </a:r>
            <a:r>
              <a:rPr sz="1400" spc="-3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pl</a:t>
            </a:r>
            <a:r>
              <a:rPr sz="1400" spc="-25" dirty="0" smtClean="0">
                <a:solidFill>
                  <a:srgbClr val="253046"/>
                </a:solidFill>
                <a:latin typeface="+mj-lt"/>
                <a:cs typeface="Cambria"/>
              </a:rPr>
              <a:t>oy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e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728338" y="4622801"/>
            <a:ext cx="5012563" cy="63158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4615" marR="914083" algn="ctr">
              <a:lnSpc>
                <a:spcPct val="97696"/>
              </a:lnSpc>
              <a:spcBef>
                <a:spcPts val="395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8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25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D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X</a:t>
            </a:r>
            <a:r>
              <a:rPr sz="1400" spc="287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(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las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-n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)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n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pl</a:t>
            </a:r>
            <a:r>
              <a:rPr sz="1400" spc="-25" dirty="0" smtClean="0">
                <a:solidFill>
                  <a:srgbClr val="253046"/>
                </a:solidFill>
                <a:latin typeface="+mj-lt"/>
                <a:cs typeface="Cambria"/>
              </a:rPr>
              <a:t>oy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e</a:t>
            </a:r>
            <a:endParaRPr sz="1400" dirty="0">
              <a:latin typeface="+mj-lt"/>
              <a:cs typeface="Cambria"/>
            </a:endParaRPr>
          </a:p>
          <a:p>
            <a:pPr marL="499706" marR="499204" algn="ctr">
              <a:lnSpc>
                <a:spcPct val="97696"/>
              </a:lnSpc>
              <a:spcBef>
                <a:spcPts val="878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8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25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D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X</a:t>
            </a:r>
            <a:r>
              <a:rPr sz="14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(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-n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, fir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-n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)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n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mpl</a:t>
            </a:r>
            <a:r>
              <a:rPr sz="1400" spc="-25" dirty="0" smtClean="0">
                <a:solidFill>
                  <a:srgbClr val="253046"/>
                </a:solidFill>
                <a:latin typeface="+mj-lt"/>
                <a:cs typeface="Cambria"/>
              </a:rPr>
              <a:t>oy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e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78751" y="3635616"/>
            <a:ext cx="9030081" cy="63158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087">
              <a:lnSpc>
                <a:spcPct val="102091"/>
              </a:lnSpc>
              <a:spcBef>
                <a:spcPts val="315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Symbol"/>
              </a:rPr>
              <a:t>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Times New Roman"/>
              </a:rPr>
              <a:t>  </a:t>
            </a:r>
            <a:r>
              <a:rPr sz="1400" spc="114" dirty="0" smtClean="0">
                <a:solidFill>
                  <a:srgbClr val="253046"/>
                </a:solidFill>
                <a:latin typeface="+mj-lt"/>
                <a:cs typeface="Times New Roman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If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th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d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x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h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i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3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f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l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(s)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 n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-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iq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,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lled</a:t>
            </a:r>
            <a:r>
              <a:rPr sz="14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USI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(no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-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iq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da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y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d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x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).</a:t>
            </a:r>
            <a:endParaRPr sz="1400">
              <a:latin typeface="+mj-lt"/>
              <a:cs typeface="Cambria"/>
            </a:endParaRPr>
          </a:p>
          <a:p>
            <a:pPr marL="92087">
              <a:lnSpc>
                <a:spcPct val="102091"/>
              </a:lnSpc>
              <a:spcBef>
                <a:spcPts val="801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Symbol"/>
              </a:rPr>
              <a:t>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Times New Roman"/>
              </a:rPr>
              <a:t>  </a:t>
            </a:r>
            <a:r>
              <a:rPr sz="1400" spc="114" dirty="0" smtClean="0">
                <a:solidFill>
                  <a:srgbClr val="253046"/>
                </a:solidFill>
                <a:latin typeface="+mj-lt"/>
                <a:cs typeface="Times New Roman"/>
              </a:rPr>
              <a:t> 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ing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 </a:t>
            </a:r>
            <a:r>
              <a:rPr sz="1400" spc="-25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w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v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USI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qu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s a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M</a:t>
            </a:r>
            <a:r>
              <a:rPr sz="1400" spc="-19" dirty="0" smtClean="0">
                <a:solidFill>
                  <a:srgbClr val="253046"/>
                </a:solidFill>
                <a:latin typeface="+mj-lt"/>
                <a:cs typeface="Cambria"/>
              </a:rPr>
              <a:t>P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.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632880" y="2579484"/>
            <a:ext cx="9124062" cy="63158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40">
              <a:lnSpc>
                <a:spcPct val="102091"/>
              </a:lnSpc>
              <a:spcBef>
                <a:spcPts val="315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Symbol"/>
              </a:rPr>
              <a:t>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Times New Roman"/>
              </a:rPr>
              <a:t>  </a:t>
            </a:r>
            <a:r>
              <a:rPr sz="1400" spc="114" dirty="0" smtClean="0">
                <a:solidFill>
                  <a:srgbClr val="253046"/>
                </a:solidFill>
                <a:latin typeface="+mj-lt"/>
                <a:cs typeface="Times New Roman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If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th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d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x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h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i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3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f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l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(s)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 uniq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,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lled</a:t>
            </a:r>
            <a:r>
              <a:rPr sz="14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 </a:t>
            </a:r>
            <a:r>
              <a:rPr sz="1400" spc="3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USI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(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iq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da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y</a:t>
            </a:r>
            <a:r>
              <a:rPr sz="14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d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x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).</a:t>
            </a:r>
            <a:endParaRPr sz="1400">
              <a:latin typeface="+mj-lt"/>
              <a:cs typeface="Cambria"/>
            </a:endParaRPr>
          </a:p>
          <a:p>
            <a:pPr marL="92240">
              <a:lnSpc>
                <a:spcPct val="102091"/>
              </a:lnSpc>
              <a:spcBef>
                <a:spcPts val="801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Symbol"/>
              </a:rPr>
              <a:t>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Times New Roman"/>
              </a:rPr>
              <a:t>  </a:t>
            </a:r>
            <a:r>
              <a:rPr sz="1400" spc="114" dirty="0" smtClean="0">
                <a:solidFill>
                  <a:srgbClr val="253046"/>
                </a:solidFill>
                <a:latin typeface="+mj-lt"/>
                <a:cs typeface="Times New Roman"/>
              </a:rPr>
              <a:t> 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ing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 </a:t>
            </a:r>
            <a:r>
              <a:rPr sz="1400" spc="-25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w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v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 USI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 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yp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l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y</a:t>
            </a:r>
            <a:r>
              <a:rPr sz="1400" spc="-4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qu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s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2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M</a:t>
            </a:r>
            <a:r>
              <a:rPr sz="1400" spc="-19" dirty="0" smtClean="0">
                <a:solidFill>
                  <a:srgbClr val="253046"/>
                </a:solidFill>
                <a:latin typeface="+mj-lt"/>
                <a:cs typeface="Cambria"/>
              </a:rPr>
              <a:t>P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.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oosing a Secondary Index </a:t>
            </a:r>
            <a:endParaRPr lang="en-US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Title 34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nique Secondary Index (USI) Access </a:t>
            </a:r>
            <a:endParaRPr lang="en-US" dirty="0"/>
          </a:p>
        </p:txBody>
      </p:sp>
      <p:sp>
        <p:nvSpPr>
          <p:cNvPr id="281" name="object 281"/>
          <p:cNvSpPr/>
          <p:nvPr/>
        </p:nvSpPr>
        <p:spPr>
          <a:xfrm>
            <a:off x="1" y="649225"/>
            <a:ext cx="9906000" cy="8336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2" name="object 282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83" name="object 283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4" name="object 284"/>
          <p:cNvSpPr/>
          <p:nvPr/>
        </p:nvSpPr>
        <p:spPr>
          <a:xfrm>
            <a:off x="6105145" y="2078405"/>
            <a:ext cx="836968" cy="160731"/>
          </a:xfrm>
          <a:custGeom>
            <a:avLst/>
            <a:gdLst/>
            <a:ahLst/>
            <a:cxnLst/>
            <a:rect l="l" t="t" r="r" b="b"/>
            <a:pathLst>
              <a:path w="836968" h="160731">
                <a:moveTo>
                  <a:pt x="0" y="160731"/>
                </a:moveTo>
                <a:lnTo>
                  <a:pt x="836968" y="160731"/>
                </a:lnTo>
                <a:lnTo>
                  <a:pt x="836968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85" name="object 285"/>
          <p:cNvSpPr/>
          <p:nvPr/>
        </p:nvSpPr>
        <p:spPr>
          <a:xfrm>
            <a:off x="6105145" y="2078405"/>
            <a:ext cx="836968" cy="160731"/>
          </a:xfrm>
          <a:custGeom>
            <a:avLst/>
            <a:gdLst/>
            <a:ahLst/>
            <a:cxnLst/>
            <a:rect l="l" t="t" r="r" b="b"/>
            <a:pathLst>
              <a:path w="836968" h="160731">
                <a:moveTo>
                  <a:pt x="0" y="160731"/>
                </a:moveTo>
                <a:lnTo>
                  <a:pt x="836968" y="160731"/>
                </a:lnTo>
                <a:lnTo>
                  <a:pt x="836968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86" name="object 286"/>
          <p:cNvSpPr/>
          <p:nvPr/>
        </p:nvSpPr>
        <p:spPr>
          <a:xfrm>
            <a:off x="6105145" y="2240331"/>
            <a:ext cx="836968" cy="160731"/>
          </a:xfrm>
          <a:custGeom>
            <a:avLst/>
            <a:gdLst/>
            <a:ahLst/>
            <a:cxnLst/>
            <a:rect l="l" t="t" r="r" b="b"/>
            <a:pathLst>
              <a:path w="836968" h="160731">
                <a:moveTo>
                  <a:pt x="0" y="160731"/>
                </a:moveTo>
                <a:lnTo>
                  <a:pt x="836968" y="160731"/>
                </a:lnTo>
                <a:lnTo>
                  <a:pt x="836968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87" name="object 287"/>
          <p:cNvSpPr/>
          <p:nvPr/>
        </p:nvSpPr>
        <p:spPr>
          <a:xfrm>
            <a:off x="6105145" y="2240331"/>
            <a:ext cx="836968" cy="160731"/>
          </a:xfrm>
          <a:custGeom>
            <a:avLst/>
            <a:gdLst/>
            <a:ahLst/>
            <a:cxnLst/>
            <a:rect l="l" t="t" r="r" b="b"/>
            <a:pathLst>
              <a:path w="836968" h="160731">
                <a:moveTo>
                  <a:pt x="0" y="160731"/>
                </a:moveTo>
                <a:lnTo>
                  <a:pt x="836968" y="160731"/>
                </a:lnTo>
                <a:lnTo>
                  <a:pt x="836968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88" name="object 288"/>
          <p:cNvSpPr/>
          <p:nvPr/>
        </p:nvSpPr>
        <p:spPr>
          <a:xfrm>
            <a:off x="6942075" y="2078405"/>
            <a:ext cx="940155" cy="160731"/>
          </a:xfrm>
          <a:custGeom>
            <a:avLst/>
            <a:gdLst/>
            <a:ahLst/>
            <a:cxnLst/>
            <a:rect l="l" t="t" r="r" b="b"/>
            <a:pathLst>
              <a:path w="940155" h="160731">
                <a:moveTo>
                  <a:pt x="0" y="160731"/>
                </a:moveTo>
                <a:lnTo>
                  <a:pt x="940155" y="160731"/>
                </a:lnTo>
                <a:lnTo>
                  <a:pt x="940155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89" name="object 289"/>
          <p:cNvSpPr/>
          <p:nvPr/>
        </p:nvSpPr>
        <p:spPr>
          <a:xfrm>
            <a:off x="6942075" y="2078405"/>
            <a:ext cx="940155" cy="160731"/>
          </a:xfrm>
          <a:custGeom>
            <a:avLst/>
            <a:gdLst/>
            <a:ahLst/>
            <a:cxnLst/>
            <a:rect l="l" t="t" r="r" b="b"/>
            <a:pathLst>
              <a:path w="940155" h="160731">
                <a:moveTo>
                  <a:pt x="0" y="160731"/>
                </a:moveTo>
                <a:lnTo>
                  <a:pt x="940155" y="160731"/>
                </a:lnTo>
                <a:lnTo>
                  <a:pt x="940155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0" name="object 290"/>
          <p:cNvSpPr/>
          <p:nvPr/>
        </p:nvSpPr>
        <p:spPr>
          <a:xfrm>
            <a:off x="7905242" y="2078405"/>
            <a:ext cx="917219" cy="160731"/>
          </a:xfrm>
          <a:custGeom>
            <a:avLst/>
            <a:gdLst/>
            <a:ahLst/>
            <a:cxnLst/>
            <a:rect l="l" t="t" r="r" b="b"/>
            <a:pathLst>
              <a:path w="917219" h="160731">
                <a:moveTo>
                  <a:pt x="0" y="160731"/>
                </a:moveTo>
                <a:lnTo>
                  <a:pt x="917219" y="160731"/>
                </a:lnTo>
                <a:lnTo>
                  <a:pt x="917219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1" name="object 291"/>
          <p:cNvSpPr/>
          <p:nvPr/>
        </p:nvSpPr>
        <p:spPr>
          <a:xfrm>
            <a:off x="7905242" y="2078405"/>
            <a:ext cx="917219" cy="160731"/>
          </a:xfrm>
          <a:custGeom>
            <a:avLst/>
            <a:gdLst/>
            <a:ahLst/>
            <a:cxnLst/>
            <a:rect l="l" t="t" r="r" b="b"/>
            <a:pathLst>
              <a:path w="917219" h="160731">
                <a:moveTo>
                  <a:pt x="0" y="160731"/>
                </a:moveTo>
                <a:lnTo>
                  <a:pt x="917219" y="160731"/>
                </a:lnTo>
                <a:lnTo>
                  <a:pt x="917219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2" name="object 292"/>
          <p:cNvSpPr/>
          <p:nvPr/>
        </p:nvSpPr>
        <p:spPr>
          <a:xfrm>
            <a:off x="6942075" y="2240331"/>
            <a:ext cx="940155" cy="160731"/>
          </a:xfrm>
          <a:custGeom>
            <a:avLst/>
            <a:gdLst/>
            <a:ahLst/>
            <a:cxnLst/>
            <a:rect l="l" t="t" r="r" b="b"/>
            <a:pathLst>
              <a:path w="940155" h="160731">
                <a:moveTo>
                  <a:pt x="0" y="160731"/>
                </a:moveTo>
                <a:lnTo>
                  <a:pt x="940155" y="160731"/>
                </a:lnTo>
                <a:lnTo>
                  <a:pt x="940155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3" name="object 293"/>
          <p:cNvSpPr/>
          <p:nvPr/>
        </p:nvSpPr>
        <p:spPr>
          <a:xfrm>
            <a:off x="6942075" y="2240331"/>
            <a:ext cx="940155" cy="160731"/>
          </a:xfrm>
          <a:custGeom>
            <a:avLst/>
            <a:gdLst/>
            <a:ahLst/>
            <a:cxnLst/>
            <a:rect l="l" t="t" r="r" b="b"/>
            <a:pathLst>
              <a:path w="940155" h="160731">
                <a:moveTo>
                  <a:pt x="0" y="160731"/>
                </a:moveTo>
                <a:lnTo>
                  <a:pt x="940155" y="160731"/>
                </a:lnTo>
                <a:lnTo>
                  <a:pt x="940155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4" name="object 294"/>
          <p:cNvSpPr/>
          <p:nvPr/>
        </p:nvSpPr>
        <p:spPr>
          <a:xfrm>
            <a:off x="6410072" y="1585467"/>
            <a:ext cx="208788" cy="483362"/>
          </a:xfrm>
          <a:custGeom>
            <a:avLst/>
            <a:gdLst/>
            <a:ahLst/>
            <a:cxnLst/>
            <a:rect l="l" t="t" r="r" b="b"/>
            <a:pathLst>
              <a:path w="208787" h="483362">
                <a:moveTo>
                  <a:pt x="105536" y="483362"/>
                </a:moveTo>
                <a:lnTo>
                  <a:pt x="208787" y="241681"/>
                </a:lnTo>
                <a:lnTo>
                  <a:pt x="155955" y="241681"/>
                </a:lnTo>
                <a:lnTo>
                  <a:pt x="155955" y="0"/>
                </a:lnTo>
                <a:lnTo>
                  <a:pt x="52831" y="0"/>
                </a:lnTo>
                <a:lnTo>
                  <a:pt x="52831" y="241681"/>
                </a:lnTo>
                <a:lnTo>
                  <a:pt x="0" y="241681"/>
                </a:lnTo>
                <a:lnTo>
                  <a:pt x="105536" y="48336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5" name="object 295"/>
          <p:cNvSpPr/>
          <p:nvPr/>
        </p:nvSpPr>
        <p:spPr>
          <a:xfrm>
            <a:off x="7905242" y="2240331"/>
            <a:ext cx="917219" cy="160731"/>
          </a:xfrm>
          <a:custGeom>
            <a:avLst/>
            <a:gdLst/>
            <a:ahLst/>
            <a:cxnLst/>
            <a:rect l="l" t="t" r="r" b="b"/>
            <a:pathLst>
              <a:path w="917219" h="160731">
                <a:moveTo>
                  <a:pt x="0" y="160731"/>
                </a:moveTo>
                <a:lnTo>
                  <a:pt x="917219" y="160731"/>
                </a:lnTo>
                <a:lnTo>
                  <a:pt x="917219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6" name="object 296"/>
          <p:cNvSpPr/>
          <p:nvPr/>
        </p:nvSpPr>
        <p:spPr>
          <a:xfrm>
            <a:off x="7905242" y="2240331"/>
            <a:ext cx="917219" cy="160731"/>
          </a:xfrm>
          <a:custGeom>
            <a:avLst/>
            <a:gdLst/>
            <a:ahLst/>
            <a:cxnLst/>
            <a:rect l="l" t="t" r="r" b="b"/>
            <a:pathLst>
              <a:path w="917219" h="160731">
                <a:moveTo>
                  <a:pt x="0" y="160731"/>
                </a:moveTo>
                <a:lnTo>
                  <a:pt x="917219" y="160731"/>
                </a:lnTo>
                <a:lnTo>
                  <a:pt x="917219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7" name="object 297"/>
          <p:cNvSpPr/>
          <p:nvPr/>
        </p:nvSpPr>
        <p:spPr>
          <a:xfrm>
            <a:off x="6414770" y="1302119"/>
            <a:ext cx="1985772" cy="279793"/>
          </a:xfrm>
          <a:custGeom>
            <a:avLst/>
            <a:gdLst/>
            <a:ahLst/>
            <a:cxnLst/>
            <a:rect l="l" t="t" r="r" b="b"/>
            <a:pathLst>
              <a:path w="1985772" h="279793">
                <a:moveTo>
                  <a:pt x="0" y="279793"/>
                </a:moveTo>
                <a:lnTo>
                  <a:pt x="1985772" y="279793"/>
                </a:lnTo>
                <a:lnTo>
                  <a:pt x="1985772" y="0"/>
                </a:lnTo>
                <a:lnTo>
                  <a:pt x="0" y="0"/>
                </a:lnTo>
                <a:lnTo>
                  <a:pt x="0" y="279793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8" name="object 298"/>
          <p:cNvSpPr/>
          <p:nvPr/>
        </p:nvSpPr>
        <p:spPr>
          <a:xfrm>
            <a:off x="6414770" y="1302119"/>
            <a:ext cx="1985772" cy="279793"/>
          </a:xfrm>
          <a:custGeom>
            <a:avLst/>
            <a:gdLst/>
            <a:ahLst/>
            <a:cxnLst/>
            <a:rect l="l" t="t" r="r" b="b"/>
            <a:pathLst>
              <a:path w="1985772" h="279793">
                <a:moveTo>
                  <a:pt x="0" y="279793"/>
                </a:moveTo>
                <a:lnTo>
                  <a:pt x="1985772" y="279793"/>
                </a:lnTo>
                <a:lnTo>
                  <a:pt x="1985772" y="0"/>
                </a:lnTo>
                <a:lnTo>
                  <a:pt x="0" y="0"/>
                </a:lnTo>
                <a:lnTo>
                  <a:pt x="0" y="279793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9" name="object 299"/>
          <p:cNvSpPr/>
          <p:nvPr/>
        </p:nvSpPr>
        <p:spPr>
          <a:xfrm>
            <a:off x="6419342" y="1010400"/>
            <a:ext cx="1985772" cy="279793"/>
          </a:xfrm>
          <a:custGeom>
            <a:avLst/>
            <a:gdLst/>
            <a:ahLst/>
            <a:cxnLst/>
            <a:rect l="l" t="t" r="r" b="b"/>
            <a:pathLst>
              <a:path w="1985771" h="279793">
                <a:moveTo>
                  <a:pt x="0" y="279793"/>
                </a:moveTo>
                <a:lnTo>
                  <a:pt x="1985771" y="279793"/>
                </a:lnTo>
                <a:lnTo>
                  <a:pt x="1985771" y="0"/>
                </a:lnTo>
                <a:lnTo>
                  <a:pt x="0" y="0"/>
                </a:lnTo>
                <a:lnTo>
                  <a:pt x="0" y="279793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0" name="object 300"/>
          <p:cNvSpPr/>
          <p:nvPr/>
        </p:nvSpPr>
        <p:spPr>
          <a:xfrm>
            <a:off x="6419342" y="1010400"/>
            <a:ext cx="1985772" cy="279793"/>
          </a:xfrm>
          <a:custGeom>
            <a:avLst/>
            <a:gdLst/>
            <a:ahLst/>
            <a:cxnLst/>
            <a:rect l="l" t="t" r="r" b="b"/>
            <a:pathLst>
              <a:path w="1985771" h="279793">
                <a:moveTo>
                  <a:pt x="0" y="279793"/>
                </a:moveTo>
                <a:lnTo>
                  <a:pt x="1985771" y="279793"/>
                </a:lnTo>
                <a:lnTo>
                  <a:pt x="1985771" y="0"/>
                </a:lnTo>
                <a:lnTo>
                  <a:pt x="0" y="0"/>
                </a:lnTo>
                <a:lnTo>
                  <a:pt x="0" y="279793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1" name="object 301"/>
          <p:cNvSpPr/>
          <p:nvPr/>
        </p:nvSpPr>
        <p:spPr>
          <a:xfrm>
            <a:off x="4277615" y="1314069"/>
            <a:ext cx="1749551" cy="357123"/>
          </a:xfrm>
          <a:custGeom>
            <a:avLst/>
            <a:gdLst/>
            <a:ahLst/>
            <a:cxnLst/>
            <a:rect l="l" t="t" r="r" b="b"/>
            <a:pathLst>
              <a:path w="1749552" h="357123">
                <a:moveTo>
                  <a:pt x="0" y="357123"/>
                </a:moveTo>
                <a:lnTo>
                  <a:pt x="1749552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2" name="object 302"/>
          <p:cNvSpPr/>
          <p:nvPr/>
        </p:nvSpPr>
        <p:spPr>
          <a:xfrm>
            <a:off x="5813934" y="1280668"/>
            <a:ext cx="389763" cy="106045"/>
          </a:xfrm>
          <a:custGeom>
            <a:avLst/>
            <a:gdLst/>
            <a:ahLst/>
            <a:cxnLst/>
            <a:rect l="l" t="t" r="r" b="b"/>
            <a:pathLst>
              <a:path w="389763" h="106045">
                <a:moveTo>
                  <a:pt x="389763" y="0"/>
                </a:moveTo>
                <a:lnTo>
                  <a:pt x="0" y="34544"/>
                </a:lnTo>
                <a:lnTo>
                  <a:pt x="91693" y="106045"/>
                </a:lnTo>
                <a:lnTo>
                  <a:pt x="38976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3" name="object 303"/>
          <p:cNvSpPr/>
          <p:nvPr/>
        </p:nvSpPr>
        <p:spPr>
          <a:xfrm>
            <a:off x="7247128" y="1585468"/>
            <a:ext cx="417322" cy="107187"/>
          </a:xfrm>
          <a:custGeom>
            <a:avLst/>
            <a:gdLst/>
            <a:ahLst/>
            <a:cxnLst/>
            <a:rect l="l" t="t" r="r" b="b"/>
            <a:pathLst>
              <a:path w="417322" h="107187">
                <a:moveTo>
                  <a:pt x="208661" y="107187"/>
                </a:moveTo>
                <a:lnTo>
                  <a:pt x="417322" y="53594"/>
                </a:lnTo>
                <a:lnTo>
                  <a:pt x="314071" y="53594"/>
                </a:lnTo>
                <a:lnTo>
                  <a:pt x="314071" y="0"/>
                </a:lnTo>
                <a:lnTo>
                  <a:pt x="103124" y="0"/>
                </a:lnTo>
                <a:lnTo>
                  <a:pt x="103124" y="53594"/>
                </a:lnTo>
                <a:lnTo>
                  <a:pt x="0" y="53594"/>
                </a:lnTo>
                <a:lnTo>
                  <a:pt x="208661" y="1071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4" name="object 304"/>
          <p:cNvSpPr/>
          <p:nvPr/>
        </p:nvSpPr>
        <p:spPr>
          <a:xfrm>
            <a:off x="7247128" y="1965326"/>
            <a:ext cx="417322" cy="107187"/>
          </a:xfrm>
          <a:custGeom>
            <a:avLst/>
            <a:gdLst/>
            <a:ahLst/>
            <a:cxnLst/>
            <a:rect l="l" t="t" r="r" b="b"/>
            <a:pathLst>
              <a:path w="417322" h="107187">
                <a:moveTo>
                  <a:pt x="208661" y="107187"/>
                </a:moveTo>
                <a:lnTo>
                  <a:pt x="417322" y="53594"/>
                </a:lnTo>
                <a:lnTo>
                  <a:pt x="314071" y="53594"/>
                </a:lnTo>
                <a:lnTo>
                  <a:pt x="314071" y="0"/>
                </a:lnTo>
                <a:lnTo>
                  <a:pt x="103124" y="0"/>
                </a:lnTo>
                <a:lnTo>
                  <a:pt x="103124" y="53594"/>
                </a:lnTo>
                <a:lnTo>
                  <a:pt x="0" y="53594"/>
                </a:lnTo>
                <a:lnTo>
                  <a:pt x="208661" y="1071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5" name="object 305"/>
          <p:cNvSpPr/>
          <p:nvPr/>
        </p:nvSpPr>
        <p:spPr>
          <a:xfrm>
            <a:off x="8187310" y="1585467"/>
            <a:ext cx="208661" cy="483362"/>
          </a:xfrm>
          <a:custGeom>
            <a:avLst/>
            <a:gdLst/>
            <a:ahLst/>
            <a:cxnLst/>
            <a:rect l="l" t="t" r="r" b="b"/>
            <a:pathLst>
              <a:path w="208661" h="483362">
                <a:moveTo>
                  <a:pt x="105410" y="483362"/>
                </a:moveTo>
                <a:lnTo>
                  <a:pt x="208661" y="241681"/>
                </a:lnTo>
                <a:lnTo>
                  <a:pt x="158115" y="241681"/>
                </a:lnTo>
                <a:lnTo>
                  <a:pt x="158115" y="0"/>
                </a:lnTo>
                <a:lnTo>
                  <a:pt x="52705" y="0"/>
                </a:lnTo>
                <a:lnTo>
                  <a:pt x="52705" y="241681"/>
                </a:lnTo>
                <a:lnTo>
                  <a:pt x="0" y="241681"/>
                </a:lnTo>
                <a:lnTo>
                  <a:pt x="105410" y="48336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6" name="object 306"/>
          <p:cNvSpPr/>
          <p:nvPr/>
        </p:nvSpPr>
        <p:spPr>
          <a:xfrm>
            <a:off x="776098" y="2513037"/>
            <a:ext cx="8782431" cy="216700"/>
          </a:xfrm>
          <a:custGeom>
            <a:avLst/>
            <a:gdLst/>
            <a:ahLst/>
            <a:cxnLst/>
            <a:rect l="l" t="t" r="r" b="b"/>
            <a:pathLst>
              <a:path w="8782431" h="216700">
                <a:moveTo>
                  <a:pt x="0" y="216700"/>
                </a:moveTo>
                <a:lnTo>
                  <a:pt x="8782431" y="216700"/>
                </a:lnTo>
                <a:lnTo>
                  <a:pt x="8782431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7" name="object 307"/>
          <p:cNvSpPr/>
          <p:nvPr/>
        </p:nvSpPr>
        <p:spPr>
          <a:xfrm>
            <a:off x="776098" y="2513037"/>
            <a:ext cx="8782431" cy="216700"/>
          </a:xfrm>
          <a:custGeom>
            <a:avLst/>
            <a:gdLst/>
            <a:ahLst/>
            <a:cxnLst/>
            <a:rect l="l" t="t" r="r" b="b"/>
            <a:pathLst>
              <a:path w="8782431" h="216700">
                <a:moveTo>
                  <a:pt x="0" y="216700"/>
                </a:moveTo>
                <a:lnTo>
                  <a:pt x="8782431" y="216700"/>
                </a:lnTo>
                <a:lnTo>
                  <a:pt x="8782431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8" name="object 308"/>
          <p:cNvSpPr/>
          <p:nvPr/>
        </p:nvSpPr>
        <p:spPr>
          <a:xfrm>
            <a:off x="5378196" y="2839173"/>
            <a:ext cx="1880362" cy="216700"/>
          </a:xfrm>
          <a:custGeom>
            <a:avLst/>
            <a:gdLst/>
            <a:ahLst/>
            <a:cxnLst/>
            <a:rect l="l" t="t" r="r" b="b"/>
            <a:pathLst>
              <a:path w="1880361" h="216700">
                <a:moveTo>
                  <a:pt x="0" y="216700"/>
                </a:moveTo>
                <a:lnTo>
                  <a:pt x="1880361" y="216700"/>
                </a:lnTo>
                <a:lnTo>
                  <a:pt x="1880361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9" name="object 309"/>
          <p:cNvSpPr/>
          <p:nvPr/>
        </p:nvSpPr>
        <p:spPr>
          <a:xfrm>
            <a:off x="6100572" y="2726054"/>
            <a:ext cx="417322" cy="108458"/>
          </a:xfrm>
          <a:custGeom>
            <a:avLst/>
            <a:gdLst/>
            <a:ahLst/>
            <a:cxnLst/>
            <a:rect l="l" t="t" r="r" b="b"/>
            <a:pathLst>
              <a:path w="417322" h="108458">
                <a:moveTo>
                  <a:pt x="208661" y="108458"/>
                </a:moveTo>
                <a:lnTo>
                  <a:pt x="417322" y="53594"/>
                </a:lnTo>
                <a:lnTo>
                  <a:pt x="314198" y="53594"/>
                </a:lnTo>
                <a:lnTo>
                  <a:pt x="314198" y="0"/>
                </a:lnTo>
                <a:lnTo>
                  <a:pt x="103124" y="0"/>
                </a:lnTo>
                <a:lnTo>
                  <a:pt x="103124" y="53594"/>
                </a:lnTo>
                <a:lnTo>
                  <a:pt x="0" y="53594"/>
                </a:lnTo>
                <a:lnTo>
                  <a:pt x="208661" y="10845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10" name="object 310"/>
          <p:cNvSpPr/>
          <p:nvPr/>
        </p:nvSpPr>
        <p:spPr>
          <a:xfrm>
            <a:off x="7678166" y="2839173"/>
            <a:ext cx="1880362" cy="216700"/>
          </a:xfrm>
          <a:custGeom>
            <a:avLst/>
            <a:gdLst/>
            <a:ahLst/>
            <a:cxnLst/>
            <a:rect l="l" t="t" r="r" b="b"/>
            <a:pathLst>
              <a:path w="1880362" h="216700">
                <a:moveTo>
                  <a:pt x="0" y="216700"/>
                </a:moveTo>
                <a:lnTo>
                  <a:pt x="1880362" y="216700"/>
                </a:lnTo>
                <a:lnTo>
                  <a:pt x="1880362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11" name="object 311"/>
          <p:cNvSpPr/>
          <p:nvPr/>
        </p:nvSpPr>
        <p:spPr>
          <a:xfrm>
            <a:off x="8400543" y="2726054"/>
            <a:ext cx="417322" cy="108458"/>
          </a:xfrm>
          <a:custGeom>
            <a:avLst/>
            <a:gdLst/>
            <a:ahLst/>
            <a:cxnLst/>
            <a:rect l="l" t="t" r="r" b="b"/>
            <a:pathLst>
              <a:path w="417322" h="108458">
                <a:moveTo>
                  <a:pt x="208660" y="108458"/>
                </a:moveTo>
                <a:lnTo>
                  <a:pt x="417322" y="53594"/>
                </a:lnTo>
                <a:lnTo>
                  <a:pt x="314071" y="53594"/>
                </a:lnTo>
                <a:lnTo>
                  <a:pt x="314071" y="0"/>
                </a:lnTo>
                <a:lnTo>
                  <a:pt x="105409" y="0"/>
                </a:lnTo>
                <a:lnTo>
                  <a:pt x="105409" y="53594"/>
                </a:lnTo>
                <a:lnTo>
                  <a:pt x="0" y="53594"/>
                </a:lnTo>
                <a:lnTo>
                  <a:pt x="208660" y="10845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12" name="object 312"/>
          <p:cNvSpPr/>
          <p:nvPr/>
        </p:nvSpPr>
        <p:spPr>
          <a:xfrm>
            <a:off x="3078353" y="2839173"/>
            <a:ext cx="1880362" cy="216700"/>
          </a:xfrm>
          <a:custGeom>
            <a:avLst/>
            <a:gdLst/>
            <a:ahLst/>
            <a:cxnLst/>
            <a:rect l="l" t="t" r="r" b="b"/>
            <a:pathLst>
              <a:path w="1880362" h="216700">
                <a:moveTo>
                  <a:pt x="0" y="216700"/>
                </a:moveTo>
                <a:lnTo>
                  <a:pt x="1880362" y="216700"/>
                </a:lnTo>
                <a:lnTo>
                  <a:pt x="1880362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13" name="object 313"/>
          <p:cNvSpPr/>
          <p:nvPr/>
        </p:nvSpPr>
        <p:spPr>
          <a:xfrm>
            <a:off x="3078353" y="2839173"/>
            <a:ext cx="1880362" cy="216700"/>
          </a:xfrm>
          <a:custGeom>
            <a:avLst/>
            <a:gdLst/>
            <a:ahLst/>
            <a:cxnLst/>
            <a:rect l="l" t="t" r="r" b="b"/>
            <a:pathLst>
              <a:path w="1880362" h="216700">
                <a:moveTo>
                  <a:pt x="0" y="216700"/>
                </a:moveTo>
                <a:lnTo>
                  <a:pt x="1880362" y="216700"/>
                </a:lnTo>
                <a:lnTo>
                  <a:pt x="1880362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14" name="object 314"/>
          <p:cNvSpPr/>
          <p:nvPr/>
        </p:nvSpPr>
        <p:spPr>
          <a:xfrm>
            <a:off x="3874010" y="3072639"/>
            <a:ext cx="307213" cy="227329"/>
          </a:xfrm>
          <a:custGeom>
            <a:avLst/>
            <a:gdLst/>
            <a:ahLst/>
            <a:cxnLst/>
            <a:rect l="l" t="t" r="r" b="b"/>
            <a:pathLst>
              <a:path w="307213" h="227329">
                <a:moveTo>
                  <a:pt x="153669" y="227329"/>
                </a:moveTo>
                <a:lnTo>
                  <a:pt x="307213" y="113029"/>
                </a:lnTo>
                <a:lnTo>
                  <a:pt x="229362" y="113029"/>
                </a:lnTo>
                <a:lnTo>
                  <a:pt x="229362" y="0"/>
                </a:lnTo>
                <a:lnTo>
                  <a:pt x="77977" y="0"/>
                </a:lnTo>
                <a:lnTo>
                  <a:pt x="77977" y="113029"/>
                </a:lnTo>
                <a:lnTo>
                  <a:pt x="0" y="113029"/>
                </a:lnTo>
                <a:lnTo>
                  <a:pt x="153669" y="227329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15" name="object 315"/>
          <p:cNvSpPr/>
          <p:nvPr/>
        </p:nvSpPr>
        <p:spPr>
          <a:xfrm>
            <a:off x="3874010" y="3072639"/>
            <a:ext cx="307213" cy="227329"/>
          </a:xfrm>
          <a:custGeom>
            <a:avLst/>
            <a:gdLst/>
            <a:ahLst/>
            <a:cxnLst/>
            <a:rect l="l" t="t" r="r" b="b"/>
            <a:pathLst>
              <a:path w="307213" h="227329">
                <a:moveTo>
                  <a:pt x="153669" y="227329"/>
                </a:moveTo>
                <a:lnTo>
                  <a:pt x="307213" y="113029"/>
                </a:lnTo>
                <a:lnTo>
                  <a:pt x="229362" y="113029"/>
                </a:lnTo>
                <a:lnTo>
                  <a:pt x="229362" y="0"/>
                </a:lnTo>
                <a:lnTo>
                  <a:pt x="77977" y="0"/>
                </a:lnTo>
                <a:lnTo>
                  <a:pt x="77977" y="113029"/>
                </a:lnTo>
                <a:lnTo>
                  <a:pt x="0" y="113029"/>
                </a:lnTo>
                <a:lnTo>
                  <a:pt x="153669" y="22732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16" name="object 316"/>
          <p:cNvSpPr/>
          <p:nvPr/>
        </p:nvSpPr>
        <p:spPr>
          <a:xfrm>
            <a:off x="3800603" y="2726054"/>
            <a:ext cx="417322" cy="108458"/>
          </a:xfrm>
          <a:custGeom>
            <a:avLst/>
            <a:gdLst/>
            <a:ahLst/>
            <a:cxnLst/>
            <a:rect l="l" t="t" r="r" b="b"/>
            <a:pathLst>
              <a:path w="417322" h="108458">
                <a:moveTo>
                  <a:pt x="208661" y="108458"/>
                </a:moveTo>
                <a:lnTo>
                  <a:pt x="417322" y="53594"/>
                </a:lnTo>
                <a:lnTo>
                  <a:pt x="314198" y="53594"/>
                </a:lnTo>
                <a:lnTo>
                  <a:pt x="314198" y="0"/>
                </a:lnTo>
                <a:lnTo>
                  <a:pt x="103250" y="0"/>
                </a:lnTo>
                <a:lnTo>
                  <a:pt x="103250" y="53594"/>
                </a:lnTo>
                <a:lnTo>
                  <a:pt x="0" y="53594"/>
                </a:lnTo>
                <a:lnTo>
                  <a:pt x="208661" y="108458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17" name="object 317"/>
          <p:cNvSpPr/>
          <p:nvPr/>
        </p:nvSpPr>
        <p:spPr>
          <a:xfrm>
            <a:off x="3800603" y="2726054"/>
            <a:ext cx="417322" cy="108458"/>
          </a:xfrm>
          <a:custGeom>
            <a:avLst/>
            <a:gdLst/>
            <a:ahLst/>
            <a:cxnLst/>
            <a:rect l="l" t="t" r="r" b="b"/>
            <a:pathLst>
              <a:path w="417322" h="108458">
                <a:moveTo>
                  <a:pt x="208661" y="108458"/>
                </a:moveTo>
                <a:lnTo>
                  <a:pt x="417322" y="53594"/>
                </a:lnTo>
                <a:lnTo>
                  <a:pt x="314198" y="53594"/>
                </a:lnTo>
                <a:lnTo>
                  <a:pt x="314198" y="0"/>
                </a:lnTo>
                <a:lnTo>
                  <a:pt x="103250" y="0"/>
                </a:lnTo>
                <a:lnTo>
                  <a:pt x="103250" y="53594"/>
                </a:lnTo>
                <a:lnTo>
                  <a:pt x="0" y="53594"/>
                </a:lnTo>
                <a:lnTo>
                  <a:pt x="208661" y="10845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18" name="object 318"/>
          <p:cNvSpPr/>
          <p:nvPr/>
        </p:nvSpPr>
        <p:spPr>
          <a:xfrm>
            <a:off x="776097" y="2839173"/>
            <a:ext cx="1882648" cy="216700"/>
          </a:xfrm>
          <a:custGeom>
            <a:avLst/>
            <a:gdLst/>
            <a:ahLst/>
            <a:cxnLst/>
            <a:rect l="l" t="t" r="r" b="b"/>
            <a:pathLst>
              <a:path w="1882648" h="216700">
                <a:moveTo>
                  <a:pt x="0" y="216700"/>
                </a:moveTo>
                <a:lnTo>
                  <a:pt x="1882648" y="216700"/>
                </a:lnTo>
                <a:lnTo>
                  <a:pt x="1882648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19" name="object 319"/>
          <p:cNvSpPr/>
          <p:nvPr/>
        </p:nvSpPr>
        <p:spPr>
          <a:xfrm>
            <a:off x="1500760" y="2726054"/>
            <a:ext cx="417322" cy="108458"/>
          </a:xfrm>
          <a:custGeom>
            <a:avLst/>
            <a:gdLst/>
            <a:ahLst/>
            <a:cxnLst/>
            <a:rect l="l" t="t" r="r" b="b"/>
            <a:pathLst>
              <a:path w="417322" h="108458">
                <a:moveTo>
                  <a:pt x="208660" y="108458"/>
                </a:moveTo>
                <a:lnTo>
                  <a:pt x="417322" y="53594"/>
                </a:lnTo>
                <a:lnTo>
                  <a:pt x="311784" y="53594"/>
                </a:lnTo>
                <a:lnTo>
                  <a:pt x="311784" y="0"/>
                </a:lnTo>
                <a:lnTo>
                  <a:pt x="103124" y="0"/>
                </a:lnTo>
                <a:lnTo>
                  <a:pt x="103124" y="53594"/>
                </a:lnTo>
                <a:lnTo>
                  <a:pt x="0" y="53594"/>
                </a:lnTo>
                <a:lnTo>
                  <a:pt x="208660" y="10845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0" name="object 320"/>
          <p:cNvSpPr/>
          <p:nvPr/>
        </p:nvSpPr>
        <p:spPr>
          <a:xfrm>
            <a:off x="2954528" y="3317876"/>
            <a:ext cx="2091182" cy="208279"/>
          </a:xfrm>
          <a:custGeom>
            <a:avLst/>
            <a:gdLst/>
            <a:ahLst/>
            <a:cxnLst/>
            <a:rect l="l" t="t" r="r" b="b"/>
            <a:pathLst>
              <a:path w="2091182" h="208279">
                <a:moveTo>
                  <a:pt x="0" y="104139"/>
                </a:moveTo>
                <a:lnTo>
                  <a:pt x="3466" y="112683"/>
                </a:lnTo>
                <a:lnTo>
                  <a:pt x="13684" y="121035"/>
                </a:lnTo>
                <a:lnTo>
                  <a:pt x="53304" y="137062"/>
                </a:lnTo>
                <a:lnTo>
                  <a:pt x="116706" y="152005"/>
                </a:lnTo>
                <a:lnTo>
                  <a:pt x="156652" y="159003"/>
                </a:lnTo>
                <a:lnTo>
                  <a:pt x="201736" y="165650"/>
                </a:lnTo>
                <a:lnTo>
                  <a:pt x="251690" y="171919"/>
                </a:lnTo>
                <a:lnTo>
                  <a:pt x="306244" y="177784"/>
                </a:lnTo>
                <a:lnTo>
                  <a:pt x="365129" y="183217"/>
                </a:lnTo>
                <a:lnTo>
                  <a:pt x="428076" y="188191"/>
                </a:lnTo>
                <a:lnTo>
                  <a:pt x="494816" y="192681"/>
                </a:lnTo>
                <a:lnTo>
                  <a:pt x="565079" y="196659"/>
                </a:lnTo>
                <a:lnTo>
                  <a:pt x="638597" y="200098"/>
                </a:lnTo>
                <a:lnTo>
                  <a:pt x="715101" y="202972"/>
                </a:lnTo>
                <a:lnTo>
                  <a:pt x="794321" y="205254"/>
                </a:lnTo>
                <a:lnTo>
                  <a:pt x="875989" y="206917"/>
                </a:lnTo>
                <a:lnTo>
                  <a:pt x="959835" y="207934"/>
                </a:lnTo>
                <a:lnTo>
                  <a:pt x="1045591" y="208279"/>
                </a:lnTo>
                <a:lnTo>
                  <a:pt x="1131346" y="207934"/>
                </a:lnTo>
                <a:lnTo>
                  <a:pt x="1215192" y="206917"/>
                </a:lnTo>
                <a:lnTo>
                  <a:pt x="1296860" y="205254"/>
                </a:lnTo>
                <a:lnTo>
                  <a:pt x="1376080" y="202972"/>
                </a:lnTo>
                <a:lnTo>
                  <a:pt x="1452584" y="200098"/>
                </a:lnTo>
                <a:lnTo>
                  <a:pt x="1526102" y="196659"/>
                </a:lnTo>
                <a:lnTo>
                  <a:pt x="1596365" y="192681"/>
                </a:lnTo>
                <a:lnTo>
                  <a:pt x="1663105" y="188191"/>
                </a:lnTo>
                <a:lnTo>
                  <a:pt x="1726052" y="183217"/>
                </a:lnTo>
                <a:lnTo>
                  <a:pt x="1784937" y="177784"/>
                </a:lnTo>
                <a:lnTo>
                  <a:pt x="1839491" y="171919"/>
                </a:lnTo>
                <a:lnTo>
                  <a:pt x="1889445" y="165650"/>
                </a:lnTo>
                <a:lnTo>
                  <a:pt x="1934529" y="159003"/>
                </a:lnTo>
                <a:lnTo>
                  <a:pt x="1974475" y="152005"/>
                </a:lnTo>
                <a:lnTo>
                  <a:pt x="2009014" y="144682"/>
                </a:lnTo>
                <a:lnTo>
                  <a:pt x="2060794" y="129171"/>
                </a:lnTo>
                <a:lnTo>
                  <a:pt x="2091182" y="104139"/>
                </a:lnTo>
                <a:lnTo>
                  <a:pt x="2060794" y="79108"/>
                </a:lnTo>
                <a:lnTo>
                  <a:pt x="2009014" y="63597"/>
                </a:lnTo>
                <a:lnTo>
                  <a:pt x="1974475" y="56274"/>
                </a:lnTo>
                <a:lnTo>
                  <a:pt x="1934529" y="49276"/>
                </a:lnTo>
                <a:lnTo>
                  <a:pt x="1889445" y="42629"/>
                </a:lnTo>
                <a:lnTo>
                  <a:pt x="1839491" y="36360"/>
                </a:lnTo>
                <a:lnTo>
                  <a:pt x="1784937" y="30495"/>
                </a:lnTo>
                <a:lnTo>
                  <a:pt x="1726052" y="25062"/>
                </a:lnTo>
                <a:lnTo>
                  <a:pt x="1663105" y="20088"/>
                </a:lnTo>
                <a:lnTo>
                  <a:pt x="1596365" y="15598"/>
                </a:lnTo>
                <a:lnTo>
                  <a:pt x="1526102" y="11620"/>
                </a:lnTo>
                <a:lnTo>
                  <a:pt x="1452584" y="8181"/>
                </a:lnTo>
                <a:lnTo>
                  <a:pt x="1376080" y="5307"/>
                </a:lnTo>
                <a:lnTo>
                  <a:pt x="1296860" y="3025"/>
                </a:lnTo>
                <a:lnTo>
                  <a:pt x="1215192" y="1362"/>
                </a:lnTo>
                <a:lnTo>
                  <a:pt x="1131346" y="345"/>
                </a:lnTo>
                <a:lnTo>
                  <a:pt x="1045591" y="0"/>
                </a:lnTo>
                <a:lnTo>
                  <a:pt x="959835" y="345"/>
                </a:lnTo>
                <a:lnTo>
                  <a:pt x="875989" y="1362"/>
                </a:lnTo>
                <a:lnTo>
                  <a:pt x="794321" y="3025"/>
                </a:lnTo>
                <a:lnTo>
                  <a:pt x="715101" y="5307"/>
                </a:lnTo>
                <a:lnTo>
                  <a:pt x="638597" y="8181"/>
                </a:lnTo>
                <a:lnTo>
                  <a:pt x="565079" y="11620"/>
                </a:lnTo>
                <a:lnTo>
                  <a:pt x="494816" y="15598"/>
                </a:lnTo>
                <a:lnTo>
                  <a:pt x="428076" y="20088"/>
                </a:lnTo>
                <a:lnTo>
                  <a:pt x="365129" y="25062"/>
                </a:lnTo>
                <a:lnTo>
                  <a:pt x="306244" y="30495"/>
                </a:lnTo>
                <a:lnTo>
                  <a:pt x="251690" y="36360"/>
                </a:lnTo>
                <a:lnTo>
                  <a:pt x="201736" y="42629"/>
                </a:lnTo>
                <a:lnTo>
                  <a:pt x="156652" y="49276"/>
                </a:lnTo>
                <a:lnTo>
                  <a:pt x="116706" y="56274"/>
                </a:lnTo>
                <a:lnTo>
                  <a:pt x="82167" y="63597"/>
                </a:lnTo>
                <a:lnTo>
                  <a:pt x="30387" y="79108"/>
                </a:lnTo>
                <a:lnTo>
                  <a:pt x="3466" y="95596"/>
                </a:lnTo>
                <a:lnTo>
                  <a:pt x="0" y="104139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1" name="object 321"/>
          <p:cNvSpPr/>
          <p:nvPr/>
        </p:nvSpPr>
        <p:spPr>
          <a:xfrm>
            <a:off x="2954528" y="3317876"/>
            <a:ext cx="2091182" cy="208279"/>
          </a:xfrm>
          <a:custGeom>
            <a:avLst/>
            <a:gdLst/>
            <a:ahLst/>
            <a:cxnLst/>
            <a:rect l="l" t="t" r="r" b="b"/>
            <a:pathLst>
              <a:path w="2091182" h="208279">
                <a:moveTo>
                  <a:pt x="0" y="104139"/>
                </a:moveTo>
                <a:lnTo>
                  <a:pt x="30387" y="79108"/>
                </a:lnTo>
                <a:lnTo>
                  <a:pt x="82167" y="63597"/>
                </a:lnTo>
                <a:lnTo>
                  <a:pt x="116706" y="56274"/>
                </a:lnTo>
                <a:lnTo>
                  <a:pt x="156652" y="49276"/>
                </a:lnTo>
                <a:lnTo>
                  <a:pt x="201736" y="42629"/>
                </a:lnTo>
                <a:lnTo>
                  <a:pt x="251690" y="36360"/>
                </a:lnTo>
                <a:lnTo>
                  <a:pt x="306244" y="30495"/>
                </a:lnTo>
                <a:lnTo>
                  <a:pt x="365129" y="25062"/>
                </a:lnTo>
                <a:lnTo>
                  <a:pt x="428076" y="20088"/>
                </a:lnTo>
                <a:lnTo>
                  <a:pt x="494816" y="15598"/>
                </a:lnTo>
                <a:lnTo>
                  <a:pt x="565079" y="11620"/>
                </a:lnTo>
                <a:lnTo>
                  <a:pt x="638597" y="8181"/>
                </a:lnTo>
                <a:lnTo>
                  <a:pt x="715101" y="5307"/>
                </a:lnTo>
                <a:lnTo>
                  <a:pt x="794321" y="3025"/>
                </a:lnTo>
                <a:lnTo>
                  <a:pt x="875989" y="1362"/>
                </a:lnTo>
                <a:lnTo>
                  <a:pt x="959835" y="345"/>
                </a:lnTo>
                <a:lnTo>
                  <a:pt x="1045591" y="0"/>
                </a:lnTo>
                <a:lnTo>
                  <a:pt x="1131346" y="345"/>
                </a:lnTo>
                <a:lnTo>
                  <a:pt x="1215192" y="1362"/>
                </a:lnTo>
                <a:lnTo>
                  <a:pt x="1296860" y="3025"/>
                </a:lnTo>
                <a:lnTo>
                  <a:pt x="1376080" y="5307"/>
                </a:lnTo>
                <a:lnTo>
                  <a:pt x="1452584" y="8181"/>
                </a:lnTo>
                <a:lnTo>
                  <a:pt x="1526102" y="11620"/>
                </a:lnTo>
                <a:lnTo>
                  <a:pt x="1596365" y="15598"/>
                </a:lnTo>
                <a:lnTo>
                  <a:pt x="1663105" y="20088"/>
                </a:lnTo>
                <a:lnTo>
                  <a:pt x="1726052" y="25062"/>
                </a:lnTo>
                <a:lnTo>
                  <a:pt x="1784937" y="30495"/>
                </a:lnTo>
                <a:lnTo>
                  <a:pt x="1839491" y="36360"/>
                </a:lnTo>
                <a:lnTo>
                  <a:pt x="1889445" y="42629"/>
                </a:lnTo>
                <a:lnTo>
                  <a:pt x="1934529" y="49276"/>
                </a:lnTo>
                <a:lnTo>
                  <a:pt x="1974475" y="56274"/>
                </a:lnTo>
                <a:lnTo>
                  <a:pt x="2009014" y="63597"/>
                </a:lnTo>
                <a:lnTo>
                  <a:pt x="2060794" y="79108"/>
                </a:lnTo>
                <a:lnTo>
                  <a:pt x="2091182" y="104139"/>
                </a:lnTo>
                <a:lnTo>
                  <a:pt x="2087715" y="112683"/>
                </a:lnTo>
                <a:lnTo>
                  <a:pt x="2077497" y="121035"/>
                </a:lnTo>
                <a:lnTo>
                  <a:pt x="2037877" y="137062"/>
                </a:lnTo>
                <a:lnTo>
                  <a:pt x="1974475" y="152005"/>
                </a:lnTo>
                <a:lnTo>
                  <a:pt x="1934529" y="159003"/>
                </a:lnTo>
                <a:lnTo>
                  <a:pt x="1889445" y="165650"/>
                </a:lnTo>
                <a:lnTo>
                  <a:pt x="1839491" y="171919"/>
                </a:lnTo>
                <a:lnTo>
                  <a:pt x="1784937" y="177784"/>
                </a:lnTo>
                <a:lnTo>
                  <a:pt x="1726052" y="183217"/>
                </a:lnTo>
                <a:lnTo>
                  <a:pt x="1663105" y="188191"/>
                </a:lnTo>
                <a:lnTo>
                  <a:pt x="1596365" y="192681"/>
                </a:lnTo>
                <a:lnTo>
                  <a:pt x="1526102" y="196659"/>
                </a:lnTo>
                <a:lnTo>
                  <a:pt x="1452584" y="200098"/>
                </a:lnTo>
                <a:lnTo>
                  <a:pt x="1376080" y="202972"/>
                </a:lnTo>
                <a:lnTo>
                  <a:pt x="1296860" y="205254"/>
                </a:lnTo>
                <a:lnTo>
                  <a:pt x="1215192" y="206917"/>
                </a:lnTo>
                <a:lnTo>
                  <a:pt x="1131346" y="207934"/>
                </a:lnTo>
                <a:lnTo>
                  <a:pt x="1045591" y="208279"/>
                </a:lnTo>
                <a:lnTo>
                  <a:pt x="959835" y="207934"/>
                </a:lnTo>
                <a:lnTo>
                  <a:pt x="875989" y="206917"/>
                </a:lnTo>
                <a:lnTo>
                  <a:pt x="794321" y="205254"/>
                </a:lnTo>
                <a:lnTo>
                  <a:pt x="715101" y="202972"/>
                </a:lnTo>
                <a:lnTo>
                  <a:pt x="638597" y="200098"/>
                </a:lnTo>
                <a:lnTo>
                  <a:pt x="565079" y="196659"/>
                </a:lnTo>
                <a:lnTo>
                  <a:pt x="494816" y="192681"/>
                </a:lnTo>
                <a:lnTo>
                  <a:pt x="428076" y="188191"/>
                </a:lnTo>
                <a:lnTo>
                  <a:pt x="365129" y="183217"/>
                </a:lnTo>
                <a:lnTo>
                  <a:pt x="306244" y="177784"/>
                </a:lnTo>
                <a:lnTo>
                  <a:pt x="251690" y="171919"/>
                </a:lnTo>
                <a:lnTo>
                  <a:pt x="201736" y="165650"/>
                </a:lnTo>
                <a:lnTo>
                  <a:pt x="156652" y="159003"/>
                </a:lnTo>
                <a:lnTo>
                  <a:pt x="116706" y="152005"/>
                </a:lnTo>
                <a:lnTo>
                  <a:pt x="82167" y="144682"/>
                </a:lnTo>
                <a:lnTo>
                  <a:pt x="53304" y="137062"/>
                </a:lnTo>
                <a:lnTo>
                  <a:pt x="13684" y="121035"/>
                </a:lnTo>
                <a:lnTo>
                  <a:pt x="0" y="10413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2" name="object 322"/>
          <p:cNvSpPr/>
          <p:nvPr/>
        </p:nvSpPr>
        <p:spPr>
          <a:xfrm>
            <a:off x="3144775" y="3851503"/>
            <a:ext cx="1770251" cy="204368"/>
          </a:xfrm>
          <a:custGeom>
            <a:avLst/>
            <a:gdLst/>
            <a:ahLst/>
            <a:cxnLst/>
            <a:rect l="l" t="t" r="r" b="b"/>
            <a:pathLst>
              <a:path w="1770252" h="204368">
                <a:moveTo>
                  <a:pt x="0" y="204368"/>
                </a:moveTo>
                <a:lnTo>
                  <a:pt x="1770252" y="204368"/>
                </a:lnTo>
                <a:lnTo>
                  <a:pt x="1770252" y="0"/>
                </a:lnTo>
                <a:lnTo>
                  <a:pt x="0" y="0"/>
                </a:lnTo>
                <a:lnTo>
                  <a:pt x="0" y="204368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3" name="object 323"/>
          <p:cNvSpPr/>
          <p:nvPr/>
        </p:nvSpPr>
        <p:spPr>
          <a:xfrm>
            <a:off x="3144775" y="3851503"/>
            <a:ext cx="1770251" cy="204368"/>
          </a:xfrm>
          <a:custGeom>
            <a:avLst/>
            <a:gdLst/>
            <a:ahLst/>
            <a:cxnLst/>
            <a:rect l="l" t="t" r="r" b="b"/>
            <a:pathLst>
              <a:path w="1770252" h="204368">
                <a:moveTo>
                  <a:pt x="0" y="204368"/>
                </a:moveTo>
                <a:lnTo>
                  <a:pt x="1770252" y="204368"/>
                </a:lnTo>
                <a:lnTo>
                  <a:pt x="1770252" y="0"/>
                </a:lnTo>
                <a:lnTo>
                  <a:pt x="0" y="0"/>
                </a:lnTo>
                <a:lnTo>
                  <a:pt x="0" y="204368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4" name="object 324"/>
          <p:cNvSpPr/>
          <p:nvPr/>
        </p:nvSpPr>
        <p:spPr>
          <a:xfrm>
            <a:off x="3112771" y="3583304"/>
            <a:ext cx="1838959" cy="0"/>
          </a:xfrm>
          <a:custGeom>
            <a:avLst/>
            <a:gdLst/>
            <a:ahLst/>
            <a:cxnLst/>
            <a:rect l="l" t="t" r="r" b="b"/>
            <a:pathLst>
              <a:path w="1838959">
                <a:moveTo>
                  <a:pt x="0" y="0"/>
                </a:moveTo>
                <a:lnTo>
                  <a:pt x="183895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5" name="object 325"/>
          <p:cNvSpPr/>
          <p:nvPr/>
        </p:nvSpPr>
        <p:spPr>
          <a:xfrm>
            <a:off x="3131058" y="3690493"/>
            <a:ext cx="1806957" cy="1269"/>
          </a:xfrm>
          <a:custGeom>
            <a:avLst/>
            <a:gdLst/>
            <a:ahLst/>
            <a:cxnLst/>
            <a:rect l="l" t="t" r="r" b="b"/>
            <a:pathLst>
              <a:path w="1806956" h="1270">
                <a:moveTo>
                  <a:pt x="0" y="1269"/>
                </a:moveTo>
                <a:lnTo>
                  <a:pt x="1806956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6" name="object 326"/>
          <p:cNvSpPr/>
          <p:nvPr/>
        </p:nvSpPr>
        <p:spPr>
          <a:xfrm>
            <a:off x="3121915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7" name="object 327"/>
          <p:cNvSpPr/>
          <p:nvPr/>
        </p:nvSpPr>
        <p:spPr>
          <a:xfrm>
            <a:off x="3816730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8" name="object 328"/>
          <p:cNvSpPr/>
          <p:nvPr/>
        </p:nvSpPr>
        <p:spPr>
          <a:xfrm>
            <a:off x="4252340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9" name="object 329"/>
          <p:cNvSpPr/>
          <p:nvPr/>
        </p:nvSpPr>
        <p:spPr>
          <a:xfrm>
            <a:off x="4935729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0" name="object 330"/>
          <p:cNvSpPr/>
          <p:nvPr/>
        </p:nvSpPr>
        <p:spPr>
          <a:xfrm>
            <a:off x="3958845" y="4157599"/>
            <a:ext cx="1100708" cy="109600"/>
          </a:xfrm>
          <a:custGeom>
            <a:avLst/>
            <a:gdLst/>
            <a:ahLst/>
            <a:cxnLst/>
            <a:rect l="l" t="t" r="r" b="b"/>
            <a:pathLst>
              <a:path w="1100708" h="109600">
                <a:moveTo>
                  <a:pt x="1100708" y="0"/>
                </a:moveTo>
                <a:lnTo>
                  <a:pt x="1068714" y="26354"/>
                </a:lnTo>
                <a:lnTo>
                  <a:pt x="1014198" y="42681"/>
                </a:lnTo>
                <a:lnTo>
                  <a:pt x="977834" y="50389"/>
                </a:lnTo>
                <a:lnTo>
                  <a:pt x="935777" y="57754"/>
                </a:lnTo>
                <a:lnTo>
                  <a:pt x="888312" y="64749"/>
                </a:lnTo>
                <a:lnTo>
                  <a:pt x="835721" y="71346"/>
                </a:lnTo>
                <a:lnTo>
                  <a:pt x="778287" y="77517"/>
                </a:lnTo>
                <a:lnTo>
                  <a:pt x="716295" y="83234"/>
                </a:lnTo>
                <a:lnTo>
                  <a:pt x="650028" y="88468"/>
                </a:lnTo>
                <a:lnTo>
                  <a:pt x="579769" y="93191"/>
                </a:lnTo>
                <a:lnTo>
                  <a:pt x="505802" y="97376"/>
                </a:lnTo>
                <a:lnTo>
                  <a:pt x="428410" y="100994"/>
                </a:lnTo>
                <a:lnTo>
                  <a:pt x="347877" y="104018"/>
                </a:lnTo>
                <a:lnTo>
                  <a:pt x="264486" y="106418"/>
                </a:lnTo>
                <a:lnTo>
                  <a:pt x="178520" y="108167"/>
                </a:lnTo>
                <a:lnTo>
                  <a:pt x="90264" y="109238"/>
                </a:lnTo>
                <a:lnTo>
                  <a:pt x="0" y="1096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1" name="object 331"/>
          <p:cNvSpPr/>
          <p:nvPr/>
        </p:nvSpPr>
        <p:spPr>
          <a:xfrm>
            <a:off x="2947670" y="4157599"/>
            <a:ext cx="1100582" cy="109600"/>
          </a:xfrm>
          <a:custGeom>
            <a:avLst/>
            <a:gdLst/>
            <a:ahLst/>
            <a:cxnLst/>
            <a:rect l="l" t="t" r="r" b="b"/>
            <a:pathLst>
              <a:path w="1100582" h="109600">
                <a:moveTo>
                  <a:pt x="1100582" y="109600"/>
                </a:moveTo>
                <a:lnTo>
                  <a:pt x="1010318" y="109238"/>
                </a:lnTo>
                <a:lnTo>
                  <a:pt x="922064" y="108167"/>
                </a:lnTo>
                <a:lnTo>
                  <a:pt x="836103" y="106418"/>
                </a:lnTo>
                <a:lnTo>
                  <a:pt x="752717" y="104018"/>
                </a:lnTo>
                <a:lnTo>
                  <a:pt x="672191" y="100994"/>
                </a:lnTo>
                <a:lnTo>
                  <a:pt x="594806" y="97376"/>
                </a:lnTo>
                <a:lnTo>
                  <a:pt x="520847" y="93191"/>
                </a:lnTo>
                <a:lnTo>
                  <a:pt x="450598" y="88468"/>
                </a:lnTo>
                <a:lnTo>
                  <a:pt x="384340" y="83234"/>
                </a:lnTo>
                <a:lnTo>
                  <a:pt x="322357" y="77517"/>
                </a:lnTo>
                <a:lnTo>
                  <a:pt x="264933" y="71346"/>
                </a:lnTo>
                <a:lnTo>
                  <a:pt x="212352" y="64749"/>
                </a:lnTo>
                <a:lnTo>
                  <a:pt x="164895" y="57754"/>
                </a:lnTo>
                <a:lnTo>
                  <a:pt x="122847" y="50389"/>
                </a:lnTo>
                <a:lnTo>
                  <a:pt x="86490" y="42681"/>
                </a:lnTo>
                <a:lnTo>
                  <a:pt x="31986" y="26354"/>
                </a:lnTo>
                <a:lnTo>
                  <a:pt x="3648" y="8995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2" name="object 332"/>
          <p:cNvSpPr/>
          <p:nvPr/>
        </p:nvSpPr>
        <p:spPr>
          <a:xfrm>
            <a:off x="2945384" y="3417825"/>
            <a:ext cx="0" cy="683513"/>
          </a:xfrm>
          <a:custGeom>
            <a:avLst/>
            <a:gdLst/>
            <a:ahLst/>
            <a:cxnLst/>
            <a:rect l="l" t="t" r="r" b="b"/>
            <a:pathLst>
              <a:path h="683513">
                <a:moveTo>
                  <a:pt x="0" y="0"/>
                </a:moveTo>
                <a:lnTo>
                  <a:pt x="0" y="68351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3" name="object 333"/>
          <p:cNvSpPr/>
          <p:nvPr/>
        </p:nvSpPr>
        <p:spPr>
          <a:xfrm>
            <a:off x="5036566" y="3420237"/>
            <a:ext cx="0" cy="684657"/>
          </a:xfrm>
          <a:custGeom>
            <a:avLst/>
            <a:gdLst/>
            <a:ahLst/>
            <a:cxnLst/>
            <a:rect l="l" t="t" r="r" b="b"/>
            <a:pathLst>
              <a:path h="684657">
                <a:moveTo>
                  <a:pt x="0" y="0"/>
                </a:moveTo>
                <a:lnTo>
                  <a:pt x="0" y="6846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4" name="object 334"/>
          <p:cNvSpPr/>
          <p:nvPr/>
        </p:nvSpPr>
        <p:spPr>
          <a:xfrm>
            <a:off x="7247128" y="2399919"/>
            <a:ext cx="417322" cy="108330"/>
          </a:xfrm>
          <a:custGeom>
            <a:avLst/>
            <a:gdLst/>
            <a:ahLst/>
            <a:cxnLst/>
            <a:rect l="l" t="t" r="r" b="b"/>
            <a:pathLst>
              <a:path w="417322" h="108330">
                <a:moveTo>
                  <a:pt x="208661" y="108330"/>
                </a:moveTo>
                <a:lnTo>
                  <a:pt x="417322" y="54736"/>
                </a:lnTo>
                <a:lnTo>
                  <a:pt x="314071" y="54736"/>
                </a:lnTo>
                <a:lnTo>
                  <a:pt x="314071" y="0"/>
                </a:lnTo>
                <a:lnTo>
                  <a:pt x="103124" y="0"/>
                </a:lnTo>
                <a:lnTo>
                  <a:pt x="103124" y="54736"/>
                </a:lnTo>
                <a:lnTo>
                  <a:pt x="0" y="54736"/>
                </a:lnTo>
                <a:lnTo>
                  <a:pt x="208661" y="10833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5" name="object 335"/>
          <p:cNvSpPr/>
          <p:nvPr/>
        </p:nvSpPr>
        <p:spPr>
          <a:xfrm>
            <a:off x="6733413" y="1698663"/>
            <a:ext cx="1357502" cy="269074"/>
          </a:xfrm>
          <a:custGeom>
            <a:avLst/>
            <a:gdLst/>
            <a:ahLst/>
            <a:cxnLst/>
            <a:rect l="l" t="t" r="r" b="b"/>
            <a:pathLst>
              <a:path w="1357502" h="269074">
                <a:moveTo>
                  <a:pt x="0" y="269074"/>
                </a:moveTo>
                <a:lnTo>
                  <a:pt x="1357502" y="269074"/>
                </a:lnTo>
                <a:lnTo>
                  <a:pt x="1357502" y="0"/>
                </a:lnTo>
                <a:lnTo>
                  <a:pt x="0" y="0"/>
                </a:lnTo>
                <a:lnTo>
                  <a:pt x="0" y="269074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6" name="object 336"/>
          <p:cNvSpPr/>
          <p:nvPr/>
        </p:nvSpPr>
        <p:spPr>
          <a:xfrm>
            <a:off x="6733413" y="1698663"/>
            <a:ext cx="1357502" cy="269074"/>
          </a:xfrm>
          <a:custGeom>
            <a:avLst/>
            <a:gdLst/>
            <a:ahLst/>
            <a:cxnLst/>
            <a:rect l="l" t="t" r="r" b="b"/>
            <a:pathLst>
              <a:path w="1357502" h="269074">
                <a:moveTo>
                  <a:pt x="0" y="269074"/>
                </a:moveTo>
                <a:lnTo>
                  <a:pt x="1357502" y="269074"/>
                </a:lnTo>
                <a:lnTo>
                  <a:pt x="1357502" y="0"/>
                </a:lnTo>
                <a:lnTo>
                  <a:pt x="0" y="0"/>
                </a:lnTo>
                <a:lnTo>
                  <a:pt x="0" y="26907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7" name="object 337"/>
          <p:cNvSpPr/>
          <p:nvPr/>
        </p:nvSpPr>
        <p:spPr>
          <a:xfrm>
            <a:off x="1649731" y="996163"/>
            <a:ext cx="3024505" cy="462305"/>
          </a:xfrm>
          <a:custGeom>
            <a:avLst/>
            <a:gdLst/>
            <a:ahLst/>
            <a:cxnLst/>
            <a:rect l="l" t="t" r="r" b="b"/>
            <a:pathLst>
              <a:path w="3024505" h="462305">
                <a:moveTo>
                  <a:pt x="0" y="462305"/>
                </a:moveTo>
                <a:lnTo>
                  <a:pt x="3024505" y="462305"/>
                </a:lnTo>
                <a:lnTo>
                  <a:pt x="3024505" y="0"/>
                </a:lnTo>
                <a:lnTo>
                  <a:pt x="0" y="0"/>
                </a:lnTo>
                <a:lnTo>
                  <a:pt x="0" y="462305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8" name="object 338"/>
          <p:cNvSpPr/>
          <p:nvPr/>
        </p:nvSpPr>
        <p:spPr>
          <a:xfrm>
            <a:off x="1645159" y="1577174"/>
            <a:ext cx="2329688" cy="646976"/>
          </a:xfrm>
          <a:custGeom>
            <a:avLst/>
            <a:gdLst/>
            <a:ahLst/>
            <a:cxnLst/>
            <a:rect l="l" t="t" r="r" b="b"/>
            <a:pathLst>
              <a:path w="2329688" h="646976">
                <a:moveTo>
                  <a:pt x="0" y="646976"/>
                </a:moveTo>
                <a:lnTo>
                  <a:pt x="2329688" y="646976"/>
                </a:lnTo>
                <a:lnTo>
                  <a:pt x="2329688" y="0"/>
                </a:lnTo>
                <a:lnTo>
                  <a:pt x="0" y="0"/>
                </a:lnTo>
                <a:lnTo>
                  <a:pt x="0" y="646976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9" name="object 339"/>
          <p:cNvSpPr/>
          <p:nvPr/>
        </p:nvSpPr>
        <p:spPr>
          <a:xfrm>
            <a:off x="4776090" y="3964304"/>
            <a:ext cx="76200" cy="376300"/>
          </a:xfrm>
          <a:custGeom>
            <a:avLst/>
            <a:gdLst/>
            <a:ahLst/>
            <a:cxnLst/>
            <a:rect l="l" t="t" r="r" b="b"/>
            <a:pathLst>
              <a:path w="76200" h="376300">
                <a:moveTo>
                  <a:pt x="76200" y="300101"/>
                </a:moveTo>
                <a:lnTo>
                  <a:pt x="44449" y="321267"/>
                </a:lnTo>
                <a:lnTo>
                  <a:pt x="38100" y="325501"/>
                </a:lnTo>
                <a:lnTo>
                  <a:pt x="31750" y="325501"/>
                </a:lnTo>
                <a:lnTo>
                  <a:pt x="31749" y="321267"/>
                </a:lnTo>
                <a:lnTo>
                  <a:pt x="0" y="300101"/>
                </a:lnTo>
                <a:lnTo>
                  <a:pt x="38100" y="376301"/>
                </a:lnTo>
                <a:lnTo>
                  <a:pt x="44450" y="325501"/>
                </a:lnTo>
                <a:lnTo>
                  <a:pt x="76200" y="300101"/>
                </a:lnTo>
                <a:close/>
              </a:path>
              <a:path w="76200" h="376300">
                <a:moveTo>
                  <a:pt x="38100" y="325501"/>
                </a:moveTo>
                <a:lnTo>
                  <a:pt x="44449" y="321267"/>
                </a:lnTo>
                <a:lnTo>
                  <a:pt x="44450" y="0"/>
                </a:lnTo>
                <a:lnTo>
                  <a:pt x="31750" y="0"/>
                </a:lnTo>
                <a:lnTo>
                  <a:pt x="31750" y="325501"/>
                </a:lnTo>
                <a:lnTo>
                  <a:pt x="38100" y="325501"/>
                </a:lnTo>
                <a:close/>
              </a:path>
              <a:path w="76200" h="376300">
                <a:moveTo>
                  <a:pt x="44450" y="325501"/>
                </a:moveTo>
                <a:lnTo>
                  <a:pt x="38100" y="376301"/>
                </a:lnTo>
                <a:lnTo>
                  <a:pt x="76200" y="300101"/>
                </a:lnTo>
                <a:lnTo>
                  <a:pt x="44450" y="325501"/>
                </a:lnTo>
                <a:close/>
              </a:path>
            </a:pathLst>
          </a:custGeom>
          <a:solidFill>
            <a:srgbClr val="25304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40" name="object 340"/>
          <p:cNvSpPr/>
          <p:nvPr/>
        </p:nvSpPr>
        <p:spPr>
          <a:xfrm>
            <a:off x="4733925" y="3959605"/>
            <a:ext cx="82550" cy="0"/>
          </a:xfrm>
          <a:custGeom>
            <a:avLst/>
            <a:gdLst/>
            <a:ahLst/>
            <a:cxnLst/>
            <a:rect l="l" t="t" r="r" b="b"/>
            <a:pathLst>
              <a:path w="82550">
                <a:moveTo>
                  <a:pt x="82550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41" name="object 341"/>
          <p:cNvSpPr/>
          <p:nvPr/>
        </p:nvSpPr>
        <p:spPr>
          <a:xfrm>
            <a:off x="4279901" y="4366768"/>
            <a:ext cx="1148841" cy="86994"/>
          </a:xfrm>
          <a:custGeom>
            <a:avLst/>
            <a:gdLst/>
            <a:ahLst/>
            <a:cxnLst/>
            <a:rect l="l" t="t" r="r" b="b"/>
            <a:pathLst>
              <a:path w="1148841" h="86995">
                <a:moveTo>
                  <a:pt x="0" y="86994"/>
                </a:moveTo>
                <a:lnTo>
                  <a:pt x="1037" y="69231"/>
                </a:lnTo>
                <a:lnTo>
                  <a:pt x="4009" y="52704"/>
                </a:lnTo>
                <a:lnTo>
                  <a:pt x="8709" y="37779"/>
                </a:lnTo>
                <a:lnTo>
                  <a:pt x="14928" y="24824"/>
                </a:lnTo>
                <a:lnTo>
                  <a:pt x="22458" y="14204"/>
                </a:lnTo>
                <a:lnTo>
                  <a:pt x="31092" y="6286"/>
                </a:lnTo>
                <a:lnTo>
                  <a:pt x="40620" y="1437"/>
                </a:lnTo>
                <a:lnTo>
                  <a:pt x="49657" y="0"/>
                </a:lnTo>
                <a:lnTo>
                  <a:pt x="1099058" y="0"/>
                </a:lnTo>
                <a:lnTo>
                  <a:pt x="1109205" y="1816"/>
                </a:lnTo>
                <a:lnTo>
                  <a:pt x="1118652" y="7023"/>
                </a:lnTo>
                <a:lnTo>
                  <a:pt x="1127189" y="15254"/>
                </a:lnTo>
                <a:lnTo>
                  <a:pt x="1134604" y="26143"/>
                </a:lnTo>
                <a:lnTo>
                  <a:pt x="1140686" y="39324"/>
                </a:lnTo>
                <a:lnTo>
                  <a:pt x="1145225" y="54432"/>
                </a:lnTo>
                <a:lnTo>
                  <a:pt x="1148009" y="71100"/>
                </a:lnTo>
                <a:lnTo>
                  <a:pt x="1148841" y="86994"/>
                </a:lnTo>
              </a:path>
            </a:pathLst>
          </a:custGeom>
          <a:ln w="28575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9" name="object 209"/>
          <p:cNvSpPr/>
          <p:nvPr/>
        </p:nvSpPr>
        <p:spPr>
          <a:xfrm>
            <a:off x="9621647" y="6362700"/>
            <a:ext cx="284353" cy="0"/>
          </a:xfrm>
          <a:custGeom>
            <a:avLst/>
            <a:gdLst/>
            <a:ahLst/>
            <a:cxnLst/>
            <a:rect l="l" t="t" r="r" b="b"/>
            <a:pathLst>
              <a:path w="284352">
                <a:moveTo>
                  <a:pt x="0" y="0"/>
                </a:moveTo>
                <a:lnTo>
                  <a:pt x="284352" y="0"/>
                </a:lnTo>
              </a:path>
            </a:pathLst>
          </a:custGeom>
          <a:ln w="9525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1" name="object 211"/>
          <p:cNvSpPr/>
          <p:nvPr/>
        </p:nvSpPr>
        <p:spPr>
          <a:xfrm>
            <a:off x="7530337" y="6288887"/>
            <a:ext cx="2091308" cy="100012"/>
          </a:xfrm>
          <a:custGeom>
            <a:avLst/>
            <a:gdLst/>
            <a:ahLst/>
            <a:cxnLst/>
            <a:rect l="l" t="t" r="r" b="b"/>
            <a:pathLst>
              <a:path w="2091308" h="100012">
                <a:moveTo>
                  <a:pt x="0" y="100012"/>
                </a:moveTo>
                <a:lnTo>
                  <a:pt x="2091308" y="100012"/>
                </a:lnTo>
                <a:lnTo>
                  <a:pt x="2091308" y="0"/>
                </a:lnTo>
                <a:lnTo>
                  <a:pt x="0" y="0"/>
                </a:lnTo>
                <a:lnTo>
                  <a:pt x="0" y="100012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2" name="object 212"/>
          <p:cNvSpPr/>
          <p:nvPr/>
        </p:nvSpPr>
        <p:spPr>
          <a:xfrm>
            <a:off x="607655" y="5855501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3" name="object 213"/>
          <p:cNvSpPr/>
          <p:nvPr/>
        </p:nvSpPr>
        <p:spPr>
          <a:xfrm>
            <a:off x="605371" y="6076950"/>
            <a:ext cx="2100490" cy="0"/>
          </a:xfrm>
          <a:custGeom>
            <a:avLst/>
            <a:gdLst/>
            <a:ahLst/>
            <a:cxnLst/>
            <a:rect l="l" t="t" r="r" b="b"/>
            <a:pathLst>
              <a:path w="2100491">
                <a:moveTo>
                  <a:pt x="0" y="0"/>
                </a:moveTo>
                <a:lnTo>
                  <a:pt x="210049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4" name="object 214"/>
          <p:cNvSpPr/>
          <p:nvPr/>
        </p:nvSpPr>
        <p:spPr>
          <a:xfrm>
            <a:off x="1135061" y="5855501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5" name="object 215"/>
          <p:cNvSpPr/>
          <p:nvPr/>
        </p:nvSpPr>
        <p:spPr>
          <a:xfrm>
            <a:off x="1446911" y="5850738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6" name="object 216"/>
          <p:cNvSpPr/>
          <p:nvPr/>
        </p:nvSpPr>
        <p:spPr>
          <a:xfrm>
            <a:off x="2004187" y="5855501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7" name="object 217"/>
          <p:cNvSpPr/>
          <p:nvPr/>
        </p:nvSpPr>
        <p:spPr>
          <a:xfrm>
            <a:off x="596189" y="5850737"/>
            <a:ext cx="2118816" cy="0"/>
          </a:xfrm>
          <a:custGeom>
            <a:avLst/>
            <a:gdLst/>
            <a:ahLst/>
            <a:cxnLst/>
            <a:rect l="l" t="t" r="r" b="b"/>
            <a:pathLst>
              <a:path w="2118817">
                <a:moveTo>
                  <a:pt x="0" y="0"/>
                </a:moveTo>
                <a:lnTo>
                  <a:pt x="211881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8" name="object 218"/>
          <p:cNvSpPr/>
          <p:nvPr/>
        </p:nvSpPr>
        <p:spPr>
          <a:xfrm>
            <a:off x="1628015" y="6531775"/>
            <a:ext cx="1100708" cy="110718"/>
          </a:xfrm>
          <a:custGeom>
            <a:avLst/>
            <a:gdLst/>
            <a:ahLst/>
            <a:cxnLst/>
            <a:rect l="l" t="t" r="r" b="b"/>
            <a:pathLst>
              <a:path w="1100709" h="110718">
                <a:moveTo>
                  <a:pt x="1100709" y="0"/>
                </a:moveTo>
                <a:lnTo>
                  <a:pt x="1068722" y="26607"/>
                </a:lnTo>
                <a:lnTo>
                  <a:pt x="1014216" y="43097"/>
                </a:lnTo>
                <a:lnTo>
                  <a:pt x="977858" y="50882"/>
                </a:lnTo>
                <a:lnTo>
                  <a:pt x="935808" y="58322"/>
                </a:lnTo>
                <a:lnTo>
                  <a:pt x="888348" y="65389"/>
                </a:lnTo>
                <a:lnTo>
                  <a:pt x="835763" y="72055"/>
                </a:lnTo>
                <a:lnTo>
                  <a:pt x="778335" y="78290"/>
                </a:lnTo>
                <a:lnTo>
                  <a:pt x="716347" y="84067"/>
                </a:lnTo>
                <a:lnTo>
                  <a:pt x="650083" y="89356"/>
                </a:lnTo>
                <a:lnTo>
                  <a:pt x="579826" y="94130"/>
                </a:lnTo>
                <a:lnTo>
                  <a:pt x="505858" y="98360"/>
                </a:lnTo>
                <a:lnTo>
                  <a:pt x="428464" y="102018"/>
                </a:lnTo>
                <a:lnTo>
                  <a:pt x="347926" y="105074"/>
                </a:lnTo>
                <a:lnTo>
                  <a:pt x="264527" y="107500"/>
                </a:lnTo>
                <a:lnTo>
                  <a:pt x="178551" y="109269"/>
                </a:lnTo>
                <a:lnTo>
                  <a:pt x="90281" y="110351"/>
                </a:lnTo>
                <a:lnTo>
                  <a:pt x="0" y="1107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9" name="object 219"/>
          <p:cNvSpPr/>
          <p:nvPr/>
        </p:nvSpPr>
        <p:spPr>
          <a:xfrm>
            <a:off x="616840" y="6531775"/>
            <a:ext cx="1100708" cy="110718"/>
          </a:xfrm>
          <a:custGeom>
            <a:avLst/>
            <a:gdLst/>
            <a:ahLst/>
            <a:cxnLst/>
            <a:rect l="l" t="t" r="r" b="b"/>
            <a:pathLst>
              <a:path w="1100709" h="110718">
                <a:moveTo>
                  <a:pt x="1100709" y="110718"/>
                </a:moveTo>
                <a:lnTo>
                  <a:pt x="1010426" y="110351"/>
                </a:lnTo>
                <a:lnTo>
                  <a:pt x="922154" y="109269"/>
                </a:lnTo>
                <a:lnTo>
                  <a:pt x="836177" y="107500"/>
                </a:lnTo>
                <a:lnTo>
                  <a:pt x="752777" y="105074"/>
                </a:lnTo>
                <a:lnTo>
                  <a:pt x="672239" y="102018"/>
                </a:lnTo>
                <a:lnTo>
                  <a:pt x="594844" y="98360"/>
                </a:lnTo>
                <a:lnTo>
                  <a:pt x="520877" y="94130"/>
                </a:lnTo>
                <a:lnTo>
                  <a:pt x="450619" y="89356"/>
                </a:lnTo>
                <a:lnTo>
                  <a:pt x="384356" y="84067"/>
                </a:lnTo>
                <a:lnTo>
                  <a:pt x="322368" y="78290"/>
                </a:lnTo>
                <a:lnTo>
                  <a:pt x="264941" y="72055"/>
                </a:lnTo>
                <a:lnTo>
                  <a:pt x="212356" y="65389"/>
                </a:lnTo>
                <a:lnTo>
                  <a:pt x="164897" y="58322"/>
                </a:lnTo>
                <a:lnTo>
                  <a:pt x="122848" y="50882"/>
                </a:lnTo>
                <a:lnTo>
                  <a:pt x="86491" y="43097"/>
                </a:lnTo>
                <a:lnTo>
                  <a:pt x="31986" y="26607"/>
                </a:lnTo>
                <a:lnTo>
                  <a:pt x="3648" y="908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0" name="object 220"/>
          <p:cNvSpPr/>
          <p:nvPr/>
        </p:nvSpPr>
        <p:spPr>
          <a:xfrm>
            <a:off x="623708" y="5591175"/>
            <a:ext cx="2089010" cy="208368"/>
          </a:xfrm>
          <a:custGeom>
            <a:avLst/>
            <a:gdLst/>
            <a:ahLst/>
            <a:cxnLst/>
            <a:rect l="l" t="t" r="r" b="b"/>
            <a:pathLst>
              <a:path w="2089010" h="208368">
                <a:moveTo>
                  <a:pt x="0" y="104178"/>
                </a:moveTo>
                <a:lnTo>
                  <a:pt x="3462" y="112723"/>
                </a:lnTo>
                <a:lnTo>
                  <a:pt x="13670" y="121078"/>
                </a:lnTo>
                <a:lnTo>
                  <a:pt x="53248" y="137110"/>
                </a:lnTo>
                <a:lnTo>
                  <a:pt x="116583" y="152060"/>
                </a:lnTo>
                <a:lnTo>
                  <a:pt x="156487" y="159061"/>
                </a:lnTo>
                <a:lnTo>
                  <a:pt x="201524" y="165712"/>
                </a:lnTo>
                <a:lnTo>
                  <a:pt x="251424" y="171984"/>
                </a:lnTo>
                <a:lnTo>
                  <a:pt x="305919" y="177852"/>
                </a:lnTo>
                <a:lnTo>
                  <a:pt x="364740" y="183288"/>
                </a:lnTo>
                <a:lnTo>
                  <a:pt x="427618" y="188266"/>
                </a:lnTo>
                <a:lnTo>
                  <a:pt x="494284" y="192758"/>
                </a:lnTo>
                <a:lnTo>
                  <a:pt x="564470" y="196739"/>
                </a:lnTo>
                <a:lnTo>
                  <a:pt x="637906" y="200181"/>
                </a:lnTo>
                <a:lnTo>
                  <a:pt x="714324" y="203057"/>
                </a:lnTo>
                <a:lnTo>
                  <a:pt x="793455" y="205340"/>
                </a:lnTo>
                <a:lnTo>
                  <a:pt x="875029" y="207005"/>
                </a:lnTo>
                <a:lnTo>
                  <a:pt x="958779" y="208023"/>
                </a:lnTo>
                <a:lnTo>
                  <a:pt x="1044435" y="208368"/>
                </a:lnTo>
                <a:lnTo>
                  <a:pt x="1130114" y="208023"/>
                </a:lnTo>
                <a:lnTo>
                  <a:pt x="1213884" y="207005"/>
                </a:lnTo>
                <a:lnTo>
                  <a:pt x="1295477" y="205340"/>
                </a:lnTo>
                <a:lnTo>
                  <a:pt x="1374624" y="203057"/>
                </a:lnTo>
                <a:lnTo>
                  <a:pt x="1451055" y="200181"/>
                </a:lnTo>
                <a:lnTo>
                  <a:pt x="1524503" y="196739"/>
                </a:lnTo>
                <a:lnTo>
                  <a:pt x="1594698" y="192758"/>
                </a:lnTo>
                <a:lnTo>
                  <a:pt x="1661372" y="188266"/>
                </a:lnTo>
                <a:lnTo>
                  <a:pt x="1724257" y="183288"/>
                </a:lnTo>
                <a:lnTo>
                  <a:pt x="1783083" y="177852"/>
                </a:lnTo>
                <a:lnTo>
                  <a:pt x="1837581" y="171984"/>
                </a:lnTo>
                <a:lnTo>
                  <a:pt x="1887484" y="165712"/>
                </a:lnTo>
                <a:lnTo>
                  <a:pt x="1932522" y="159061"/>
                </a:lnTo>
                <a:lnTo>
                  <a:pt x="1972427" y="152060"/>
                </a:lnTo>
                <a:lnTo>
                  <a:pt x="2006930" y="144734"/>
                </a:lnTo>
                <a:lnTo>
                  <a:pt x="2058655" y="129216"/>
                </a:lnTo>
                <a:lnTo>
                  <a:pt x="2089010" y="104178"/>
                </a:lnTo>
                <a:lnTo>
                  <a:pt x="2058655" y="79144"/>
                </a:lnTo>
                <a:lnTo>
                  <a:pt x="2006930" y="63629"/>
                </a:lnTo>
                <a:lnTo>
                  <a:pt x="1972427" y="56304"/>
                </a:lnTo>
                <a:lnTo>
                  <a:pt x="1932522" y="49303"/>
                </a:lnTo>
                <a:lnTo>
                  <a:pt x="1887484" y="42654"/>
                </a:lnTo>
                <a:lnTo>
                  <a:pt x="1837581" y="36382"/>
                </a:lnTo>
                <a:lnTo>
                  <a:pt x="1783083" y="30514"/>
                </a:lnTo>
                <a:lnTo>
                  <a:pt x="1724257" y="25079"/>
                </a:lnTo>
                <a:lnTo>
                  <a:pt x="1661372" y="20101"/>
                </a:lnTo>
                <a:lnTo>
                  <a:pt x="1594698" y="15609"/>
                </a:lnTo>
                <a:lnTo>
                  <a:pt x="1524503" y="11629"/>
                </a:lnTo>
                <a:lnTo>
                  <a:pt x="1451055" y="8187"/>
                </a:lnTo>
                <a:lnTo>
                  <a:pt x="1374624" y="5311"/>
                </a:lnTo>
                <a:lnTo>
                  <a:pt x="1295477" y="3027"/>
                </a:lnTo>
                <a:lnTo>
                  <a:pt x="1213884" y="1363"/>
                </a:lnTo>
                <a:lnTo>
                  <a:pt x="1130114" y="345"/>
                </a:lnTo>
                <a:lnTo>
                  <a:pt x="1044435" y="0"/>
                </a:lnTo>
                <a:lnTo>
                  <a:pt x="958779" y="345"/>
                </a:lnTo>
                <a:lnTo>
                  <a:pt x="875030" y="1363"/>
                </a:lnTo>
                <a:lnTo>
                  <a:pt x="793455" y="3027"/>
                </a:lnTo>
                <a:lnTo>
                  <a:pt x="714325" y="5311"/>
                </a:lnTo>
                <a:lnTo>
                  <a:pt x="637908" y="8187"/>
                </a:lnTo>
                <a:lnTo>
                  <a:pt x="564472" y="11629"/>
                </a:lnTo>
                <a:lnTo>
                  <a:pt x="494287" y="15609"/>
                </a:lnTo>
                <a:lnTo>
                  <a:pt x="427621" y="20101"/>
                </a:lnTo>
                <a:lnTo>
                  <a:pt x="364744" y="25079"/>
                </a:lnTo>
                <a:lnTo>
                  <a:pt x="305923" y="30514"/>
                </a:lnTo>
                <a:lnTo>
                  <a:pt x="251429" y="36382"/>
                </a:lnTo>
                <a:lnTo>
                  <a:pt x="201529" y="42654"/>
                </a:lnTo>
                <a:lnTo>
                  <a:pt x="156493" y="49303"/>
                </a:lnTo>
                <a:lnTo>
                  <a:pt x="116589" y="56304"/>
                </a:lnTo>
                <a:lnTo>
                  <a:pt x="82086" y="63629"/>
                </a:lnTo>
                <a:lnTo>
                  <a:pt x="30359" y="79144"/>
                </a:lnTo>
                <a:lnTo>
                  <a:pt x="3464" y="95634"/>
                </a:lnTo>
                <a:lnTo>
                  <a:pt x="0" y="104178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1" name="object 221"/>
          <p:cNvSpPr/>
          <p:nvPr/>
        </p:nvSpPr>
        <p:spPr>
          <a:xfrm>
            <a:off x="623708" y="5591175"/>
            <a:ext cx="2089010" cy="208368"/>
          </a:xfrm>
          <a:custGeom>
            <a:avLst/>
            <a:gdLst/>
            <a:ahLst/>
            <a:cxnLst/>
            <a:rect l="l" t="t" r="r" b="b"/>
            <a:pathLst>
              <a:path w="2089010" h="208368">
                <a:moveTo>
                  <a:pt x="0" y="104178"/>
                </a:moveTo>
                <a:lnTo>
                  <a:pt x="30359" y="79144"/>
                </a:lnTo>
                <a:lnTo>
                  <a:pt x="82086" y="63629"/>
                </a:lnTo>
                <a:lnTo>
                  <a:pt x="116589" y="56304"/>
                </a:lnTo>
                <a:lnTo>
                  <a:pt x="156493" y="49303"/>
                </a:lnTo>
                <a:lnTo>
                  <a:pt x="201529" y="42654"/>
                </a:lnTo>
                <a:lnTo>
                  <a:pt x="251429" y="36382"/>
                </a:lnTo>
                <a:lnTo>
                  <a:pt x="305923" y="30514"/>
                </a:lnTo>
                <a:lnTo>
                  <a:pt x="364744" y="25079"/>
                </a:lnTo>
                <a:lnTo>
                  <a:pt x="427621" y="20101"/>
                </a:lnTo>
                <a:lnTo>
                  <a:pt x="494287" y="15609"/>
                </a:lnTo>
                <a:lnTo>
                  <a:pt x="564472" y="11629"/>
                </a:lnTo>
                <a:lnTo>
                  <a:pt x="637908" y="8187"/>
                </a:lnTo>
                <a:lnTo>
                  <a:pt x="714325" y="5311"/>
                </a:lnTo>
                <a:lnTo>
                  <a:pt x="793455" y="3027"/>
                </a:lnTo>
                <a:lnTo>
                  <a:pt x="875030" y="1363"/>
                </a:lnTo>
                <a:lnTo>
                  <a:pt x="958779" y="345"/>
                </a:lnTo>
                <a:lnTo>
                  <a:pt x="1044435" y="0"/>
                </a:lnTo>
                <a:lnTo>
                  <a:pt x="1130114" y="345"/>
                </a:lnTo>
                <a:lnTo>
                  <a:pt x="1213884" y="1363"/>
                </a:lnTo>
                <a:lnTo>
                  <a:pt x="1295477" y="3027"/>
                </a:lnTo>
                <a:lnTo>
                  <a:pt x="1374624" y="5311"/>
                </a:lnTo>
                <a:lnTo>
                  <a:pt x="1451055" y="8187"/>
                </a:lnTo>
                <a:lnTo>
                  <a:pt x="1524503" y="11629"/>
                </a:lnTo>
                <a:lnTo>
                  <a:pt x="1594698" y="15609"/>
                </a:lnTo>
                <a:lnTo>
                  <a:pt x="1661372" y="20101"/>
                </a:lnTo>
                <a:lnTo>
                  <a:pt x="1724257" y="25079"/>
                </a:lnTo>
                <a:lnTo>
                  <a:pt x="1783083" y="30514"/>
                </a:lnTo>
                <a:lnTo>
                  <a:pt x="1837581" y="36382"/>
                </a:lnTo>
                <a:lnTo>
                  <a:pt x="1887484" y="42654"/>
                </a:lnTo>
                <a:lnTo>
                  <a:pt x="1932522" y="49303"/>
                </a:lnTo>
                <a:lnTo>
                  <a:pt x="1972427" y="56304"/>
                </a:lnTo>
                <a:lnTo>
                  <a:pt x="2006930" y="63629"/>
                </a:lnTo>
                <a:lnTo>
                  <a:pt x="2058655" y="79144"/>
                </a:lnTo>
                <a:lnTo>
                  <a:pt x="2089010" y="104178"/>
                </a:lnTo>
                <a:lnTo>
                  <a:pt x="2085547" y="112723"/>
                </a:lnTo>
                <a:lnTo>
                  <a:pt x="2075340" y="121078"/>
                </a:lnTo>
                <a:lnTo>
                  <a:pt x="2035762" y="137110"/>
                </a:lnTo>
                <a:lnTo>
                  <a:pt x="1972427" y="152060"/>
                </a:lnTo>
                <a:lnTo>
                  <a:pt x="1932522" y="159061"/>
                </a:lnTo>
                <a:lnTo>
                  <a:pt x="1887484" y="165712"/>
                </a:lnTo>
                <a:lnTo>
                  <a:pt x="1837581" y="171984"/>
                </a:lnTo>
                <a:lnTo>
                  <a:pt x="1783083" y="177852"/>
                </a:lnTo>
                <a:lnTo>
                  <a:pt x="1724257" y="183288"/>
                </a:lnTo>
                <a:lnTo>
                  <a:pt x="1661372" y="188266"/>
                </a:lnTo>
                <a:lnTo>
                  <a:pt x="1594698" y="192758"/>
                </a:lnTo>
                <a:lnTo>
                  <a:pt x="1524503" y="196739"/>
                </a:lnTo>
                <a:lnTo>
                  <a:pt x="1451055" y="200181"/>
                </a:lnTo>
                <a:lnTo>
                  <a:pt x="1374624" y="203057"/>
                </a:lnTo>
                <a:lnTo>
                  <a:pt x="1295477" y="205340"/>
                </a:lnTo>
                <a:lnTo>
                  <a:pt x="1213884" y="207005"/>
                </a:lnTo>
                <a:lnTo>
                  <a:pt x="1130114" y="208023"/>
                </a:lnTo>
                <a:lnTo>
                  <a:pt x="1044435" y="208368"/>
                </a:lnTo>
                <a:lnTo>
                  <a:pt x="958779" y="208023"/>
                </a:lnTo>
                <a:lnTo>
                  <a:pt x="875029" y="207005"/>
                </a:lnTo>
                <a:lnTo>
                  <a:pt x="793455" y="205340"/>
                </a:lnTo>
                <a:lnTo>
                  <a:pt x="714324" y="203057"/>
                </a:lnTo>
                <a:lnTo>
                  <a:pt x="637906" y="200181"/>
                </a:lnTo>
                <a:lnTo>
                  <a:pt x="564470" y="196739"/>
                </a:lnTo>
                <a:lnTo>
                  <a:pt x="494284" y="192758"/>
                </a:lnTo>
                <a:lnTo>
                  <a:pt x="427618" y="188266"/>
                </a:lnTo>
                <a:lnTo>
                  <a:pt x="364740" y="183288"/>
                </a:lnTo>
                <a:lnTo>
                  <a:pt x="305919" y="177852"/>
                </a:lnTo>
                <a:lnTo>
                  <a:pt x="251424" y="171984"/>
                </a:lnTo>
                <a:lnTo>
                  <a:pt x="201524" y="165712"/>
                </a:lnTo>
                <a:lnTo>
                  <a:pt x="156487" y="159061"/>
                </a:lnTo>
                <a:lnTo>
                  <a:pt x="116583" y="152060"/>
                </a:lnTo>
                <a:lnTo>
                  <a:pt x="82081" y="144734"/>
                </a:lnTo>
                <a:lnTo>
                  <a:pt x="53248" y="137110"/>
                </a:lnTo>
                <a:lnTo>
                  <a:pt x="13670" y="121078"/>
                </a:lnTo>
                <a:lnTo>
                  <a:pt x="0" y="104178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2" name="object 222"/>
          <p:cNvSpPr/>
          <p:nvPr/>
        </p:nvSpPr>
        <p:spPr>
          <a:xfrm>
            <a:off x="2705862" y="5691187"/>
            <a:ext cx="0" cy="860818"/>
          </a:xfrm>
          <a:custGeom>
            <a:avLst/>
            <a:gdLst/>
            <a:ahLst/>
            <a:cxnLst/>
            <a:rect l="l" t="t" r="r" b="b"/>
            <a:pathLst>
              <a:path h="860818">
                <a:moveTo>
                  <a:pt x="0" y="0"/>
                </a:moveTo>
                <a:lnTo>
                  <a:pt x="0" y="8608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3" name="object 223"/>
          <p:cNvSpPr/>
          <p:nvPr/>
        </p:nvSpPr>
        <p:spPr>
          <a:xfrm>
            <a:off x="621423" y="5684050"/>
            <a:ext cx="0" cy="860818"/>
          </a:xfrm>
          <a:custGeom>
            <a:avLst/>
            <a:gdLst/>
            <a:ahLst/>
            <a:cxnLst/>
            <a:rect l="l" t="t" r="r" b="b"/>
            <a:pathLst>
              <a:path h="860818">
                <a:moveTo>
                  <a:pt x="0" y="0"/>
                </a:moveTo>
                <a:lnTo>
                  <a:pt x="0" y="8608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4" name="object 224"/>
          <p:cNvSpPr/>
          <p:nvPr/>
        </p:nvSpPr>
        <p:spPr>
          <a:xfrm>
            <a:off x="3432683" y="5855501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5" name="object 225"/>
          <p:cNvSpPr/>
          <p:nvPr/>
        </p:nvSpPr>
        <p:spPr>
          <a:xfrm>
            <a:off x="3762883" y="5855501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6" name="object 226"/>
          <p:cNvSpPr/>
          <p:nvPr/>
        </p:nvSpPr>
        <p:spPr>
          <a:xfrm>
            <a:off x="4301744" y="5860263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7" name="object 227"/>
          <p:cNvSpPr/>
          <p:nvPr/>
        </p:nvSpPr>
        <p:spPr>
          <a:xfrm>
            <a:off x="2921382" y="5850737"/>
            <a:ext cx="2118740" cy="0"/>
          </a:xfrm>
          <a:custGeom>
            <a:avLst/>
            <a:gdLst/>
            <a:ahLst/>
            <a:cxnLst/>
            <a:rect l="l" t="t" r="r" b="b"/>
            <a:pathLst>
              <a:path w="2118741">
                <a:moveTo>
                  <a:pt x="0" y="0"/>
                </a:moveTo>
                <a:lnTo>
                  <a:pt x="211874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8" name="object 228"/>
          <p:cNvSpPr/>
          <p:nvPr/>
        </p:nvSpPr>
        <p:spPr>
          <a:xfrm>
            <a:off x="2948815" y="5595937"/>
            <a:ext cx="2089023" cy="208368"/>
          </a:xfrm>
          <a:custGeom>
            <a:avLst/>
            <a:gdLst/>
            <a:ahLst/>
            <a:cxnLst/>
            <a:rect l="l" t="t" r="r" b="b"/>
            <a:pathLst>
              <a:path w="2089023" h="208368">
                <a:moveTo>
                  <a:pt x="0" y="104178"/>
                </a:moveTo>
                <a:lnTo>
                  <a:pt x="3463" y="112734"/>
                </a:lnTo>
                <a:lnTo>
                  <a:pt x="53259" y="137117"/>
                </a:lnTo>
                <a:lnTo>
                  <a:pt x="116606" y="152064"/>
                </a:lnTo>
                <a:lnTo>
                  <a:pt x="156517" y="159065"/>
                </a:lnTo>
                <a:lnTo>
                  <a:pt x="201562" y="165714"/>
                </a:lnTo>
                <a:lnTo>
                  <a:pt x="251470" y="171986"/>
                </a:lnTo>
                <a:lnTo>
                  <a:pt x="305974" y="177853"/>
                </a:lnTo>
                <a:lnTo>
                  <a:pt x="364804" y="183289"/>
                </a:lnTo>
                <a:lnTo>
                  <a:pt x="427692" y="188267"/>
                </a:lnTo>
                <a:lnTo>
                  <a:pt x="494368" y="192759"/>
                </a:lnTo>
                <a:lnTo>
                  <a:pt x="564563" y="196739"/>
                </a:lnTo>
                <a:lnTo>
                  <a:pt x="638008" y="200181"/>
                </a:lnTo>
                <a:lnTo>
                  <a:pt x="714434" y="203057"/>
                </a:lnTo>
                <a:lnTo>
                  <a:pt x="793573" y="205340"/>
                </a:lnTo>
                <a:lnTo>
                  <a:pt x="875156" y="207005"/>
                </a:lnTo>
                <a:lnTo>
                  <a:pt x="958912" y="208023"/>
                </a:lnTo>
                <a:lnTo>
                  <a:pt x="1044575" y="208368"/>
                </a:lnTo>
                <a:lnTo>
                  <a:pt x="1130236" y="208023"/>
                </a:lnTo>
                <a:lnTo>
                  <a:pt x="1213990" y="207005"/>
                </a:lnTo>
                <a:lnTo>
                  <a:pt x="1295568" y="205340"/>
                </a:lnTo>
                <a:lnTo>
                  <a:pt x="1374701" y="203057"/>
                </a:lnTo>
                <a:lnTo>
                  <a:pt x="1451121" y="200181"/>
                </a:lnTo>
                <a:lnTo>
                  <a:pt x="1524559" y="196739"/>
                </a:lnTo>
                <a:lnTo>
                  <a:pt x="1594746" y="192758"/>
                </a:lnTo>
                <a:lnTo>
                  <a:pt x="1661412" y="188266"/>
                </a:lnTo>
                <a:lnTo>
                  <a:pt x="1724291" y="183288"/>
                </a:lnTo>
                <a:lnTo>
                  <a:pt x="1783111" y="177852"/>
                </a:lnTo>
                <a:lnTo>
                  <a:pt x="1837606" y="171984"/>
                </a:lnTo>
                <a:lnTo>
                  <a:pt x="1887505" y="165712"/>
                </a:lnTo>
                <a:lnTo>
                  <a:pt x="1932540" y="159061"/>
                </a:lnTo>
                <a:lnTo>
                  <a:pt x="1972443" y="152060"/>
                </a:lnTo>
                <a:lnTo>
                  <a:pt x="2006945" y="144734"/>
                </a:lnTo>
                <a:lnTo>
                  <a:pt x="2058668" y="129216"/>
                </a:lnTo>
                <a:lnTo>
                  <a:pt x="2089023" y="104178"/>
                </a:lnTo>
                <a:lnTo>
                  <a:pt x="2058668" y="79144"/>
                </a:lnTo>
                <a:lnTo>
                  <a:pt x="2006945" y="63629"/>
                </a:lnTo>
                <a:lnTo>
                  <a:pt x="1972443" y="56304"/>
                </a:lnTo>
                <a:lnTo>
                  <a:pt x="1932540" y="49303"/>
                </a:lnTo>
                <a:lnTo>
                  <a:pt x="1887505" y="42654"/>
                </a:lnTo>
                <a:lnTo>
                  <a:pt x="1837606" y="36382"/>
                </a:lnTo>
                <a:lnTo>
                  <a:pt x="1783111" y="30514"/>
                </a:lnTo>
                <a:lnTo>
                  <a:pt x="1724291" y="25079"/>
                </a:lnTo>
                <a:lnTo>
                  <a:pt x="1661412" y="20101"/>
                </a:lnTo>
                <a:lnTo>
                  <a:pt x="1594746" y="15609"/>
                </a:lnTo>
                <a:lnTo>
                  <a:pt x="1524559" y="11629"/>
                </a:lnTo>
                <a:lnTo>
                  <a:pt x="1451121" y="8187"/>
                </a:lnTo>
                <a:lnTo>
                  <a:pt x="1374701" y="5311"/>
                </a:lnTo>
                <a:lnTo>
                  <a:pt x="1295568" y="3027"/>
                </a:lnTo>
                <a:lnTo>
                  <a:pt x="1213990" y="1363"/>
                </a:lnTo>
                <a:lnTo>
                  <a:pt x="1130236" y="345"/>
                </a:lnTo>
                <a:lnTo>
                  <a:pt x="1044575" y="0"/>
                </a:lnTo>
                <a:lnTo>
                  <a:pt x="958913" y="345"/>
                </a:lnTo>
                <a:lnTo>
                  <a:pt x="875159" y="1363"/>
                </a:lnTo>
                <a:lnTo>
                  <a:pt x="793581" y="3027"/>
                </a:lnTo>
                <a:lnTo>
                  <a:pt x="714447" y="5311"/>
                </a:lnTo>
                <a:lnTo>
                  <a:pt x="638026" y="8187"/>
                </a:lnTo>
                <a:lnTo>
                  <a:pt x="564587" y="11629"/>
                </a:lnTo>
                <a:lnTo>
                  <a:pt x="494398" y="15609"/>
                </a:lnTo>
                <a:lnTo>
                  <a:pt x="427728" y="20101"/>
                </a:lnTo>
                <a:lnTo>
                  <a:pt x="364847" y="25079"/>
                </a:lnTo>
                <a:lnTo>
                  <a:pt x="306022" y="30514"/>
                </a:lnTo>
                <a:lnTo>
                  <a:pt x="251522" y="36382"/>
                </a:lnTo>
                <a:lnTo>
                  <a:pt x="201617" y="42654"/>
                </a:lnTo>
                <a:lnTo>
                  <a:pt x="156574" y="49303"/>
                </a:lnTo>
                <a:lnTo>
                  <a:pt x="116662" y="56304"/>
                </a:lnTo>
                <a:lnTo>
                  <a:pt x="82151" y="63629"/>
                </a:lnTo>
                <a:lnTo>
                  <a:pt x="30403" y="79144"/>
                </a:lnTo>
                <a:lnTo>
                  <a:pt x="3480" y="95634"/>
                </a:lnTo>
                <a:lnTo>
                  <a:pt x="0" y="104178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9" name="object 229"/>
          <p:cNvSpPr/>
          <p:nvPr/>
        </p:nvSpPr>
        <p:spPr>
          <a:xfrm>
            <a:off x="2948815" y="5595937"/>
            <a:ext cx="2089023" cy="208368"/>
          </a:xfrm>
          <a:custGeom>
            <a:avLst/>
            <a:gdLst/>
            <a:ahLst/>
            <a:cxnLst/>
            <a:rect l="l" t="t" r="r" b="b"/>
            <a:pathLst>
              <a:path w="2089023" h="208368">
                <a:moveTo>
                  <a:pt x="0" y="104178"/>
                </a:moveTo>
                <a:lnTo>
                  <a:pt x="30403" y="79144"/>
                </a:lnTo>
                <a:lnTo>
                  <a:pt x="82151" y="63629"/>
                </a:lnTo>
                <a:lnTo>
                  <a:pt x="116662" y="56304"/>
                </a:lnTo>
                <a:lnTo>
                  <a:pt x="156574" y="49303"/>
                </a:lnTo>
                <a:lnTo>
                  <a:pt x="201617" y="42654"/>
                </a:lnTo>
                <a:lnTo>
                  <a:pt x="251522" y="36382"/>
                </a:lnTo>
                <a:lnTo>
                  <a:pt x="306022" y="30514"/>
                </a:lnTo>
                <a:lnTo>
                  <a:pt x="364847" y="25079"/>
                </a:lnTo>
                <a:lnTo>
                  <a:pt x="427728" y="20101"/>
                </a:lnTo>
                <a:lnTo>
                  <a:pt x="494398" y="15609"/>
                </a:lnTo>
                <a:lnTo>
                  <a:pt x="564587" y="11629"/>
                </a:lnTo>
                <a:lnTo>
                  <a:pt x="638026" y="8187"/>
                </a:lnTo>
                <a:lnTo>
                  <a:pt x="714447" y="5311"/>
                </a:lnTo>
                <a:lnTo>
                  <a:pt x="793581" y="3027"/>
                </a:lnTo>
                <a:lnTo>
                  <a:pt x="875159" y="1363"/>
                </a:lnTo>
                <a:lnTo>
                  <a:pt x="958913" y="345"/>
                </a:lnTo>
                <a:lnTo>
                  <a:pt x="1044575" y="0"/>
                </a:lnTo>
                <a:lnTo>
                  <a:pt x="1130236" y="345"/>
                </a:lnTo>
                <a:lnTo>
                  <a:pt x="1213990" y="1363"/>
                </a:lnTo>
                <a:lnTo>
                  <a:pt x="1295568" y="3027"/>
                </a:lnTo>
                <a:lnTo>
                  <a:pt x="1374701" y="5311"/>
                </a:lnTo>
                <a:lnTo>
                  <a:pt x="1451121" y="8187"/>
                </a:lnTo>
                <a:lnTo>
                  <a:pt x="1524559" y="11629"/>
                </a:lnTo>
                <a:lnTo>
                  <a:pt x="1594746" y="15609"/>
                </a:lnTo>
                <a:lnTo>
                  <a:pt x="1661412" y="20101"/>
                </a:lnTo>
                <a:lnTo>
                  <a:pt x="1724291" y="25079"/>
                </a:lnTo>
                <a:lnTo>
                  <a:pt x="1783111" y="30514"/>
                </a:lnTo>
                <a:lnTo>
                  <a:pt x="1837606" y="36382"/>
                </a:lnTo>
                <a:lnTo>
                  <a:pt x="1887505" y="42654"/>
                </a:lnTo>
                <a:lnTo>
                  <a:pt x="1932540" y="49303"/>
                </a:lnTo>
                <a:lnTo>
                  <a:pt x="1972443" y="56304"/>
                </a:lnTo>
                <a:lnTo>
                  <a:pt x="2006945" y="63629"/>
                </a:lnTo>
                <a:lnTo>
                  <a:pt x="2058668" y="79144"/>
                </a:lnTo>
                <a:lnTo>
                  <a:pt x="2089023" y="104178"/>
                </a:lnTo>
                <a:lnTo>
                  <a:pt x="2085560" y="112723"/>
                </a:lnTo>
                <a:lnTo>
                  <a:pt x="2075352" y="121078"/>
                </a:lnTo>
                <a:lnTo>
                  <a:pt x="2035776" y="137110"/>
                </a:lnTo>
                <a:lnTo>
                  <a:pt x="1972443" y="152060"/>
                </a:lnTo>
                <a:lnTo>
                  <a:pt x="1932540" y="159061"/>
                </a:lnTo>
                <a:lnTo>
                  <a:pt x="1887505" y="165712"/>
                </a:lnTo>
                <a:lnTo>
                  <a:pt x="1837606" y="171984"/>
                </a:lnTo>
                <a:lnTo>
                  <a:pt x="1783111" y="177852"/>
                </a:lnTo>
                <a:lnTo>
                  <a:pt x="1724291" y="183288"/>
                </a:lnTo>
                <a:lnTo>
                  <a:pt x="1661412" y="188266"/>
                </a:lnTo>
                <a:lnTo>
                  <a:pt x="1594746" y="192758"/>
                </a:lnTo>
                <a:lnTo>
                  <a:pt x="1524559" y="196739"/>
                </a:lnTo>
                <a:lnTo>
                  <a:pt x="1451121" y="200181"/>
                </a:lnTo>
                <a:lnTo>
                  <a:pt x="1374701" y="203057"/>
                </a:lnTo>
                <a:lnTo>
                  <a:pt x="1295568" y="205340"/>
                </a:lnTo>
                <a:lnTo>
                  <a:pt x="1213990" y="207005"/>
                </a:lnTo>
                <a:lnTo>
                  <a:pt x="1130236" y="208023"/>
                </a:lnTo>
                <a:lnTo>
                  <a:pt x="1044575" y="208368"/>
                </a:lnTo>
                <a:lnTo>
                  <a:pt x="958912" y="208023"/>
                </a:lnTo>
                <a:lnTo>
                  <a:pt x="875156" y="207005"/>
                </a:lnTo>
                <a:lnTo>
                  <a:pt x="793573" y="205340"/>
                </a:lnTo>
                <a:lnTo>
                  <a:pt x="714434" y="203057"/>
                </a:lnTo>
                <a:lnTo>
                  <a:pt x="638008" y="200181"/>
                </a:lnTo>
                <a:lnTo>
                  <a:pt x="564563" y="196739"/>
                </a:lnTo>
                <a:lnTo>
                  <a:pt x="494368" y="192759"/>
                </a:lnTo>
                <a:lnTo>
                  <a:pt x="427692" y="188267"/>
                </a:lnTo>
                <a:lnTo>
                  <a:pt x="364804" y="183289"/>
                </a:lnTo>
                <a:lnTo>
                  <a:pt x="305974" y="177853"/>
                </a:lnTo>
                <a:lnTo>
                  <a:pt x="251470" y="171986"/>
                </a:lnTo>
                <a:lnTo>
                  <a:pt x="201562" y="165714"/>
                </a:lnTo>
                <a:lnTo>
                  <a:pt x="156517" y="159065"/>
                </a:lnTo>
                <a:lnTo>
                  <a:pt x="116606" y="152064"/>
                </a:lnTo>
                <a:lnTo>
                  <a:pt x="82097" y="144739"/>
                </a:lnTo>
                <a:lnTo>
                  <a:pt x="53259" y="137117"/>
                </a:lnTo>
                <a:lnTo>
                  <a:pt x="13673" y="121087"/>
                </a:lnTo>
                <a:lnTo>
                  <a:pt x="0" y="10419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0" name="object 230"/>
          <p:cNvSpPr/>
          <p:nvPr/>
        </p:nvSpPr>
        <p:spPr>
          <a:xfrm>
            <a:off x="3953255" y="6531775"/>
            <a:ext cx="1100582" cy="110718"/>
          </a:xfrm>
          <a:custGeom>
            <a:avLst/>
            <a:gdLst/>
            <a:ahLst/>
            <a:cxnLst/>
            <a:rect l="l" t="t" r="r" b="b"/>
            <a:pathLst>
              <a:path w="1100582" h="110718">
                <a:moveTo>
                  <a:pt x="1100582" y="0"/>
                </a:moveTo>
                <a:lnTo>
                  <a:pt x="1068595" y="26607"/>
                </a:lnTo>
                <a:lnTo>
                  <a:pt x="1014091" y="43097"/>
                </a:lnTo>
                <a:lnTo>
                  <a:pt x="977734" y="50882"/>
                </a:lnTo>
                <a:lnTo>
                  <a:pt x="935686" y="58322"/>
                </a:lnTo>
                <a:lnTo>
                  <a:pt x="888229" y="65389"/>
                </a:lnTo>
                <a:lnTo>
                  <a:pt x="835648" y="72055"/>
                </a:lnTo>
                <a:lnTo>
                  <a:pt x="778224" y="78290"/>
                </a:lnTo>
                <a:lnTo>
                  <a:pt x="716241" y="84067"/>
                </a:lnTo>
                <a:lnTo>
                  <a:pt x="649983" y="89356"/>
                </a:lnTo>
                <a:lnTo>
                  <a:pt x="579734" y="94130"/>
                </a:lnTo>
                <a:lnTo>
                  <a:pt x="505775" y="98360"/>
                </a:lnTo>
                <a:lnTo>
                  <a:pt x="428390" y="102018"/>
                </a:lnTo>
                <a:lnTo>
                  <a:pt x="347864" y="105074"/>
                </a:lnTo>
                <a:lnTo>
                  <a:pt x="264478" y="107500"/>
                </a:lnTo>
                <a:lnTo>
                  <a:pt x="178517" y="109269"/>
                </a:lnTo>
                <a:lnTo>
                  <a:pt x="90263" y="110351"/>
                </a:lnTo>
                <a:lnTo>
                  <a:pt x="0" y="1107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1" name="object 231"/>
          <p:cNvSpPr/>
          <p:nvPr/>
        </p:nvSpPr>
        <p:spPr>
          <a:xfrm>
            <a:off x="2941956" y="6531775"/>
            <a:ext cx="1100708" cy="110718"/>
          </a:xfrm>
          <a:custGeom>
            <a:avLst/>
            <a:gdLst/>
            <a:ahLst/>
            <a:cxnLst/>
            <a:rect l="l" t="t" r="r" b="b"/>
            <a:pathLst>
              <a:path w="1100708" h="110718">
                <a:moveTo>
                  <a:pt x="1100708" y="110718"/>
                </a:moveTo>
                <a:lnTo>
                  <a:pt x="1010427" y="110351"/>
                </a:lnTo>
                <a:lnTo>
                  <a:pt x="922157" y="109269"/>
                </a:lnTo>
                <a:lnTo>
                  <a:pt x="836181" y="107500"/>
                </a:lnTo>
                <a:lnTo>
                  <a:pt x="752782" y="105074"/>
                </a:lnTo>
                <a:lnTo>
                  <a:pt x="672244" y="102018"/>
                </a:lnTo>
                <a:lnTo>
                  <a:pt x="594850" y="98360"/>
                </a:lnTo>
                <a:lnTo>
                  <a:pt x="520882" y="94130"/>
                </a:lnTo>
                <a:lnTo>
                  <a:pt x="450625" y="89356"/>
                </a:lnTo>
                <a:lnTo>
                  <a:pt x="384361" y="84067"/>
                </a:lnTo>
                <a:lnTo>
                  <a:pt x="322373" y="78290"/>
                </a:lnTo>
                <a:lnTo>
                  <a:pt x="264945" y="72055"/>
                </a:lnTo>
                <a:lnTo>
                  <a:pt x="212360" y="65389"/>
                </a:lnTo>
                <a:lnTo>
                  <a:pt x="164900" y="58322"/>
                </a:lnTo>
                <a:lnTo>
                  <a:pt x="122850" y="50882"/>
                </a:lnTo>
                <a:lnTo>
                  <a:pt x="86492" y="43097"/>
                </a:lnTo>
                <a:lnTo>
                  <a:pt x="31986" y="26607"/>
                </a:lnTo>
                <a:lnTo>
                  <a:pt x="3648" y="908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2" name="object 232"/>
          <p:cNvSpPr/>
          <p:nvPr/>
        </p:nvSpPr>
        <p:spPr>
          <a:xfrm>
            <a:off x="5030978" y="5691187"/>
            <a:ext cx="0" cy="860818"/>
          </a:xfrm>
          <a:custGeom>
            <a:avLst/>
            <a:gdLst/>
            <a:ahLst/>
            <a:cxnLst/>
            <a:rect l="l" t="t" r="r" b="b"/>
            <a:pathLst>
              <a:path h="860818">
                <a:moveTo>
                  <a:pt x="0" y="0"/>
                </a:moveTo>
                <a:lnTo>
                  <a:pt x="0" y="8608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3" name="object 233"/>
          <p:cNvSpPr/>
          <p:nvPr/>
        </p:nvSpPr>
        <p:spPr>
          <a:xfrm>
            <a:off x="2946528" y="5684050"/>
            <a:ext cx="0" cy="860818"/>
          </a:xfrm>
          <a:custGeom>
            <a:avLst/>
            <a:gdLst/>
            <a:ahLst/>
            <a:cxnLst/>
            <a:rect l="l" t="t" r="r" b="b"/>
            <a:pathLst>
              <a:path h="860818">
                <a:moveTo>
                  <a:pt x="0" y="0"/>
                </a:moveTo>
                <a:lnTo>
                  <a:pt x="0" y="8608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4" name="object 234"/>
          <p:cNvSpPr/>
          <p:nvPr/>
        </p:nvSpPr>
        <p:spPr>
          <a:xfrm>
            <a:off x="5246498" y="5576952"/>
            <a:ext cx="2089023" cy="208305"/>
          </a:xfrm>
          <a:custGeom>
            <a:avLst/>
            <a:gdLst/>
            <a:ahLst/>
            <a:cxnLst/>
            <a:rect l="l" t="t" r="r" b="b"/>
            <a:pathLst>
              <a:path w="2089023" h="208305">
                <a:moveTo>
                  <a:pt x="0" y="104114"/>
                </a:moveTo>
                <a:lnTo>
                  <a:pt x="3462" y="112670"/>
                </a:lnTo>
                <a:lnTo>
                  <a:pt x="53246" y="137053"/>
                </a:lnTo>
                <a:lnTo>
                  <a:pt x="116579" y="152000"/>
                </a:lnTo>
                <a:lnTo>
                  <a:pt x="156482" y="159001"/>
                </a:lnTo>
                <a:lnTo>
                  <a:pt x="201517" y="165651"/>
                </a:lnTo>
                <a:lnTo>
                  <a:pt x="251416" y="171923"/>
                </a:lnTo>
                <a:lnTo>
                  <a:pt x="305911" y="177790"/>
                </a:lnTo>
                <a:lnTo>
                  <a:pt x="364731" y="183226"/>
                </a:lnTo>
                <a:lnTo>
                  <a:pt x="427610" y="188203"/>
                </a:lnTo>
                <a:lnTo>
                  <a:pt x="494276" y="192695"/>
                </a:lnTo>
                <a:lnTo>
                  <a:pt x="564463" y="196676"/>
                </a:lnTo>
                <a:lnTo>
                  <a:pt x="637901" y="200117"/>
                </a:lnTo>
                <a:lnTo>
                  <a:pt x="714321" y="202993"/>
                </a:lnTo>
                <a:lnTo>
                  <a:pt x="793454" y="205277"/>
                </a:lnTo>
                <a:lnTo>
                  <a:pt x="875032" y="206941"/>
                </a:lnTo>
                <a:lnTo>
                  <a:pt x="958786" y="207960"/>
                </a:lnTo>
                <a:lnTo>
                  <a:pt x="1044448" y="208305"/>
                </a:lnTo>
                <a:lnTo>
                  <a:pt x="1130127" y="207960"/>
                </a:lnTo>
                <a:lnTo>
                  <a:pt x="1213897" y="206941"/>
                </a:lnTo>
                <a:lnTo>
                  <a:pt x="1295490" y="205277"/>
                </a:lnTo>
                <a:lnTo>
                  <a:pt x="1374636" y="202993"/>
                </a:lnTo>
                <a:lnTo>
                  <a:pt x="1451068" y="200117"/>
                </a:lnTo>
                <a:lnTo>
                  <a:pt x="1524516" y="196675"/>
                </a:lnTo>
                <a:lnTo>
                  <a:pt x="1594711" y="192695"/>
                </a:lnTo>
                <a:lnTo>
                  <a:pt x="1661385" y="188202"/>
                </a:lnTo>
                <a:lnTo>
                  <a:pt x="1724269" y="183225"/>
                </a:lnTo>
                <a:lnTo>
                  <a:pt x="1783095" y="177788"/>
                </a:lnTo>
                <a:lnTo>
                  <a:pt x="1837594" y="171921"/>
                </a:lnTo>
                <a:lnTo>
                  <a:pt x="1887497" y="165648"/>
                </a:lnTo>
                <a:lnTo>
                  <a:pt x="1932535" y="158998"/>
                </a:lnTo>
                <a:lnTo>
                  <a:pt x="1972440" y="151996"/>
                </a:lnTo>
                <a:lnTo>
                  <a:pt x="2006943" y="144670"/>
                </a:lnTo>
                <a:lnTo>
                  <a:pt x="2058668" y="129153"/>
                </a:lnTo>
                <a:lnTo>
                  <a:pt x="2089023" y="104114"/>
                </a:lnTo>
                <a:lnTo>
                  <a:pt x="2058668" y="79084"/>
                </a:lnTo>
                <a:lnTo>
                  <a:pt x="2006943" y="63575"/>
                </a:lnTo>
                <a:lnTo>
                  <a:pt x="1972440" y="56254"/>
                </a:lnTo>
                <a:lnTo>
                  <a:pt x="1932535" y="49258"/>
                </a:lnTo>
                <a:lnTo>
                  <a:pt x="1887497" y="42612"/>
                </a:lnTo>
                <a:lnTo>
                  <a:pt x="1837594" y="36345"/>
                </a:lnTo>
                <a:lnTo>
                  <a:pt x="1783095" y="30483"/>
                </a:lnTo>
                <a:lnTo>
                  <a:pt x="1724269" y="25052"/>
                </a:lnTo>
                <a:lnTo>
                  <a:pt x="1661385" y="20079"/>
                </a:lnTo>
                <a:lnTo>
                  <a:pt x="1594711" y="15591"/>
                </a:lnTo>
                <a:lnTo>
                  <a:pt x="1524516" y="11615"/>
                </a:lnTo>
                <a:lnTo>
                  <a:pt x="1451068" y="8177"/>
                </a:lnTo>
                <a:lnTo>
                  <a:pt x="1374636" y="5304"/>
                </a:lnTo>
                <a:lnTo>
                  <a:pt x="1295490" y="3024"/>
                </a:lnTo>
                <a:lnTo>
                  <a:pt x="1213897" y="1361"/>
                </a:lnTo>
                <a:lnTo>
                  <a:pt x="1130127" y="344"/>
                </a:lnTo>
                <a:lnTo>
                  <a:pt x="1044448" y="0"/>
                </a:lnTo>
                <a:lnTo>
                  <a:pt x="958786" y="344"/>
                </a:lnTo>
                <a:lnTo>
                  <a:pt x="875032" y="1361"/>
                </a:lnTo>
                <a:lnTo>
                  <a:pt x="793454" y="3024"/>
                </a:lnTo>
                <a:lnTo>
                  <a:pt x="714321" y="5304"/>
                </a:lnTo>
                <a:lnTo>
                  <a:pt x="637901" y="8177"/>
                </a:lnTo>
                <a:lnTo>
                  <a:pt x="564463" y="11615"/>
                </a:lnTo>
                <a:lnTo>
                  <a:pt x="494276" y="15591"/>
                </a:lnTo>
                <a:lnTo>
                  <a:pt x="427610" y="20079"/>
                </a:lnTo>
                <a:lnTo>
                  <a:pt x="364731" y="25052"/>
                </a:lnTo>
                <a:lnTo>
                  <a:pt x="305911" y="30483"/>
                </a:lnTo>
                <a:lnTo>
                  <a:pt x="251416" y="36345"/>
                </a:lnTo>
                <a:lnTo>
                  <a:pt x="201517" y="42612"/>
                </a:lnTo>
                <a:lnTo>
                  <a:pt x="156482" y="49258"/>
                </a:lnTo>
                <a:lnTo>
                  <a:pt x="116579" y="56254"/>
                </a:lnTo>
                <a:lnTo>
                  <a:pt x="82077" y="63575"/>
                </a:lnTo>
                <a:lnTo>
                  <a:pt x="30354" y="79084"/>
                </a:lnTo>
                <a:lnTo>
                  <a:pt x="3462" y="95571"/>
                </a:lnTo>
                <a:lnTo>
                  <a:pt x="0" y="104114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5" name="object 235"/>
          <p:cNvSpPr/>
          <p:nvPr/>
        </p:nvSpPr>
        <p:spPr>
          <a:xfrm>
            <a:off x="5246498" y="5576952"/>
            <a:ext cx="2089023" cy="208305"/>
          </a:xfrm>
          <a:custGeom>
            <a:avLst/>
            <a:gdLst/>
            <a:ahLst/>
            <a:cxnLst/>
            <a:rect l="l" t="t" r="r" b="b"/>
            <a:pathLst>
              <a:path w="2089023" h="208305">
                <a:moveTo>
                  <a:pt x="0" y="104114"/>
                </a:moveTo>
                <a:lnTo>
                  <a:pt x="30354" y="79084"/>
                </a:lnTo>
                <a:lnTo>
                  <a:pt x="82077" y="63575"/>
                </a:lnTo>
                <a:lnTo>
                  <a:pt x="116579" y="56254"/>
                </a:lnTo>
                <a:lnTo>
                  <a:pt x="156482" y="49258"/>
                </a:lnTo>
                <a:lnTo>
                  <a:pt x="201517" y="42612"/>
                </a:lnTo>
                <a:lnTo>
                  <a:pt x="251416" y="36345"/>
                </a:lnTo>
                <a:lnTo>
                  <a:pt x="305911" y="30483"/>
                </a:lnTo>
                <a:lnTo>
                  <a:pt x="364731" y="25052"/>
                </a:lnTo>
                <a:lnTo>
                  <a:pt x="427610" y="20079"/>
                </a:lnTo>
                <a:lnTo>
                  <a:pt x="494276" y="15591"/>
                </a:lnTo>
                <a:lnTo>
                  <a:pt x="564463" y="11615"/>
                </a:lnTo>
                <a:lnTo>
                  <a:pt x="637901" y="8177"/>
                </a:lnTo>
                <a:lnTo>
                  <a:pt x="714321" y="5304"/>
                </a:lnTo>
                <a:lnTo>
                  <a:pt x="793454" y="3024"/>
                </a:lnTo>
                <a:lnTo>
                  <a:pt x="875032" y="1361"/>
                </a:lnTo>
                <a:lnTo>
                  <a:pt x="958786" y="344"/>
                </a:lnTo>
                <a:lnTo>
                  <a:pt x="1044448" y="0"/>
                </a:lnTo>
                <a:lnTo>
                  <a:pt x="1130127" y="344"/>
                </a:lnTo>
                <a:lnTo>
                  <a:pt x="1213897" y="1361"/>
                </a:lnTo>
                <a:lnTo>
                  <a:pt x="1295490" y="3024"/>
                </a:lnTo>
                <a:lnTo>
                  <a:pt x="1374636" y="5304"/>
                </a:lnTo>
                <a:lnTo>
                  <a:pt x="1451068" y="8177"/>
                </a:lnTo>
                <a:lnTo>
                  <a:pt x="1524516" y="11615"/>
                </a:lnTo>
                <a:lnTo>
                  <a:pt x="1594711" y="15591"/>
                </a:lnTo>
                <a:lnTo>
                  <a:pt x="1661385" y="20079"/>
                </a:lnTo>
                <a:lnTo>
                  <a:pt x="1724269" y="25052"/>
                </a:lnTo>
                <a:lnTo>
                  <a:pt x="1783095" y="30483"/>
                </a:lnTo>
                <a:lnTo>
                  <a:pt x="1837594" y="36345"/>
                </a:lnTo>
                <a:lnTo>
                  <a:pt x="1887497" y="42612"/>
                </a:lnTo>
                <a:lnTo>
                  <a:pt x="1932535" y="49258"/>
                </a:lnTo>
                <a:lnTo>
                  <a:pt x="1972440" y="56254"/>
                </a:lnTo>
                <a:lnTo>
                  <a:pt x="2006943" y="63575"/>
                </a:lnTo>
                <a:lnTo>
                  <a:pt x="2058668" y="79084"/>
                </a:lnTo>
                <a:lnTo>
                  <a:pt x="2089023" y="104114"/>
                </a:lnTo>
                <a:lnTo>
                  <a:pt x="2085560" y="112659"/>
                </a:lnTo>
                <a:lnTo>
                  <a:pt x="2075352" y="121015"/>
                </a:lnTo>
                <a:lnTo>
                  <a:pt x="2035775" y="137047"/>
                </a:lnTo>
                <a:lnTo>
                  <a:pt x="1972440" y="151996"/>
                </a:lnTo>
                <a:lnTo>
                  <a:pt x="1932535" y="158998"/>
                </a:lnTo>
                <a:lnTo>
                  <a:pt x="1887497" y="165648"/>
                </a:lnTo>
                <a:lnTo>
                  <a:pt x="1837594" y="171921"/>
                </a:lnTo>
                <a:lnTo>
                  <a:pt x="1783095" y="177788"/>
                </a:lnTo>
                <a:lnTo>
                  <a:pt x="1724269" y="183225"/>
                </a:lnTo>
                <a:lnTo>
                  <a:pt x="1661385" y="188202"/>
                </a:lnTo>
                <a:lnTo>
                  <a:pt x="1594711" y="192695"/>
                </a:lnTo>
                <a:lnTo>
                  <a:pt x="1524516" y="196675"/>
                </a:lnTo>
                <a:lnTo>
                  <a:pt x="1451068" y="200117"/>
                </a:lnTo>
                <a:lnTo>
                  <a:pt x="1374636" y="202993"/>
                </a:lnTo>
                <a:lnTo>
                  <a:pt x="1295490" y="205277"/>
                </a:lnTo>
                <a:lnTo>
                  <a:pt x="1213897" y="206941"/>
                </a:lnTo>
                <a:lnTo>
                  <a:pt x="1130127" y="207960"/>
                </a:lnTo>
                <a:lnTo>
                  <a:pt x="1044448" y="208305"/>
                </a:lnTo>
                <a:lnTo>
                  <a:pt x="958786" y="207960"/>
                </a:lnTo>
                <a:lnTo>
                  <a:pt x="875032" y="206941"/>
                </a:lnTo>
                <a:lnTo>
                  <a:pt x="793454" y="205277"/>
                </a:lnTo>
                <a:lnTo>
                  <a:pt x="714321" y="202993"/>
                </a:lnTo>
                <a:lnTo>
                  <a:pt x="637901" y="200117"/>
                </a:lnTo>
                <a:lnTo>
                  <a:pt x="564463" y="196676"/>
                </a:lnTo>
                <a:lnTo>
                  <a:pt x="494276" y="192695"/>
                </a:lnTo>
                <a:lnTo>
                  <a:pt x="427610" y="188203"/>
                </a:lnTo>
                <a:lnTo>
                  <a:pt x="364731" y="183226"/>
                </a:lnTo>
                <a:lnTo>
                  <a:pt x="305911" y="177790"/>
                </a:lnTo>
                <a:lnTo>
                  <a:pt x="251416" y="171923"/>
                </a:lnTo>
                <a:lnTo>
                  <a:pt x="201517" y="165651"/>
                </a:lnTo>
                <a:lnTo>
                  <a:pt x="156482" y="159001"/>
                </a:lnTo>
                <a:lnTo>
                  <a:pt x="116579" y="152000"/>
                </a:lnTo>
                <a:lnTo>
                  <a:pt x="82077" y="144676"/>
                </a:lnTo>
                <a:lnTo>
                  <a:pt x="53246" y="137053"/>
                </a:lnTo>
                <a:lnTo>
                  <a:pt x="13670" y="121024"/>
                </a:lnTo>
                <a:lnTo>
                  <a:pt x="0" y="10412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6" name="object 236"/>
          <p:cNvSpPr/>
          <p:nvPr/>
        </p:nvSpPr>
        <p:spPr>
          <a:xfrm>
            <a:off x="6250815" y="6517487"/>
            <a:ext cx="1100708" cy="110718"/>
          </a:xfrm>
          <a:custGeom>
            <a:avLst/>
            <a:gdLst/>
            <a:ahLst/>
            <a:cxnLst/>
            <a:rect l="l" t="t" r="r" b="b"/>
            <a:pathLst>
              <a:path w="1100709" h="110718">
                <a:moveTo>
                  <a:pt x="1100709" y="0"/>
                </a:moveTo>
                <a:lnTo>
                  <a:pt x="1068722" y="26607"/>
                </a:lnTo>
                <a:lnTo>
                  <a:pt x="1014216" y="43097"/>
                </a:lnTo>
                <a:lnTo>
                  <a:pt x="977858" y="50882"/>
                </a:lnTo>
                <a:lnTo>
                  <a:pt x="935808" y="58322"/>
                </a:lnTo>
                <a:lnTo>
                  <a:pt x="888348" y="65389"/>
                </a:lnTo>
                <a:lnTo>
                  <a:pt x="835763" y="72055"/>
                </a:lnTo>
                <a:lnTo>
                  <a:pt x="778335" y="78290"/>
                </a:lnTo>
                <a:lnTo>
                  <a:pt x="716347" y="84067"/>
                </a:lnTo>
                <a:lnTo>
                  <a:pt x="650083" y="89356"/>
                </a:lnTo>
                <a:lnTo>
                  <a:pt x="579826" y="94130"/>
                </a:lnTo>
                <a:lnTo>
                  <a:pt x="505858" y="98360"/>
                </a:lnTo>
                <a:lnTo>
                  <a:pt x="428464" y="102018"/>
                </a:lnTo>
                <a:lnTo>
                  <a:pt x="347926" y="105074"/>
                </a:lnTo>
                <a:lnTo>
                  <a:pt x="264527" y="107500"/>
                </a:lnTo>
                <a:lnTo>
                  <a:pt x="178551" y="109269"/>
                </a:lnTo>
                <a:lnTo>
                  <a:pt x="90281" y="110351"/>
                </a:lnTo>
                <a:lnTo>
                  <a:pt x="0" y="1107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7" name="object 237"/>
          <p:cNvSpPr/>
          <p:nvPr/>
        </p:nvSpPr>
        <p:spPr>
          <a:xfrm>
            <a:off x="5239640" y="6517487"/>
            <a:ext cx="1100708" cy="110718"/>
          </a:xfrm>
          <a:custGeom>
            <a:avLst/>
            <a:gdLst/>
            <a:ahLst/>
            <a:cxnLst/>
            <a:rect l="l" t="t" r="r" b="b"/>
            <a:pathLst>
              <a:path w="1100709" h="110718">
                <a:moveTo>
                  <a:pt x="1100709" y="110718"/>
                </a:moveTo>
                <a:lnTo>
                  <a:pt x="1010427" y="110351"/>
                </a:lnTo>
                <a:lnTo>
                  <a:pt x="922157" y="109269"/>
                </a:lnTo>
                <a:lnTo>
                  <a:pt x="836181" y="107500"/>
                </a:lnTo>
                <a:lnTo>
                  <a:pt x="752782" y="105074"/>
                </a:lnTo>
                <a:lnTo>
                  <a:pt x="672244" y="102018"/>
                </a:lnTo>
                <a:lnTo>
                  <a:pt x="594850" y="98360"/>
                </a:lnTo>
                <a:lnTo>
                  <a:pt x="520882" y="94130"/>
                </a:lnTo>
                <a:lnTo>
                  <a:pt x="450625" y="89356"/>
                </a:lnTo>
                <a:lnTo>
                  <a:pt x="384361" y="84067"/>
                </a:lnTo>
                <a:lnTo>
                  <a:pt x="322373" y="78290"/>
                </a:lnTo>
                <a:lnTo>
                  <a:pt x="264945" y="72055"/>
                </a:lnTo>
                <a:lnTo>
                  <a:pt x="212360" y="65389"/>
                </a:lnTo>
                <a:lnTo>
                  <a:pt x="164900" y="58322"/>
                </a:lnTo>
                <a:lnTo>
                  <a:pt x="122850" y="50882"/>
                </a:lnTo>
                <a:lnTo>
                  <a:pt x="86492" y="43097"/>
                </a:lnTo>
                <a:lnTo>
                  <a:pt x="31986" y="26607"/>
                </a:lnTo>
                <a:lnTo>
                  <a:pt x="3648" y="908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8" name="object 238"/>
          <p:cNvSpPr/>
          <p:nvPr/>
        </p:nvSpPr>
        <p:spPr>
          <a:xfrm>
            <a:off x="7328661" y="5676900"/>
            <a:ext cx="0" cy="860818"/>
          </a:xfrm>
          <a:custGeom>
            <a:avLst/>
            <a:gdLst/>
            <a:ahLst/>
            <a:cxnLst/>
            <a:rect l="l" t="t" r="r" b="b"/>
            <a:pathLst>
              <a:path h="860818">
                <a:moveTo>
                  <a:pt x="0" y="0"/>
                </a:moveTo>
                <a:lnTo>
                  <a:pt x="0" y="8608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9" name="object 239"/>
          <p:cNvSpPr/>
          <p:nvPr/>
        </p:nvSpPr>
        <p:spPr>
          <a:xfrm>
            <a:off x="5244211" y="5669762"/>
            <a:ext cx="0" cy="860818"/>
          </a:xfrm>
          <a:custGeom>
            <a:avLst/>
            <a:gdLst/>
            <a:ahLst/>
            <a:cxnLst/>
            <a:rect l="l" t="t" r="r" b="b"/>
            <a:pathLst>
              <a:path h="860818">
                <a:moveTo>
                  <a:pt x="0" y="0"/>
                </a:moveTo>
                <a:lnTo>
                  <a:pt x="0" y="8608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0" name="object 240"/>
          <p:cNvSpPr/>
          <p:nvPr/>
        </p:nvSpPr>
        <p:spPr>
          <a:xfrm>
            <a:off x="7544182" y="5562600"/>
            <a:ext cx="2088895" cy="208368"/>
          </a:xfrm>
          <a:custGeom>
            <a:avLst/>
            <a:gdLst/>
            <a:ahLst/>
            <a:cxnLst/>
            <a:rect l="l" t="t" r="r" b="b"/>
            <a:pathLst>
              <a:path w="2088896" h="208368">
                <a:moveTo>
                  <a:pt x="0" y="104178"/>
                </a:moveTo>
                <a:lnTo>
                  <a:pt x="3462" y="112723"/>
                </a:lnTo>
                <a:lnTo>
                  <a:pt x="13670" y="121078"/>
                </a:lnTo>
                <a:lnTo>
                  <a:pt x="53246" y="137110"/>
                </a:lnTo>
                <a:lnTo>
                  <a:pt x="116579" y="152060"/>
                </a:lnTo>
                <a:lnTo>
                  <a:pt x="156482" y="159061"/>
                </a:lnTo>
                <a:lnTo>
                  <a:pt x="201517" y="165712"/>
                </a:lnTo>
                <a:lnTo>
                  <a:pt x="251416" y="171984"/>
                </a:lnTo>
                <a:lnTo>
                  <a:pt x="305911" y="177852"/>
                </a:lnTo>
                <a:lnTo>
                  <a:pt x="364731" y="183288"/>
                </a:lnTo>
                <a:lnTo>
                  <a:pt x="427610" y="188266"/>
                </a:lnTo>
                <a:lnTo>
                  <a:pt x="494276" y="192758"/>
                </a:lnTo>
                <a:lnTo>
                  <a:pt x="564463" y="196739"/>
                </a:lnTo>
                <a:lnTo>
                  <a:pt x="637901" y="200181"/>
                </a:lnTo>
                <a:lnTo>
                  <a:pt x="714321" y="203057"/>
                </a:lnTo>
                <a:lnTo>
                  <a:pt x="793454" y="205340"/>
                </a:lnTo>
                <a:lnTo>
                  <a:pt x="875032" y="207005"/>
                </a:lnTo>
                <a:lnTo>
                  <a:pt x="958786" y="208023"/>
                </a:lnTo>
                <a:lnTo>
                  <a:pt x="1044448" y="208368"/>
                </a:lnTo>
                <a:lnTo>
                  <a:pt x="1130109" y="208023"/>
                </a:lnTo>
                <a:lnTo>
                  <a:pt x="1213863" y="207005"/>
                </a:lnTo>
                <a:lnTo>
                  <a:pt x="1295441" y="205340"/>
                </a:lnTo>
                <a:lnTo>
                  <a:pt x="1374574" y="203057"/>
                </a:lnTo>
                <a:lnTo>
                  <a:pt x="1450994" y="200181"/>
                </a:lnTo>
                <a:lnTo>
                  <a:pt x="1524432" y="196739"/>
                </a:lnTo>
                <a:lnTo>
                  <a:pt x="1594619" y="192758"/>
                </a:lnTo>
                <a:lnTo>
                  <a:pt x="1661285" y="188266"/>
                </a:lnTo>
                <a:lnTo>
                  <a:pt x="1724164" y="183288"/>
                </a:lnTo>
                <a:lnTo>
                  <a:pt x="1782984" y="177852"/>
                </a:lnTo>
                <a:lnTo>
                  <a:pt x="1837479" y="171984"/>
                </a:lnTo>
                <a:lnTo>
                  <a:pt x="1887378" y="165712"/>
                </a:lnTo>
                <a:lnTo>
                  <a:pt x="1932413" y="159061"/>
                </a:lnTo>
                <a:lnTo>
                  <a:pt x="1972316" y="152060"/>
                </a:lnTo>
                <a:lnTo>
                  <a:pt x="2006818" y="144734"/>
                </a:lnTo>
                <a:lnTo>
                  <a:pt x="2058541" y="129216"/>
                </a:lnTo>
                <a:lnTo>
                  <a:pt x="2088896" y="104178"/>
                </a:lnTo>
                <a:lnTo>
                  <a:pt x="2058541" y="79144"/>
                </a:lnTo>
                <a:lnTo>
                  <a:pt x="2006818" y="63629"/>
                </a:lnTo>
                <a:lnTo>
                  <a:pt x="1972316" y="56304"/>
                </a:lnTo>
                <a:lnTo>
                  <a:pt x="1932413" y="49303"/>
                </a:lnTo>
                <a:lnTo>
                  <a:pt x="1887378" y="42654"/>
                </a:lnTo>
                <a:lnTo>
                  <a:pt x="1837479" y="36382"/>
                </a:lnTo>
                <a:lnTo>
                  <a:pt x="1782984" y="30514"/>
                </a:lnTo>
                <a:lnTo>
                  <a:pt x="1724164" y="25079"/>
                </a:lnTo>
                <a:lnTo>
                  <a:pt x="1661285" y="20101"/>
                </a:lnTo>
                <a:lnTo>
                  <a:pt x="1594619" y="15609"/>
                </a:lnTo>
                <a:lnTo>
                  <a:pt x="1524432" y="11629"/>
                </a:lnTo>
                <a:lnTo>
                  <a:pt x="1450994" y="8187"/>
                </a:lnTo>
                <a:lnTo>
                  <a:pt x="1374574" y="5311"/>
                </a:lnTo>
                <a:lnTo>
                  <a:pt x="1295441" y="3027"/>
                </a:lnTo>
                <a:lnTo>
                  <a:pt x="1213863" y="1363"/>
                </a:lnTo>
                <a:lnTo>
                  <a:pt x="1130109" y="345"/>
                </a:lnTo>
                <a:lnTo>
                  <a:pt x="1044448" y="0"/>
                </a:lnTo>
                <a:lnTo>
                  <a:pt x="958786" y="345"/>
                </a:lnTo>
                <a:lnTo>
                  <a:pt x="875032" y="1363"/>
                </a:lnTo>
                <a:lnTo>
                  <a:pt x="793454" y="3027"/>
                </a:lnTo>
                <a:lnTo>
                  <a:pt x="714321" y="5311"/>
                </a:lnTo>
                <a:lnTo>
                  <a:pt x="637901" y="8187"/>
                </a:lnTo>
                <a:lnTo>
                  <a:pt x="564463" y="11629"/>
                </a:lnTo>
                <a:lnTo>
                  <a:pt x="494276" y="15609"/>
                </a:lnTo>
                <a:lnTo>
                  <a:pt x="427610" y="20101"/>
                </a:lnTo>
                <a:lnTo>
                  <a:pt x="364731" y="25079"/>
                </a:lnTo>
                <a:lnTo>
                  <a:pt x="305911" y="30514"/>
                </a:lnTo>
                <a:lnTo>
                  <a:pt x="251416" y="36382"/>
                </a:lnTo>
                <a:lnTo>
                  <a:pt x="201517" y="42654"/>
                </a:lnTo>
                <a:lnTo>
                  <a:pt x="156482" y="49303"/>
                </a:lnTo>
                <a:lnTo>
                  <a:pt x="116579" y="56304"/>
                </a:lnTo>
                <a:lnTo>
                  <a:pt x="82077" y="63629"/>
                </a:lnTo>
                <a:lnTo>
                  <a:pt x="30354" y="79144"/>
                </a:lnTo>
                <a:lnTo>
                  <a:pt x="3462" y="95634"/>
                </a:lnTo>
                <a:lnTo>
                  <a:pt x="0" y="104178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1" name="object 241"/>
          <p:cNvSpPr/>
          <p:nvPr/>
        </p:nvSpPr>
        <p:spPr>
          <a:xfrm>
            <a:off x="7544182" y="5562600"/>
            <a:ext cx="2088895" cy="208368"/>
          </a:xfrm>
          <a:custGeom>
            <a:avLst/>
            <a:gdLst/>
            <a:ahLst/>
            <a:cxnLst/>
            <a:rect l="l" t="t" r="r" b="b"/>
            <a:pathLst>
              <a:path w="2088896" h="208368">
                <a:moveTo>
                  <a:pt x="0" y="104178"/>
                </a:moveTo>
                <a:lnTo>
                  <a:pt x="30354" y="79144"/>
                </a:lnTo>
                <a:lnTo>
                  <a:pt x="82077" y="63629"/>
                </a:lnTo>
                <a:lnTo>
                  <a:pt x="116579" y="56304"/>
                </a:lnTo>
                <a:lnTo>
                  <a:pt x="156482" y="49303"/>
                </a:lnTo>
                <a:lnTo>
                  <a:pt x="201517" y="42654"/>
                </a:lnTo>
                <a:lnTo>
                  <a:pt x="251416" y="36382"/>
                </a:lnTo>
                <a:lnTo>
                  <a:pt x="305911" y="30514"/>
                </a:lnTo>
                <a:lnTo>
                  <a:pt x="364731" y="25079"/>
                </a:lnTo>
                <a:lnTo>
                  <a:pt x="427610" y="20101"/>
                </a:lnTo>
                <a:lnTo>
                  <a:pt x="494276" y="15609"/>
                </a:lnTo>
                <a:lnTo>
                  <a:pt x="564463" y="11629"/>
                </a:lnTo>
                <a:lnTo>
                  <a:pt x="637901" y="8187"/>
                </a:lnTo>
                <a:lnTo>
                  <a:pt x="714321" y="5311"/>
                </a:lnTo>
                <a:lnTo>
                  <a:pt x="793454" y="3027"/>
                </a:lnTo>
                <a:lnTo>
                  <a:pt x="875032" y="1363"/>
                </a:lnTo>
                <a:lnTo>
                  <a:pt x="958786" y="345"/>
                </a:lnTo>
                <a:lnTo>
                  <a:pt x="1044448" y="0"/>
                </a:lnTo>
                <a:lnTo>
                  <a:pt x="1130109" y="345"/>
                </a:lnTo>
                <a:lnTo>
                  <a:pt x="1213863" y="1363"/>
                </a:lnTo>
                <a:lnTo>
                  <a:pt x="1295441" y="3027"/>
                </a:lnTo>
                <a:lnTo>
                  <a:pt x="1374574" y="5311"/>
                </a:lnTo>
                <a:lnTo>
                  <a:pt x="1450994" y="8187"/>
                </a:lnTo>
                <a:lnTo>
                  <a:pt x="1524432" y="11629"/>
                </a:lnTo>
                <a:lnTo>
                  <a:pt x="1594619" y="15609"/>
                </a:lnTo>
                <a:lnTo>
                  <a:pt x="1661285" y="20101"/>
                </a:lnTo>
                <a:lnTo>
                  <a:pt x="1724164" y="25079"/>
                </a:lnTo>
                <a:lnTo>
                  <a:pt x="1782984" y="30514"/>
                </a:lnTo>
                <a:lnTo>
                  <a:pt x="1837479" y="36382"/>
                </a:lnTo>
                <a:lnTo>
                  <a:pt x="1887378" y="42654"/>
                </a:lnTo>
                <a:lnTo>
                  <a:pt x="1932413" y="49303"/>
                </a:lnTo>
                <a:lnTo>
                  <a:pt x="1972316" y="56304"/>
                </a:lnTo>
                <a:lnTo>
                  <a:pt x="2006818" y="63629"/>
                </a:lnTo>
                <a:lnTo>
                  <a:pt x="2058541" y="79144"/>
                </a:lnTo>
                <a:lnTo>
                  <a:pt x="2088896" y="104178"/>
                </a:lnTo>
                <a:lnTo>
                  <a:pt x="2085433" y="112723"/>
                </a:lnTo>
                <a:lnTo>
                  <a:pt x="2075225" y="121078"/>
                </a:lnTo>
                <a:lnTo>
                  <a:pt x="2035649" y="137110"/>
                </a:lnTo>
                <a:lnTo>
                  <a:pt x="1972316" y="152060"/>
                </a:lnTo>
                <a:lnTo>
                  <a:pt x="1932413" y="159061"/>
                </a:lnTo>
                <a:lnTo>
                  <a:pt x="1887378" y="165712"/>
                </a:lnTo>
                <a:lnTo>
                  <a:pt x="1837479" y="171984"/>
                </a:lnTo>
                <a:lnTo>
                  <a:pt x="1782984" y="177852"/>
                </a:lnTo>
                <a:lnTo>
                  <a:pt x="1724164" y="183288"/>
                </a:lnTo>
                <a:lnTo>
                  <a:pt x="1661285" y="188266"/>
                </a:lnTo>
                <a:lnTo>
                  <a:pt x="1594619" y="192758"/>
                </a:lnTo>
                <a:lnTo>
                  <a:pt x="1524432" y="196739"/>
                </a:lnTo>
                <a:lnTo>
                  <a:pt x="1450994" y="200181"/>
                </a:lnTo>
                <a:lnTo>
                  <a:pt x="1374574" y="203057"/>
                </a:lnTo>
                <a:lnTo>
                  <a:pt x="1295441" y="205340"/>
                </a:lnTo>
                <a:lnTo>
                  <a:pt x="1213863" y="207005"/>
                </a:lnTo>
                <a:lnTo>
                  <a:pt x="1130109" y="208023"/>
                </a:lnTo>
                <a:lnTo>
                  <a:pt x="1044448" y="208368"/>
                </a:lnTo>
                <a:lnTo>
                  <a:pt x="958786" y="208023"/>
                </a:lnTo>
                <a:lnTo>
                  <a:pt x="875032" y="207005"/>
                </a:lnTo>
                <a:lnTo>
                  <a:pt x="793454" y="205340"/>
                </a:lnTo>
                <a:lnTo>
                  <a:pt x="714321" y="203057"/>
                </a:lnTo>
                <a:lnTo>
                  <a:pt x="637901" y="200181"/>
                </a:lnTo>
                <a:lnTo>
                  <a:pt x="564463" y="196739"/>
                </a:lnTo>
                <a:lnTo>
                  <a:pt x="494276" y="192758"/>
                </a:lnTo>
                <a:lnTo>
                  <a:pt x="427610" y="188266"/>
                </a:lnTo>
                <a:lnTo>
                  <a:pt x="364731" y="183288"/>
                </a:lnTo>
                <a:lnTo>
                  <a:pt x="305911" y="177852"/>
                </a:lnTo>
                <a:lnTo>
                  <a:pt x="251416" y="171984"/>
                </a:lnTo>
                <a:lnTo>
                  <a:pt x="201517" y="165712"/>
                </a:lnTo>
                <a:lnTo>
                  <a:pt x="156482" y="159061"/>
                </a:lnTo>
                <a:lnTo>
                  <a:pt x="116579" y="152060"/>
                </a:lnTo>
                <a:lnTo>
                  <a:pt x="82077" y="144734"/>
                </a:lnTo>
                <a:lnTo>
                  <a:pt x="53246" y="137110"/>
                </a:lnTo>
                <a:lnTo>
                  <a:pt x="13670" y="121078"/>
                </a:lnTo>
                <a:lnTo>
                  <a:pt x="0" y="104178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2" name="object 242"/>
          <p:cNvSpPr/>
          <p:nvPr/>
        </p:nvSpPr>
        <p:spPr>
          <a:xfrm>
            <a:off x="8548498" y="6503200"/>
            <a:ext cx="1100708" cy="110718"/>
          </a:xfrm>
          <a:custGeom>
            <a:avLst/>
            <a:gdLst/>
            <a:ahLst/>
            <a:cxnLst/>
            <a:rect l="l" t="t" r="r" b="b"/>
            <a:pathLst>
              <a:path w="1100708" h="110718">
                <a:moveTo>
                  <a:pt x="1100708" y="0"/>
                </a:moveTo>
                <a:lnTo>
                  <a:pt x="1068714" y="26607"/>
                </a:lnTo>
                <a:lnTo>
                  <a:pt x="1014198" y="43097"/>
                </a:lnTo>
                <a:lnTo>
                  <a:pt x="977834" y="50882"/>
                </a:lnTo>
                <a:lnTo>
                  <a:pt x="935777" y="58322"/>
                </a:lnTo>
                <a:lnTo>
                  <a:pt x="888312" y="65389"/>
                </a:lnTo>
                <a:lnTo>
                  <a:pt x="835721" y="72055"/>
                </a:lnTo>
                <a:lnTo>
                  <a:pt x="778287" y="78290"/>
                </a:lnTo>
                <a:lnTo>
                  <a:pt x="716295" y="84067"/>
                </a:lnTo>
                <a:lnTo>
                  <a:pt x="650028" y="89356"/>
                </a:lnTo>
                <a:lnTo>
                  <a:pt x="579769" y="94130"/>
                </a:lnTo>
                <a:lnTo>
                  <a:pt x="505802" y="98360"/>
                </a:lnTo>
                <a:lnTo>
                  <a:pt x="428410" y="102018"/>
                </a:lnTo>
                <a:lnTo>
                  <a:pt x="347877" y="105074"/>
                </a:lnTo>
                <a:lnTo>
                  <a:pt x="264486" y="107500"/>
                </a:lnTo>
                <a:lnTo>
                  <a:pt x="178520" y="109269"/>
                </a:lnTo>
                <a:lnTo>
                  <a:pt x="90264" y="110351"/>
                </a:lnTo>
                <a:lnTo>
                  <a:pt x="0" y="1107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3" name="object 243"/>
          <p:cNvSpPr/>
          <p:nvPr/>
        </p:nvSpPr>
        <p:spPr>
          <a:xfrm>
            <a:off x="7537324" y="6503200"/>
            <a:ext cx="1100581" cy="110718"/>
          </a:xfrm>
          <a:custGeom>
            <a:avLst/>
            <a:gdLst/>
            <a:ahLst/>
            <a:cxnLst/>
            <a:rect l="l" t="t" r="r" b="b"/>
            <a:pathLst>
              <a:path w="1100581" h="110718">
                <a:moveTo>
                  <a:pt x="1100581" y="110718"/>
                </a:moveTo>
                <a:lnTo>
                  <a:pt x="1010318" y="110351"/>
                </a:lnTo>
                <a:lnTo>
                  <a:pt x="922064" y="109269"/>
                </a:lnTo>
                <a:lnTo>
                  <a:pt x="836103" y="107500"/>
                </a:lnTo>
                <a:lnTo>
                  <a:pt x="752717" y="105074"/>
                </a:lnTo>
                <a:lnTo>
                  <a:pt x="672191" y="102018"/>
                </a:lnTo>
                <a:lnTo>
                  <a:pt x="594806" y="98360"/>
                </a:lnTo>
                <a:lnTo>
                  <a:pt x="520847" y="94130"/>
                </a:lnTo>
                <a:lnTo>
                  <a:pt x="450598" y="89356"/>
                </a:lnTo>
                <a:lnTo>
                  <a:pt x="384340" y="84067"/>
                </a:lnTo>
                <a:lnTo>
                  <a:pt x="322357" y="78290"/>
                </a:lnTo>
                <a:lnTo>
                  <a:pt x="264933" y="72055"/>
                </a:lnTo>
                <a:lnTo>
                  <a:pt x="212352" y="65389"/>
                </a:lnTo>
                <a:lnTo>
                  <a:pt x="164895" y="58322"/>
                </a:lnTo>
                <a:lnTo>
                  <a:pt x="122847" y="50882"/>
                </a:lnTo>
                <a:lnTo>
                  <a:pt x="86490" y="43097"/>
                </a:lnTo>
                <a:lnTo>
                  <a:pt x="31986" y="26607"/>
                </a:lnTo>
                <a:lnTo>
                  <a:pt x="3648" y="908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4" name="object 244"/>
          <p:cNvSpPr/>
          <p:nvPr/>
        </p:nvSpPr>
        <p:spPr>
          <a:xfrm>
            <a:off x="9626219" y="5662613"/>
            <a:ext cx="0" cy="860818"/>
          </a:xfrm>
          <a:custGeom>
            <a:avLst/>
            <a:gdLst/>
            <a:ahLst/>
            <a:cxnLst/>
            <a:rect l="l" t="t" r="r" b="b"/>
            <a:pathLst>
              <a:path h="860818">
                <a:moveTo>
                  <a:pt x="0" y="0"/>
                </a:moveTo>
                <a:lnTo>
                  <a:pt x="0" y="8608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5" name="object 245"/>
          <p:cNvSpPr/>
          <p:nvPr/>
        </p:nvSpPr>
        <p:spPr>
          <a:xfrm>
            <a:off x="7541895" y="5655475"/>
            <a:ext cx="0" cy="860818"/>
          </a:xfrm>
          <a:custGeom>
            <a:avLst/>
            <a:gdLst/>
            <a:ahLst/>
            <a:cxnLst/>
            <a:rect l="l" t="t" r="r" b="b"/>
            <a:pathLst>
              <a:path h="860818">
                <a:moveTo>
                  <a:pt x="0" y="0"/>
                </a:moveTo>
                <a:lnTo>
                  <a:pt x="0" y="8608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6" name="object 246"/>
          <p:cNvSpPr/>
          <p:nvPr/>
        </p:nvSpPr>
        <p:spPr>
          <a:xfrm>
            <a:off x="2948815" y="6073381"/>
            <a:ext cx="2091309" cy="0"/>
          </a:xfrm>
          <a:custGeom>
            <a:avLst/>
            <a:gdLst/>
            <a:ahLst/>
            <a:cxnLst/>
            <a:rect l="l" t="t" r="r" b="b"/>
            <a:pathLst>
              <a:path w="2091309">
                <a:moveTo>
                  <a:pt x="0" y="0"/>
                </a:moveTo>
                <a:lnTo>
                  <a:pt x="209130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7" name="object 247"/>
          <p:cNvSpPr/>
          <p:nvPr/>
        </p:nvSpPr>
        <p:spPr>
          <a:xfrm>
            <a:off x="5239640" y="5850738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8" name="object 248"/>
          <p:cNvSpPr/>
          <p:nvPr/>
        </p:nvSpPr>
        <p:spPr>
          <a:xfrm>
            <a:off x="5237353" y="6072187"/>
            <a:ext cx="2100453" cy="0"/>
          </a:xfrm>
          <a:custGeom>
            <a:avLst/>
            <a:gdLst/>
            <a:ahLst/>
            <a:cxnLst/>
            <a:rect l="l" t="t" r="r" b="b"/>
            <a:pathLst>
              <a:path w="2100453">
                <a:moveTo>
                  <a:pt x="0" y="0"/>
                </a:moveTo>
                <a:lnTo>
                  <a:pt x="210045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9" name="object 249"/>
          <p:cNvSpPr/>
          <p:nvPr/>
        </p:nvSpPr>
        <p:spPr>
          <a:xfrm>
            <a:off x="5767070" y="5850738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0" name="object 250"/>
          <p:cNvSpPr/>
          <p:nvPr/>
        </p:nvSpPr>
        <p:spPr>
          <a:xfrm>
            <a:off x="6078855" y="5845976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1" name="object 251"/>
          <p:cNvSpPr/>
          <p:nvPr/>
        </p:nvSpPr>
        <p:spPr>
          <a:xfrm>
            <a:off x="6636131" y="5850738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2" name="object 252"/>
          <p:cNvSpPr/>
          <p:nvPr/>
        </p:nvSpPr>
        <p:spPr>
          <a:xfrm>
            <a:off x="5209795" y="6511531"/>
            <a:ext cx="2109597" cy="0"/>
          </a:xfrm>
          <a:custGeom>
            <a:avLst/>
            <a:gdLst/>
            <a:ahLst/>
            <a:cxnLst/>
            <a:rect l="l" t="t" r="r" b="b"/>
            <a:pathLst>
              <a:path w="2109597">
                <a:moveTo>
                  <a:pt x="0" y="0"/>
                </a:moveTo>
                <a:lnTo>
                  <a:pt x="210959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3" name="object 253"/>
          <p:cNvSpPr/>
          <p:nvPr/>
        </p:nvSpPr>
        <p:spPr>
          <a:xfrm>
            <a:off x="5228210" y="5845975"/>
            <a:ext cx="2118740" cy="0"/>
          </a:xfrm>
          <a:custGeom>
            <a:avLst/>
            <a:gdLst/>
            <a:ahLst/>
            <a:cxnLst/>
            <a:rect l="l" t="t" r="r" b="b"/>
            <a:pathLst>
              <a:path w="2118741">
                <a:moveTo>
                  <a:pt x="0" y="0"/>
                </a:moveTo>
                <a:lnTo>
                  <a:pt x="211874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4" name="object 254"/>
          <p:cNvSpPr/>
          <p:nvPr/>
        </p:nvSpPr>
        <p:spPr>
          <a:xfrm>
            <a:off x="7548754" y="6062662"/>
            <a:ext cx="2100453" cy="0"/>
          </a:xfrm>
          <a:custGeom>
            <a:avLst/>
            <a:gdLst/>
            <a:ahLst/>
            <a:cxnLst/>
            <a:rect l="l" t="t" r="r" b="b"/>
            <a:pathLst>
              <a:path w="2100453">
                <a:moveTo>
                  <a:pt x="0" y="0"/>
                </a:moveTo>
                <a:lnTo>
                  <a:pt x="210045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5" name="object 255"/>
          <p:cNvSpPr/>
          <p:nvPr/>
        </p:nvSpPr>
        <p:spPr>
          <a:xfrm>
            <a:off x="8078471" y="5841213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6" name="object 256"/>
          <p:cNvSpPr/>
          <p:nvPr/>
        </p:nvSpPr>
        <p:spPr>
          <a:xfrm>
            <a:off x="8390255" y="5836451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7" name="object 257"/>
          <p:cNvSpPr/>
          <p:nvPr/>
        </p:nvSpPr>
        <p:spPr>
          <a:xfrm>
            <a:off x="8947531" y="5841213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8" name="object 258"/>
          <p:cNvSpPr/>
          <p:nvPr/>
        </p:nvSpPr>
        <p:spPr>
          <a:xfrm>
            <a:off x="7521196" y="6502006"/>
            <a:ext cx="2109597" cy="0"/>
          </a:xfrm>
          <a:custGeom>
            <a:avLst/>
            <a:gdLst/>
            <a:ahLst/>
            <a:cxnLst/>
            <a:rect l="l" t="t" r="r" b="b"/>
            <a:pathLst>
              <a:path w="2109597">
                <a:moveTo>
                  <a:pt x="0" y="0"/>
                </a:moveTo>
                <a:lnTo>
                  <a:pt x="210959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9" name="object 259"/>
          <p:cNvSpPr/>
          <p:nvPr/>
        </p:nvSpPr>
        <p:spPr>
          <a:xfrm>
            <a:off x="7539608" y="5836450"/>
            <a:ext cx="2082038" cy="0"/>
          </a:xfrm>
          <a:custGeom>
            <a:avLst/>
            <a:gdLst/>
            <a:ahLst/>
            <a:cxnLst/>
            <a:rect l="l" t="t" r="r" b="b"/>
            <a:pathLst>
              <a:path w="2082038">
                <a:moveTo>
                  <a:pt x="0" y="0"/>
                </a:moveTo>
                <a:lnTo>
                  <a:pt x="208203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0" name="object 260"/>
          <p:cNvSpPr/>
          <p:nvPr/>
        </p:nvSpPr>
        <p:spPr>
          <a:xfrm>
            <a:off x="7678166" y="5282413"/>
            <a:ext cx="1880362" cy="216687"/>
          </a:xfrm>
          <a:custGeom>
            <a:avLst/>
            <a:gdLst/>
            <a:ahLst/>
            <a:cxnLst/>
            <a:rect l="l" t="t" r="r" b="b"/>
            <a:pathLst>
              <a:path w="1880362" h="216687">
                <a:moveTo>
                  <a:pt x="0" y="216687"/>
                </a:moveTo>
                <a:lnTo>
                  <a:pt x="1880362" y="216687"/>
                </a:lnTo>
                <a:lnTo>
                  <a:pt x="1880362" y="0"/>
                </a:lnTo>
                <a:lnTo>
                  <a:pt x="0" y="0"/>
                </a:lnTo>
                <a:lnTo>
                  <a:pt x="0" y="216687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1" name="object 261"/>
          <p:cNvSpPr/>
          <p:nvPr/>
        </p:nvSpPr>
        <p:spPr>
          <a:xfrm>
            <a:off x="7678166" y="5282413"/>
            <a:ext cx="1880362" cy="216687"/>
          </a:xfrm>
          <a:custGeom>
            <a:avLst/>
            <a:gdLst/>
            <a:ahLst/>
            <a:cxnLst/>
            <a:rect l="l" t="t" r="r" b="b"/>
            <a:pathLst>
              <a:path w="1880362" h="216687">
                <a:moveTo>
                  <a:pt x="0" y="216687"/>
                </a:moveTo>
                <a:lnTo>
                  <a:pt x="1880362" y="216687"/>
                </a:lnTo>
                <a:lnTo>
                  <a:pt x="1880362" y="0"/>
                </a:lnTo>
                <a:lnTo>
                  <a:pt x="0" y="0"/>
                </a:lnTo>
                <a:lnTo>
                  <a:pt x="0" y="21668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2" name="object 262"/>
          <p:cNvSpPr/>
          <p:nvPr/>
        </p:nvSpPr>
        <p:spPr>
          <a:xfrm>
            <a:off x="5378196" y="5282413"/>
            <a:ext cx="1880362" cy="216687"/>
          </a:xfrm>
          <a:custGeom>
            <a:avLst/>
            <a:gdLst/>
            <a:ahLst/>
            <a:cxnLst/>
            <a:rect l="l" t="t" r="r" b="b"/>
            <a:pathLst>
              <a:path w="1880361" h="216687">
                <a:moveTo>
                  <a:pt x="0" y="216687"/>
                </a:moveTo>
                <a:lnTo>
                  <a:pt x="1880361" y="216687"/>
                </a:lnTo>
                <a:lnTo>
                  <a:pt x="1880361" y="0"/>
                </a:lnTo>
                <a:lnTo>
                  <a:pt x="0" y="0"/>
                </a:lnTo>
                <a:lnTo>
                  <a:pt x="0" y="21668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3" name="object 263"/>
          <p:cNvSpPr/>
          <p:nvPr/>
        </p:nvSpPr>
        <p:spPr>
          <a:xfrm>
            <a:off x="776098" y="4956150"/>
            <a:ext cx="8782431" cy="216687"/>
          </a:xfrm>
          <a:custGeom>
            <a:avLst/>
            <a:gdLst/>
            <a:ahLst/>
            <a:cxnLst/>
            <a:rect l="l" t="t" r="r" b="b"/>
            <a:pathLst>
              <a:path w="8782431" h="216687">
                <a:moveTo>
                  <a:pt x="0" y="216687"/>
                </a:moveTo>
                <a:lnTo>
                  <a:pt x="8782431" y="216687"/>
                </a:lnTo>
                <a:lnTo>
                  <a:pt x="8782431" y="0"/>
                </a:lnTo>
                <a:lnTo>
                  <a:pt x="0" y="0"/>
                </a:lnTo>
                <a:lnTo>
                  <a:pt x="0" y="216687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4" name="object 264"/>
          <p:cNvSpPr/>
          <p:nvPr/>
        </p:nvSpPr>
        <p:spPr>
          <a:xfrm>
            <a:off x="776098" y="4956150"/>
            <a:ext cx="8782431" cy="216687"/>
          </a:xfrm>
          <a:custGeom>
            <a:avLst/>
            <a:gdLst/>
            <a:ahLst/>
            <a:cxnLst/>
            <a:rect l="l" t="t" r="r" b="b"/>
            <a:pathLst>
              <a:path w="8782431" h="216687">
                <a:moveTo>
                  <a:pt x="0" y="216687"/>
                </a:moveTo>
                <a:lnTo>
                  <a:pt x="8782431" y="216687"/>
                </a:lnTo>
                <a:lnTo>
                  <a:pt x="8782431" y="0"/>
                </a:lnTo>
                <a:lnTo>
                  <a:pt x="0" y="0"/>
                </a:lnTo>
                <a:lnTo>
                  <a:pt x="0" y="21668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5" name="object 265"/>
          <p:cNvSpPr/>
          <p:nvPr/>
        </p:nvSpPr>
        <p:spPr>
          <a:xfrm>
            <a:off x="6100572" y="5168138"/>
            <a:ext cx="417322" cy="109474"/>
          </a:xfrm>
          <a:custGeom>
            <a:avLst/>
            <a:gdLst/>
            <a:ahLst/>
            <a:cxnLst/>
            <a:rect l="l" t="t" r="r" b="b"/>
            <a:pathLst>
              <a:path w="417322" h="109474">
                <a:moveTo>
                  <a:pt x="208661" y="109474"/>
                </a:moveTo>
                <a:lnTo>
                  <a:pt x="417322" y="54737"/>
                </a:lnTo>
                <a:lnTo>
                  <a:pt x="314198" y="54737"/>
                </a:lnTo>
                <a:lnTo>
                  <a:pt x="314198" y="0"/>
                </a:lnTo>
                <a:lnTo>
                  <a:pt x="103124" y="0"/>
                </a:lnTo>
                <a:lnTo>
                  <a:pt x="103124" y="54737"/>
                </a:lnTo>
                <a:lnTo>
                  <a:pt x="0" y="54737"/>
                </a:lnTo>
                <a:lnTo>
                  <a:pt x="208661" y="10947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6" name="object 266"/>
          <p:cNvSpPr/>
          <p:nvPr/>
        </p:nvSpPr>
        <p:spPr>
          <a:xfrm>
            <a:off x="8400543" y="5168138"/>
            <a:ext cx="417322" cy="109474"/>
          </a:xfrm>
          <a:custGeom>
            <a:avLst/>
            <a:gdLst/>
            <a:ahLst/>
            <a:cxnLst/>
            <a:rect l="l" t="t" r="r" b="b"/>
            <a:pathLst>
              <a:path w="417322" h="109474">
                <a:moveTo>
                  <a:pt x="208660" y="109474"/>
                </a:moveTo>
                <a:lnTo>
                  <a:pt x="417322" y="54737"/>
                </a:lnTo>
                <a:lnTo>
                  <a:pt x="314071" y="54737"/>
                </a:lnTo>
                <a:lnTo>
                  <a:pt x="314071" y="0"/>
                </a:lnTo>
                <a:lnTo>
                  <a:pt x="105409" y="0"/>
                </a:lnTo>
                <a:lnTo>
                  <a:pt x="105409" y="54737"/>
                </a:lnTo>
                <a:lnTo>
                  <a:pt x="0" y="54737"/>
                </a:lnTo>
                <a:lnTo>
                  <a:pt x="208660" y="109474"/>
                </a:lnTo>
                <a:close/>
              </a:path>
            </a:pathLst>
          </a:custGeom>
          <a:solidFill>
            <a:srgbClr val="C0FDF8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7" name="object 267"/>
          <p:cNvSpPr/>
          <p:nvPr/>
        </p:nvSpPr>
        <p:spPr>
          <a:xfrm>
            <a:off x="8400543" y="5168138"/>
            <a:ext cx="417322" cy="109474"/>
          </a:xfrm>
          <a:custGeom>
            <a:avLst/>
            <a:gdLst/>
            <a:ahLst/>
            <a:cxnLst/>
            <a:rect l="l" t="t" r="r" b="b"/>
            <a:pathLst>
              <a:path w="417322" h="109474">
                <a:moveTo>
                  <a:pt x="208660" y="109474"/>
                </a:moveTo>
                <a:lnTo>
                  <a:pt x="417322" y="54737"/>
                </a:lnTo>
                <a:lnTo>
                  <a:pt x="314071" y="54737"/>
                </a:lnTo>
                <a:lnTo>
                  <a:pt x="314071" y="0"/>
                </a:lnTo>
                <a:lnTo>
                  <a:pt x="105409" y="0"/>
                </a:lnTo>
                <a:lnTo>
                  <a:pt x="105409" y="54737"/>
                </a:lnTo>
                <a:lnTo>
                  <a:pt x="0" y="54737"/>
                </a:lnTo>
                <a:lnTo>
                  <a:pt x="208660" y="10947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8" name="object 268"/>
          <p:cNvSpPr/>
          <p:nvPr/>
        </p:nvSpPr>
        <p:spPr>
          <a:xfrm>
            <a:off x="3078353" y="5282413"/>
            <a:ext cx="1880362" cy="216687"/>
          </a:xfrm>
          <a:custGeom>
            <a:avLst/>
            <a:gdLst/>
            <a:ahLst/>
            <a:cxnLst/>
            <a:rect l="l" t="t" r="r" b="b"/>
            <a:pathLst>
              <a:path w="1880362" h="216687">
                <a:moveTo>
                  <a:pt x="0" y="216687"/>
                </a:moveTo>
                <a:lnTo>
                  <a:pt x="1880362" y="216687"/>
                </a:lnTo>
                <a:lnTo>
                  <a:pt x="1880362" y="0"/>
                </a:lnTo>
                <a:lnTo>
                  <a:pt x="0" y="0"/>
                </a:lnTo>
                <a:lnTo>
                  <a:pt x="0" y="21668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9" name="object 269"/>
          <p:cNvSpPr/>
          <p:nvPr/>
        </p:nvSpPr>
        <p:spPr>
          <a:xfrm>
            <a:off x="3800603" y="5168138"/>
            <a:ext cx="417322" cy="109474"/>
          </a:xfrm>
          <a:custGeom>
            <a:avLst/>
            <a:gdLst/>
            <a:ahLst/>
            <a:cxnLst/>
            <a:rect l="l" t="t" r="r" b="b"/>
            <a:pathLst>
              <a:path w="417322" h="109474">
                <a:moveTo>
                  <a:pt x="208661" y="109474"/>
                </a:moveTo>
                <a:lnTo>
                  <a:pt x="417322" y="54737"/>
                </a:lnTo>
                <a:lnTo>
                  <a:pt x="314198" y="54737"/>
                </a:lnTo>
                <a:lnTo>
                  <a:pt x="314198" y="0"/>
                </a:lnTo>
                <a:lnTo>
                  <a:pt x="103250" y="0"/>
                </a:lnTo>
                <a:lnTo>
                  <a:pt x="103250" y="54737"/>
                </a:lnTo>
                <a:lnTo>
                  <a:pt x="0" y="54737"/>
                </a:lnTo>
                <a:lnTo>
                  <a:pt x="208661" y="10947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0" name="object 270"/>
          <p:cNvSpPr/>
          <p:nvPr/>
        </p:nvSpPr>
        <p:spPr>
          <a:xfrm>
            <a:off x="776097" y="5282413"/>
            <a:ext cx="1882648" cy="216687"/>
          </a:xfrm>
          <a:custGeom>
            <a:avLst/>
            <a:gdLst/>
            <a:ahLst/>
            <a:cxnLst/>
            <a:rect l="l" t="t" r="r" b="b"/>
            <a:pathLst>
              <a:path w="1882648" h="216687">
                <a:moveTo>
                  <a:pt x="0" y="216687"/>
                </a:moveTo>
                <a:lnTo>
                  <a:pt x="1882648" y="216687"/>
                </a:lnTo>
                <a:lnTo>
                  <a:pt x="1882648" y="0"/>
                </a:lnTo>
                <a:lnTo>
                  <a:pt x="0" y="0"/>
                </a:lnTo>
                <a:lnTo>
                  <a:pt x="0" y="21668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1" name="object 271"/>
          <p:cNvSpPr/>
          <p:nvPr/>
        </p:nvSpPr>
        <p:spPr>
          <a:xfrm>
            <a:off x="1500760" y="5168138"/>
            <a:ext cx="417322" cy="109474"/>
          </a:xfrm>
          <a:custGeom>
            <a:avLst/>
            <a:gdLst/>
            <a:ahLst/>
            <a:cxnLst/>
            <a:rect l="l" t="t" r="r" b="b"/>
            <a:pathLst>
              <a:path w="417322" h="109474">
                <a:moveTo>
                  <a:pt x="208660" y="109474"/>
                </a:moveTo>
                <a:lnTo>
                  <a:pt x="417322" y="54737"/>
                </a:lnTo>
                <a:lnTo>
                  <a:pt x="311784" y="54737"/>
                </a:lnTo>
                <a:lnTo>
                  <a:pt x="311784" y="0"/>
                </a:lnTo>
                <a:lnTo>
                  <a:pt x="103124" y="0"/>
                </a:lnTo>
                <a:lnTo>
                  <a:pt x="103124" y="54737"/>
                </a:lnTo>
                <a:lnTo>
                  <a:pt x="0" y="54737"/>
                </a:lnTo>
                <a:lnTo>
                  <a:pt x="208660" y="10947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2" name="object 272"/>
          <p:cNvSpPr/>
          <p:nvPr/>
        </p:nvSpPr>
        <p:spPr>
          <a:xfrm>
            <a:off x="3043938" y="4500194"/>
            <a:ext cx="811744" cy="163118"/>
          </a:xfrm>
          <a:custGeom>
            <a:avLst/>
            <a:gdLst/>
            <a:ahLst/>
            <a:cxnLst/>
            <a:rect l="l" t="t" r="r" b="b"/>
            <a:pathLst>
              <a:path w="811745" h="163118">
                <a:moveTo>
                  <a:pt x="0" y="163118"/>
                </a:moveTo>
                <a:lnTo>
                  <a:pt x="811745" y="163118"/>
                </a:lnTo>
                <a:lnTo>
                  <a:pt x="811745" y="0"/>
                </a:lnTo>
                <a:lnTo>
                  <a:pt x="0" y="0"/>
                </a:lnTo>
                <a:lnTo>
                  <a:pt x="0" y="163118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3" name="object 273"/>
          <p:cNvSpPr/>
          <p:nvPr/>
        </p:nvSpPr>
        <p:spPr>
          <a:xfrm>
            <a:off x="3043938" y="4663313"/>
            <a:ext cx="811744" cy="161925"/>
          </a:xfrm>
          <a:custGeom>
            <a:avLst/>
            <a:gdLst/>
            <a:ahLst/>
            <a:cxnLst/>
            <a:rect l="l" t="t" r="r" b="b"/>
            <a:pathLst>
              <a:path w="811745" h="161925">
                <a:moveTo>
                  <a:pt x="0" y="161925"/>
                </a:moveTo>
                <a:lnTo>
                  <a:pt x="811745" y="161925"/>
                </a:lnTo>
                <a:lnTo>
                  <a:pt x="811745" y="0"/>
                </a:lnTo>
                <a:lnTo>
                  <a:pt x="0" y="0"/>
                </a:lnTo>
                <a:lnTo>
                  <a:pt x="0" y="16192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4" name="object 274"/>
          <p:cNvSpPr/>
          <p:nvPr/>
        </p:nvSpPr>
        <p:spPr>
          <a:xfrm>
            <a:off x="3880867" y="4500194"/>
            <a:ext cx="940155" cy="163118"/>
          </a:xfrm>
          <a:custGeom>
            <a:avLst/>
            <a:gdLst/>
            <a:ahLst/>
            <a:cxnLst/>
            <a:rect l="l" t="t" r="r" b="b"/>
            <a:pathLst>
              <a:path w="940155" h="163118">
                <a:moveTo>
                  <a:pt x="0" y="163118"/>
                </a:moveTo>
                <a:lnTo>
                  <a:pt x="940155" y="163118"/>
                </a:lnTo>
                <a:lnTo>
                  <a:pt x="940155" y="0"/>
                </a:lnTo>
                <a:lnTo>
                  <a:pt x="0" y="0"/>
                </a:lnTo>
                <a:lnTo>
                  <a:pt x="0" y="163118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5" name="object 275"/>
          <p:cNvSpPr/>
          <p:nvPr/>
        </p:nvSpPr>
        <p:spPr>
          <a:xfrm>
            <a:off x="4821048" y="4500194"/>
            <a:ext cx="940155" cy="163118"/>
          </a:xfrm>
          <a:custGeom>
            <a:avLst/>
            <a:gdLst/>
            <a:ahLst/>
            <a:cxnLst/>
            <a:rect l="l" t="t" r="r" b="b"/>
            <a:pathLst>
              <a:path w="940155" h="163118">
                <a:moveTo>
                  <a:pt x="0" y="163118"/>
                </a:moveTo>
                <a:lnTo>
                  <a:pt x="940155" y="163118"/>
                </a:lnTo>
                <a:lnTo>
                  <a:pt x="940155" y="0"/>
                </a:lnTo>
                <a:lnTo>
                  <a:pt x="0" y="0"/>
                </a:lnTo>
                <a:lnTo>
                  <a:pt x="0" y="163118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6" name="object 276"/>
          <p:cNvSpPr/>
          <p:nvPr/>
        </p:nvSpPr>
        <p:spPr>
          <a:xfrm>
            <a:off x="3880867" y="4663313"/>
            <a:ext cx="940155" cy="161925"/>
          </a:xfrm>
          <a:custGeom>
            <a:avLst/>
            <a:gdLst/>
            <a:ahLst/>
            <a:cxnLst/>
            <a:rect l="l" t="t" r="r" b="b"/>
            <a:pathLst>
              <a:path w="940155" h="161925">
                <a:moveTo>
                  <a:pt x="0" y="161925"/>
                </a:moveTo>
                <a:lnTo>
                  <a:pt x="940155" y="161925"/>
                </a:lnTo>
                <a:lnTo>
                  <a:pt x="940155" y="0"/>
                </a:lnTo>
                <a:lnTo>
                  <a:pt x="0" y="0"/>
                </a:lnTo>
                <a:lnTo>
                  <a:pt x="0" y="16192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7" name="object 277"/>
          <p:cNvSpPr/>
          <p:nvPr/>
        </p:nvSpPr>
        <p:spPr>
          <a:xfrm>
            <a:off x="4821048" y="4663313"/>
            <a:ext cx="940155" cy="161925"/>
          </a:xfrm>
          <a:custGeom>
            <a:avLst/>
            <a:gdLst/>
            <a:ahLst/>
            <a:cxnLst/>
            <a:rect l="l" t="t" r="r" b="b"/>
            <a:pathLst>
              <a:path w="940155" h="161925">
                <a:moveTo>
                  <a:pt x="0" y="161925"/>
                </a:moveTo>
                <a:lnTo>
                  <a:pt x="940155" y="161925"/>
                </a:lnTo>
                <a:lnTo>
                  <a:pt x="940155" y="0"/>
                </a:lnTo>
                <a:lnTo>
                  <a:pt x="0" y="0"/>
                </a:lnTo>
                <a:lnTo>
                  <a:pt x="0" y="16192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8" name="object 278"/>
          <p:cNvSpPr/>
          <p:nvPr/>
        </p:nvSpPr>
        <p:spPr>
          <a:xfrm>
            <a:off x="4199637" y="4833493"/>
            <a:ext cx="417322" cy="117856"/>
          </a:xfrm>
          <a:custGeom>
            <a:avLst/>
            <a:gdLst/>
            <a:ahLst/>
            <a:cxnLst/>
            <a:rect l="l" t="t" r="r" b="b"/>
            <a:pathLst>
              <a:path w="417322" h="117855">
                <a:moveTo>
                  <a:pt x="208661" y="117855"/>
                </a:moveTo>
                <a:lnTo>
                  <a:pt x="417322" y="57149"/>
                </a:lnTo>
                <a:lnTo>
                  <a:pt x="314198" y="57149"/>
                </a:lnTo>
                <a:lnTo>
                  <a:pt x="314198" y="0"/>
                </a:lnTo>
                <a:lnTo>
                  <a:pt x="103124" y="0"/>
                </a:lnTo>
                <a:lnTo>
                  <a:pt x="103124" y="57149"/>
                </a:lnTo>
                <a:lnTo>
                  <a:pt x="0" y="57149"/>
                </a:lnTo>
                <a:lnTo>
                  <a:pt x="208661" y="117855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9" name="object 279"/>
          <p:cNvSpPr/>
          <p:nvPr/>
        </p:nvSpPr>
        <p:spPr>
          <a:xfrm>
            <a:off x="8423401" y="5501513"/>
            <a:ext cx="242570" cy="136575"/>
          </a:xfrm>
          <a:custGeom>
            <a:avLst/>
            <a:gdLst/>
            <a:ahLst/>
            <a:cxnLst/>
            <a:rect l="l" t="t" r="r" b="b"/>
            <a:pathLst>
              <a:path w="242570" h="136575">
                <a:moveTo>
                  <a:pt x="121284" y="136575"/>
                </a:moveTo>
                <a:lnTo>
                  <a:pt x="242570" y="67945"/>
                </a:lnTo>
                <a:lnTo>
                  <a:pt x="180975" y="67945"/>
                </a:lnTo>
                <a:lnTo>
                  <a:pt x="180975" y="0"/>
                </a:lnTo>
                <a:lnTo>
                  <a:pt x="61595" y="0"/>
                </a:lnTo>
                <a:lnTo>
                  <a:pt x="61595" y="67945"/>
                </a:lnTo>
                <a:lnTo>
                  <a:pt x="0" y="67945"/>
                </a:lnTo>
                <a:lnTo>
                  <a:pt x="121284" y="136575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80" name="object 280"/>
          <p:cNvSpPr/>
          <p:nvPr/>
        </p:nvSpPr>
        <p:spPr>
          <a:xfrm>
            <a:off x="8423401" y="5501513"/>
            <a:ext cx="242570" cy="136575"/>
          </a:xfrm>
          <a:custGeom>
            <a:avLst/>
            <a:gdLst/>
            <a:ahLst/>
            <a:cxnLst/>
            <a:rect l="l" t="t" r="r" b="b"/>
            <a:pathLst>
              <a:path w="242570" h="136575">
                <a:moveTo>
                  <a:pt x="121284" y="136575"/>
                </a:moveTo>
                <a:lnTo>
                  <a:pt x="242570" y="67945"/>
                </a:lnTo>
                <a:lnTo>
                  <a:pt x="180975" y="67945"/>
                </a:lnTo>
                <a:lnTo>
                  <a:pt x="180975" y="0"/>
                </a:lnTo>
                <a:lnTo>
                  <a:pt x="61595" y="0"/>
                </a:lnTo>
                <a:lnTo>
                  <a:pt x="61595" y="67945"/>
                </a:lnTo>
                <a:lnTo>
                  <a:pt x="0" y="67945"/>
                </a:lnTo>
                <a:lnTo>
                  <a:pt x="121284" y="13657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5" name="object 195"/>
          <p:cNvSpPr/>
          <p:nvPr/>
        </p:nvSpPr>
        <p:spPr>
          <a:xfrm>
            <a:off x="787566" y="3583304"/>
            <a:ext cx="1884895" cy="0"/>
          </a:xfrm>
          <a:custGeom>
            <a:avLst/>
            <a:gdLst/>
            <a:ahLst/>
            <a:cxnLst/>
            <a:rect l="l" t="t" r="r" b="b"/>
            <a:pathLst>
              <a:path w="1884895">
                <a:moveTo>
                  <a:pt x="0" y="0"/>
                </a:moveTo>
                <a:lnTo>
                  <a:pt x="188489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6" name="object 196"/>
          <p:cNvSpPr/>
          <p:nvPr/>
        </p:nvSpPr>
        <p:spPr>
          <a:xfrm>
            <a:off x="810488" y="3690493"/>
            <a:ext cx="1843557" cy="1269"/>
          </a:xfrm>
          <a:custGeom>
            <a:avLst/>
            <a:gdLst/>
            <a:ahLst/>
            <a:cxnLst/>
            <a:rect l="l" t="t" r="r" b="b"/>
            <a:pathLst>
              <a:path w="1843557" h="1270">
                <a:moveTo>
                  <a:pt x="0" y="1269"/>
                </a:moveTo>
                <a:lnTo>
                  <a:pt x="184355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7" name="object 197"/>
          <p:cNvSpPr/>
          <p:nvPr/>
        </p:nvSpPr>
        <p:spPr>
          <a:xfrm>
            <a:off x="799021" y="4122674"/>
            <a:ext cx="1884870" cy="0"/>
          </a:xfrm>
          <a:custGeom>
            <a:avLst/>
            <a:gdLst/>
            <a:ahLst/>
            <a:cxnLst/>
            <a:rect l="l" t="t" r="r" b="b"/>
            <a:pathLst>
              <a:path w="1884870">
                <a:moveTo>
                  <a:pt x="0" y="0"/>
                </a:moveTo>
                <a:lnTo>
                  <a:pt x="188487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8" name="object 198"/>
          <p:cNvSpPr/>
          <p:nvPr/>
        </p:nvSpPr>
        <p:spPr>
          <a:xfrm>
            <a:off x="799021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9" name="object 199"/>
          <p:cNvSpPr/>
          <p:nvPr/>
        </p:nvSpPr>
        <p:spPr>
          <a:xfrm>
            <a:off x="1509903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0" name="object 200"/>
          <p:cNvSpPr/>
          <p:nvPr/>
        </p:nvSpPr>
        <p:spPr>
          <a:xfrm>
            <a:off x="1957070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1" name="object 201"/>
          <p:cNvSpPr/>
          <p:nvPr/>
        </p:nvSpPr>
        <p:spPr>
          <a:xfrm>
            <a:off x="2661030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2" name="object 202"/>
          <p:cNvSpPr/>
          <p:nvPr/>
        </p:nvSpPr>
        <p:spPr>
          <a:xfrm>
            <a:off x="1658875" y="4091813"/>
            <a:ext cx="1100708" cy="109474"/>
          </a:xfrm>
          <a:custGeom>
            <a:avLst/>
            <a:gdLst/>
            <a:ahLst/>
            <a:cxnLst/>
            <a:rect l="l" t="t" r="r" b="b"/>
            <a:pathLst>
              <a:path w="1100708" h="109474">
                <a:moveTo>
                  <a:pt x="1100708" y="0"/>
                </a:moveTo>
                <a:lnTo>
                  <a:pt x="1068722" y="26305"/>
                </a:lnTo>
                <a:lnTo>
                  <a:pt x="1014216" y="42608"/>
                </a:lnTo>
                <a:lnTo>
                  <a:pt x="977858" y="50305"/>
                </a:lnTo>
                <a:lnTo>
                  <a:pt x="935808" y="57662"/>
                </a:lnTo>
                <a:lnTo>
                  <a:pt x="888348" y="64650"/>
                </a:lnTo>
                <a:lnTo>
                  <a:pt x="835763" y="71240"/>
                </a:lnTo>
                <a:lnTo>
                  <a:pt x="778335" y="77406"/>
                </a:lnTo>
                <a:lnTo>
                  <a:pt x="716347" y="83118"/>
                </a:lnTo>
                <a:lnTo>
                  <a:pt x="650083" y="88349"/>
                </a:lnTo>
                <a:lnTo>
                  <a:pt x="579826" y="93070"/>
                </a:lnTo>
                <a:lnTo>
                  <a:pt x="505858" y="97253"/>
                </a:lnTo>
                <a:lnTo>
                  <a:pt x="428464" y="100869"/>
                </a:lnTo>
                <a:lnTo>
                  <a:pt x="347926" y="103892"/>
                </a:lnTo>
                <a:lnTo>
                  <a:pt x="264527" y="106291"/>
                </a:lnTo>
                <a:lnTo>
                  <a:pt x="178551" y="108040"/>
                </a:lnTo>
                <a:lnTo>
                  <a:pt x="90281" y="109111"/>
                </a:lnTo>
                <a:lnTo>
                  <a:pt x="0" y="10947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3" name="object 203"/>
          <p:cNvSpPr/>
          <p:nvPr/>
        </p:nvSpPr>
        <p:spPr>
          <a:xfrm>
            <a:off x="647687" y="4091813"/>
            <a:ext cx="1100721" cy="109474"/>
          </a:xfrm>
          <a:custGeom>
            <a:avLst/>
            <a:gdLst/>
            <a:ahLst/>
            <a:cxnLst/>
            <a:rect l="l" t="t" r="r" b="b"/>
            <a:pathLst>
              <a:path w="1100721" h="109474">
                <a:moveTo>
                  <a:pt x="1100721" y="109474"/>
                </a:moveTo>
                <a:lnTo>
                  <a:pt x="1010436" y="109111"/>
                </a:lnTo>
                <a:lnTo>
                  <a:pt x="922163" y="108040"/>
                </a:lnTo>
                <a:lnTo>
                  <a:pt x="836185" y="106291"/>
                </a:lnTo>
                <a:lnTo>
                  <a:pt x="752784" y="103892"/>
                </a:lnTo>
                <a:lnTo>
                  <a:pt x="672244" y="100869"/>
                </a:lnTo>
                <a:lnTo>
                  <a:pt x="594849" y="97253"/>
                </a:lnTo>
                <a:lnTo>
                  <a:pt x="520880" y="93070"/>
                </a:lnTo>
                <a:lnTo>
                  <a:pt x="450622" y="88349"/>
                </a:lnTo>
                <a:lnTo>
                  <a:pt x="384358" y="83118"/>
                </a:lnTo>
                <a:lnTo>
                  <a:pt x="322370" y="77406"/>
                </a:lnTo>
                <a:lnTo>
                  <a:pt x="264942" y="71240"/>
                </a:lnTo>
                <a:lnTo>
                  <a:pt x="212357" y="64650"/>
                </a:lnTo>
                <a:lnTo>
                  <a:pt x="164898" y="57662"/>
                </a:lnTo>
                <a:lnTo>
                  <a:pt x="122848" y="50305"/>
                </a:lnTo>
                <a:lnTo>
                  <a:pt x="86491" y="42608"/>
                </a:lnTo>
                <a:lnTo>
                  <a:pt x="31986" y="26305"/>
                </a:lnTo>
                <a:lnTo>
                  <a:pt x="3648" y="8977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4" name="object 204"/>
          <p:cNvSpPr/>
          <p:nvPr/>
        </p:nvSpPr>
        <p:spPr>
          <a:xfrm>
            <a:off x="654559" y="3317876"/>
            <a:ext cx="2089023" cy="208279"/>
          </a:xfrm>
          <a:custGeom>
            <a:avLst/>
            <a:gdLst/>
            <a:ahLst/>
            <a:cxnLst/>
            <a:rect l="l" t="t" r="r" b="b"/>
            <a:pathLst>
              <a:path w="2089023" h="208279">
                <a:moveTo>
                  <a:pt x="0" y="104139"/>
                </a:moveTo>
                <a:lnTo>
                  <a:pt x="3462" y="112683"/>
                </a:lnTo>
                <a:lnTo>
                  <a:pt x="13670" y="121035"/>
                </a:lnTo>
                <a:lnTo>
                  <a:pt x="53248" y="137062"/>
                </a:lnTo>
                <a:lnTo>
                  <a:pt x="116583" y="152005"/>
                </a:lnTo>
                <a:lnTo>
                  <a:pt x="156488" y="159003"/>
                </a:lnTo>
                <a:lnTo>
                  <a:pt x="201524" y="165650"/>
                </a:lnTo>
                <a:lnTo>
                  <a:pt x="251425" y="171919"/>
                </a:lnTo>
                <a:lnTo>
                  <a:pt x="305920" y="177784"/>
                </a:lnTo>
                <a:lnTo>
                  <a:pt x="364742" y="183217"/>
                </a:lnTo>
                <a:lnTo>
                  <a:pt x="427620" y="188191"/>
                </a:lnTo>
                <a:lnTo>
                  <a:pt x="494288" y="192681"/>
                </a:lnTo>
                <a:lnTo>
                  <a:pt x="564474" y="196659"/>
                </a:lnTo>
                <a:lnTo>
                  <a:pt x="637911" y="200098"/>
                </a:lnTo>
                <a:lnTo>
                  <a:pt x="714330" y="202972"/>
                </a:lnTo>
                <a:lnTo>
                  <a:pt x="793462" y="205254"/>
                </a:lnTo>
                <a:lnTo>
                  <a:pt x="875038" y="206917"/>
                </a:lnTo>
                <a:lnTo>
                  <a:pt x="958790" y="207934"/>
                </a:lnTo>
                <a:lnTo>
                  <a:pt x="1044448" y="208279"/>
                </a:lnTo>
                <a:lnTo>
                  <a:pt x="1130127" y="207934"/>
                </a:lnTo>
                <a:lnTo>
                  <a:pt x="1213897" y="206917"/>
                </a:lnTo>
                <a:lnTo>
                  <a:pt x="1295490" y="205254"/>
                </a:lnTo>
                <a:lnTo>
                  <a:pt x="1374636" y="202972"/>
                </a:lnTo>
                <a:lnTo>
                  <a:pt x="1451068" y="200098"/>
                </a:lnTo>
                <a:lnTo>
                  <a:pt x="1524516" y="196659"/>
                </a:lnTo>
                <a:lnTo>
                  <a:pt x="1594711" y="192681"/>
                </a:lnTo>
                <a:lnTo>
                  <a:pt x="1661385" y="188191"/>
                </a:lnTo>
                <a:lnTo>
                  <a:pt x="1724269" y="183217"/>
                </a:lnTo>
                <a:lnTo>
                  <a:pt x="1783095" y="177784"/>
                </a:lnTo>
                <a:lnTo>
                  <a:pt x="1837594" y="171919"/>
                </a:lnTo>
                <a:lnTo>
                  <a:pt x="1887497" y="165650"/>
                </a:lnTo>
                <a:lnTo>
                  <a:pt x="1932535" y="159003"/>
                </a:lnTo>
                <a:lnTo>
                  <a:pt x="1972440" y="152005"/>
                </a:lnTo>
                <a:lnTo>
                  <a:pt x="2006943" y="144682"/>
                </a:lnTo>
                <a:lnTo>
                  <a:pt x="2058668" y="129171"/>
                </a:lnTo>
                <a:lnTo>
                  <a:pt x="2089023" y="104139"/>
                </a:lnTo>
                <a:lnTo>
                  <a:pt x="2058660" y="79108"/>
                </a:lnTo>
                <a:lnTo>
                  <a:pt x="2006925" y="63597"/>
                </a:lnTo>
                <a:lnTo>
                  <a:pt x="1972416" y="56274"/>
                </a:lnTo>
                <a:lnTo>
                  <a:pt x="1932505" y="49276"/>
                </a:lnTo>
                <a:lnTo>
                  <a:pt x="1887460" y="42629"/>
                </a:lnTo>
                <a:lnTo>
                  <a:pt x="1837552" y="36360"/>
                </a:lnTo>
                <a:lnTo>
                  <a:pt x="1783048" y="30495"/>
                </a:lnTo>
                <a:lnTo>
                  <a:pt x="1724218" y="25062"/>
                </a:lnTo>
                <a:lnTo>
                  <a:pt x="1661330" y="20088"/>
                </a:lnTo>
                <a:lnTo>
                  <a:pt x="1594654" y="15598"/>
                </a:lnTo>
                <a:lnTo>
                  <a:pt x="1524459" y="11620"/>
                </a:lnTo>
                <a:lnTo>
                  <a:pt x="1451014" y="8181"/>
                </a:lnTo>
                <a:lnTo>
                  <a:pt x="1374588" y="5307"/>
                </a:lnTo>
                <a:lnTo>
                  <a:pt x="1295449" y="3025"/>
                </a:lnTo>
                <a:lnTo>
                  <a:pt x="1213866" y="1362"/>
                </a:lnTo>
                <a:lnTo>
                  <a:pt x="1130110" y="345"/>
                </a:lnTo>
                <a:lnTo>
                  <a:pt x="1044448" y="0"/>
                </a:lnTo>
                <a:lnTo>
                  <a:pt x="958790" y="345"/>
                </a:lnTo>
                <a:lnTo>
                  <a:pt x="875039" y="1362"/>
                </a:lnTo>
                <a:lnTo>
                  <a:pt x="793463" y="3025"/>
                </a:lnTo>
                <a:lnTo>
                  <a:pt x="714332" y="5307"/>
                </a:lnTo>
                <a:lnTo>
                  <a:pt x="637913" y="8181"/>
                </a:lnTo>
                <a:lnTo>
                  <a:pt x="564477" y="11620"/>
                </a:lnTo>
                <a:lnTo>
                  <a:pt x="494291" y="15598"/>
                </a:lnTo>
                <a:lnTo>
                  <a:pt x="427624" y="20088"/>
                </a:lnTo>
                <a:lnTo>
                  <a:pt x="364746" y="25062"/>
                </a:lnTo>
                <a:lnTo>
                  <a:pt x="305925" y="30495"/>
                </a:lnTo>
                <a:lnTo>
                  <a:pt x="251430" y="36360"/>
                </a:lnTo>
                <a:lnTo>
                  <a:pt x="201530" y="42629"/>
                </a:lnTo>
                <a:lnTo>
                  <a:pt x="156493" y="49276"/>
                </a:lnTo>
                <a:lnTo>
                  <a:pt x="116589" y="56274"/>
                </a:lnTo>
                <a:lnTo>
                  <a:pt x="82086" y="63597"/>
                </a:lnTo>
                <a:lnTo>
                  <a:pt x="30359" y="79108"/>
                </a:lnTo>
                <a:lnTo>
                  <a:pt x="3464" y="95596"/>
                </a:lnTo>
                <a:lnTo>
                  <a:pt x="0" y="104139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5" name="object 205"/>
          <p:cNvSpPr/>
          <p:nvPr/>
        </p:nvSpPr>
        <p:spPr>
          <a:xfrm>
            <a:off x="654559" y="3317876"/>
            <a:ext cx="2089023" cy="208279"/>
          </a:xfrm>
          <a:custGeom>
            <a:avLst/>
            <a:gdLst/>
            <a:ahLst/>
            <a:cxnLst/>
            <a:rect l="l" t="t" r="r" b="b"/>
            <a:pathLst>
              <a:path w="2089023" h="208279">
                <a:moveTo>
                  <a:pt x="0" y="104139"/>
                </a:moveTo>
                <a:lnTo>
                  <a:pt x="30359" y="79108"/>
                </a:lnTo>
                <a:lnTo>
                  <a:pt x="82086" y="63597"/>
                </a:lnTo>
                <a:lnTo>
                  <a:pt x="116589" y="56274"/>
                </a:lnTo>
                <a:lnTo>
                  <a:pt x="156493" y="49276"/>
                </a:lnTo>
                <a:lnTo>
                  <a:pt x="201530" y="42629"/>
                </a:lnTo>
                <a:lnTo>
                  <a:pt x="251430" y="36360"/>
                </a:lnTo>
                <a:lnTo>
                  <a:pt x="305925" y="30495"/>
                </a:lnTo>
                <a:lnTo>
                  <a:pt x="364746" y="25062"/>
                </a:lnTo>
                <a:lnTo>
                  <a:pt x="427624" y="20088"/>
                </a:lnTo>
                <a:lnTo>
                  <a:pt x="494291" y="15598"/>
                </a:lnTo>
                <a:lnTo>
                  <a:pt x="564477" y="11620"/>
                </a:lnTo>
                <a:lnTo>
                  <a:pt x="637913" y="8181"/>
                </a:lnTo>
                <a:lnTo>
                  <a:pt x="714332" y="5307"/>
                </a:lnTo>
                <a:lnTo>
                  <a:pt x="793463" y="3025"/>
                </a:lnTo>
                <a:lnTo>
                  <a:pt x="875039" y="1362"/>
                </a:lnTo>
                <a:lnTo>
                  <a:pt x="958790" y="345"/>
                </a:lnTo>
                <a:lnTo>
                  <a:pt x="1044448" y="0"/>
                </a:lnTo>
                <a:lnTo>
                  <a:pt x="1130110" y="345"/>
                </a:lnTo>
                <a:lnTo>
                  <a:pt x="1213866" y="1362"/>
                </a:lnTo>
                <a:lnTo>
                  <a:pt x="1295449" y="3025"/>
                </a:lnTo>
                <a:lnTo>
                  <a:pt x="1374588" y="5307"/>
                </a:lnTo>
                <a:lnTo>
                  <a:pt x="1451014" y="8181"/>
                </a:lnTo>
                <a:lnTo>
                  <a:pt x="1524459" y="11620"/>
                </a:lnTo>
                <a:lnTo>
                  <a:pt x="1594654" y="15598"/>
                </a:lnTo>
                <a:lnTo>
                  <a:pt x="1661330" y="20088"/>
                </a:lnTo>
                <a:lnTo>
                  <a:pt x="1724218" y="25062"/>
                </a:lnTo>
                <a:lnTo>
                  <a:pt x="1783048" y="30495"/>
                </a:lnTo>
                <a:lnTo>
                  <a:pt x="1837552" y="36360"/>
                </a:lnTo>
                <a:lnTo>
                  <a:pt x="1887460" y="42629"/>
                </a:lnTo>
                <a:lnTo>
                  <a:pt x="1932505" y="49276"/>
                </a:lnTo>
                <a:lnTo>
                  <a:pt x="1972416" y="56274"/>
                </a:lnTo>
                <a:lnTo>
                  <a:pt x="2006925" y="63597"/>
                </a:lnTo>
                <a:lnTo>
                  <a:pt x="2058660" y="79108"/>
                </a:lnTo>
                <a:lnTo>
                  <a:pt x="2089023" y="104139"/>
                </a:lnTo>
                <a:lnTo>
                  <a:pt x="2085560" y="112683"/>
                </a:lnTo>
                <a:lnTo>
                  <a:pt x="2075352" y="121035"/>
                </a:lnTo>
                <a:lnTo>
                  <a:pt x="2035775" y="137062"/>
                </a:lnTo>
                <a:lnTo>
                  <a:pt x="1972440" y="152005"/>
                </a:lnTo>
                <a:lnTo>
                  <a:pt x="1932535" y="159003"/>
                </a:lnTo>
                <a:lnTo>
                  <a:pt x="1887497" y="165650"/>
                </a:lnTo>
                <a:lnTo>
                  <a:pt x="1837594" y="171919"/>
                </a:lnTo>
                <a:lnTo>
                  <a:pt x="1783095" y="177784"/>
                </a:lnTo>
                <a:lnTo>
                  <a:pt x="1724269" y="183217"/>
                </a:lnTo>
                <a:lnTo>
                  <a:pt x="1661385" y="188191"/>
                </a:lnTo>
                <a:lnTo>
                  <a:pt x="1594711" y="192681"/>
                </a:lnTo>
                <a:lnTo>
                  <a:pt x="1524516" y="196659"/>
                </a:lnTo>
                <a:lnTo>
                  <a:pt x="1451068" y="200098"/>
                </a:lnTo>
                <a:lnTo>
                  <a:pt x="1374636" y="202972"/>
                </a:lnTo>
                <a:lnTo>
                  <a:pt x="1295490" y="205254"/>
                </a:lnTo>
                <a:lnTo>
                  <a:pt x="1213897" y="206917"/>
                </a:lnTo>
                <a:lnTo>
                  <a:pt x="1130127" y="207934"/>
                </a:lnTo>
                <a:lnTo>
                  <a:pt x="1044448" y="208279"/>
                </a:lnTo>
                <a:lnTo>
                  <a:pt x="958790" y="207934"/>
                </a:lnTo>
                <a:lnTo>
                  <a:pt x="875038" y="206917"/>
                </a:lnTo>
                <a:lnTo>
                  <a:pt x="793462" y="205254"/>
                </a:lnTo>
                <a:lnTo>
                  <a:pt x="714330" y="202972"/>
                </a:lnTo>
                <a:lnTo>
                  <a:pt x="637911" y="200098"/>
                </a:lnTo>
                <a:lnTo>
                  <a:pt x="564474" y="196659"/>
                </a:lnTo>
                <a:lnTo>
                  <a:pt x="494288" y="192681"/>
                </a:lnTo>
                <a:lnTo>
                  <a:pt x="427620" y="188191"/>
                </a:lnTo>
                <a:lnTo>
                  <a:pt x="364742" y="183217"/>
                </a:lnTo>
                <a:lnTo>
                  <a:pt x="305920" y="177784"/>
                </a:lnTo>
                <a:lnTo>
                  <a:pt x="251425" y="171919"/>
                </a:lnTo>
                <a:lnTo>
                  <a:pt x="201524" y="165650"/>
                </a:lnTo>
                <a:lnTo>
                  <a:pt x="156488" y="159003"/>
                </a:lnTo>
                <a:lnTo>
                  <a:pt x="116583" y="152005"/>
                </a:lnTo>
                <a:lnTo>
                  <a:pt x="82081" y="144682"/>
                </a:lnTo>
                <a:lnTo>
                  <a:pt x="53248" y="137062"/>
                </a:lnTo>
                <a:lnTo>
                  <a:pt x="13670" y="121035"/>
                </a:lnTo>
                <a:lnTo>
                  <a:pt x="0" y="10413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6" name="object 206"/>
          <p:cNvSpPr/>
          <p:nvPr/>
        </p:nvSpPr>
        <p:spPr>
          <a:xfrm>
            <a:off x="645388" y="3417825"/>
            <a:ext cx="0" cy="683513"/>
          </a:xfrm>
          <a:custGeom>
            <a:avLst/>
            <a:gdLst/>
            <a:ahLst/>
            <a:cxnLst/>
            <a:rect l="l" t="t" r="r" b="b"/>
            <a:pathLst>
              <a:path h="683513">
                <a:moveTo>
                  <a:pt x="0" y="0"/>
                </a:moveTo>
                <a:lnTo>
                  <a:pt x="0" y="68351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7" name="object 207"/>
          <p:cNvSpPr/>
          <p:nvPr/>
        </p:nvSpPr>
        <p:spPr>
          <a:xfrm>
            <a:off x="2736595" y="3420237"/>
            <a:ext cx="0" cy="684657"/>
          </a:xfrm>
          <a:custGeom>
            <a:avLst/>
            <a:gdLst/>
            <a:ahLst/>
            <a:cxnLst/>
            <a:rect l="l" t="t" r="r" b="b"/>
            <a:pathLst>
              <a:path h="684657">
                <a:moveTo>
                  <a:pt x="0" y="0"/>
                </a:moveTo>
                <a:lnTo>
                  <a:pt x="0" y="6846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2" name="object 182"/>
          <p:cNvSpPr/>
          <p:nvPr/>
        </p:nvSpPr>
        <p:spPr>
          <a:xfrm>
            <a:off x="5371339" y="3583304"/>
            <a:ext cx="1871216" cy="0"/>
          </a:xfrm>
          <a:custGeom>
            <a:avLst/>
            <a:gdLst/>
            <a:ahLst/>
            <a:cxnLst/>
            <a:rect l="l" t="t" r="r" b="b"/>
            <a:pathLst>
              <a:path w="1871217">
                <a:moveTo>
                  <a:pt x="0" y="0"/>
                </a:moveTo>
                <a:lnTo>
                  <a:pt x="187121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3" name="object 183"/>
          <p:cNvSpPr/>
          <p:nvPr/>
        </p:nvSpPr>
        <p:spPr>
          <a:xfrm>
            <a:off x="5389752" y="3690493"/>
            <a:ext cx="1859662" cy="1269"/>
          </a:xfrm>
          <a:custGeom>
            <a:avLst/>
            <a:gdLst/>
            <a:ahLst/>
            <a:cxnLst/>
            <a:rect l="l" t="t" r="r" b="b"/>
            <a:pathLst>
              <a:path w="1859661" h="1270">
                <a:moveTo>
                  <a:pt x="0" y="1269"/>
                </a:moveTo>
                <a:lnTo>
                  <a:pt x="185966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4" name="object 184"/>
          <p:cNvSpPr/>
          <p:nvPr/>
        </p:nvSpPr>
        <p:spPr>
          <a:xfrm>
            <a:off x="5380609" y="4122674"/>
            <a:ext cx="1875663" cy="0"/>
          </a:xfrm>
          <a:custGeom>
            <a:avLst/>
            <a:gdLst/>
            <a:ahLst/>
            <a:cxnLst/>
            <a:rect l="l" t="t" r="r" b="b"/>
            <a:pathLst>
              <a:path w="1875663">
                <a:moveTo>
                  <a:pt x="0" y="0"/>
                </a:moveTo>
                <a:lnTo>
                  <a:pt x="187566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5" name="object 185"/>
          <p:cNvSpPr/>
          <p:nvPr/>
        </p:nvSpPr>
        <p:spPr>
          <a:xfrm>
            <a:off x="5380609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6" name="object 186"/>
          <p:cNvSpPr/>
          <p:nvPr/>
        </p:nvSpPr>
        <p:spPr>
          <a:xfrm>
            <a:off x="6091428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7" name="object 187"/>
          <p:cNvSpPr/>
          <p:nvPr/>
        </p:nvSpPr>
        <p:spPr>
          <a:xfrm>
            <a:off x="6536309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8" name="object 188"/>
          <p:cNvSpPr/>
          <p:nvPr/>
        </p:nvSpPr>
        <p:spPr>
          <a:xfrm>
            <a:off x="7230999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9" name="object 189"/>
          <p:cNvSpPr/>
          <p:nvPr/>
        </p:nvSpPr>
        <p:spPr>
          <a:xfrm>
            <a:off x="6258814" y="4091813"/>
            <a:ext cx="1100582" cy="109474"/>
          </a:xfrm>
          <a:custGeom>
            <a:avLst/>
            <a:gdLst/>
            <a:ahLst/>
            <a:cxnLst/>
            <a:rect l="l" t="t" r="r" b="b"/>
            <a:pathLst>
              <a:path w="1100582" h="109474">
                <a:moveTo>
                  <a:pt x="1100582" y="0"/>
                </a:moveTo>
                <a:lnTo>
                  <a:pt x="1068595" y="26305"/>
                </a:lnTo>
                <a:lnTo>
                  <a:pt x="1014091" y="42608"/>
                </a:lnTo>
                <a:lnTo>
                  <a:pt x="977734" y="50305"/>
                </a:lnTo>
                <a:lnTo>
                  <a:pt x="935686" y="57662"/>
                </a:lnTo>
                <a:lnTo>
                  <a:pt x="888229" y="64650"/>
                </a:lnTo>
                <a:lnTo>
                  <a:pt x="835648" y="71240"/>
                </a:lnTo>
                <a:lnTo>
                  <a:pt x="778224" y="77406"/>
                </a:lnTo>
                <a:lnTo>
                  <a:pt x="716241" y="83118"/>
                </a:lnTo>
                <a:lnTo>
                  <a:pt x="649983" y="88349"/>
                </a:lnTo>
                <a:lnTo>
                  <a:pt x="579734" y="93070"/>
                </a:lnTo>
                <a:lnTo>
                  <a:pt x="505775" y="97253"/>
                </a:lnTo>
                <a:lnTo>
                  <a:pt x="428390" y="100869"/>
                </a:lnTo>
                <a:lnTo>
                  <a:pt x="347864" y="103892"/>
                </a:lnTo>
                <a:lnTo>
                  <a:pt x="264478" y="106291"/>
                </a:lnTo>
                <a:lnTo>
                  <a:pt x="178517" y="108040"/>
                </a:lnTo>
                <a:lnTo>
                  <a:pt x="90263" y="109111"/>
                </a:lnTo>
                <a:lnTo>
                  <a:pt x="0" y="10947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0" name="object 190"/>
          <p:cNvSpPr/>
          <p:nvPr/>
        </p:nvSpPr>
        <p:spPr>
          <a:xfrm>
            <a:off x="5247515" y="4091813"/>
            <a:ext cx="1100708" cy="109474"/>
          </a:xfrm>
          <a:custGeom>
            <a:avLst/>
            <a:gdLst/>
            <a:ahLst/>
            <a:cxnLst/>
            <a:rect l="l" t="t" r="r" b="b"/>
            <a:pathLst>
              <a:path w="1100709" h="109474">
                <a:moveTo>
                  <a:pt x="1100709" y="109474"/>
                </a:moveTo>
                <a:lnTo>
                  <a:pt x="1010427" y="109111"/>
                </a:lnTo>
                <a:lnTo>
                  <a:pt x="922157" y="108040"/>
                </a:lnTo>
                <a:lnTo>
                  <a:pt x="836181" y="106291"/>
                </a:lnTo>
                <a:lnTo>
                  <a:pt x="752782" y="103892"/>
                </a:lnTo>
                <a:lnTo>
                  <a:pt x="672244" y="100869"/>
                </a:lnTo>
                <a:lnTo>
                  <a:pt x="594850" y="97253"/>
                </a:lnTo>
                <a:lnTo>
                  <a:pt x="520882" y="93070"/>
                </a:lnTo>
                <a:lnTo>
                  <a:pt x="450625" y="88349"/>
                </a:lnTo>
                <a:lnTo>
                  <a:pt x="384361" y="83118"/>
                </a:lnTo>
                <a:lnTo>
                  <a:pt x="322373" y="77406"/>
                </a:lnTo>
                <a:lnTo>
                  <a:pt x="264945" y="71240"/>
                </a:lnTo>
                <a:lnTo>
                  <a:pt x="212360" y="64650"/>
                </a:lnTo>
                <a:lnTo>
                  <a:pt x="164900" y="57662"/>
                </a:lnTo>
                <a:lnTo>
                  <a:pt x="122850" y="50305"/>
                </a:lnTo>
                <a:lnTo>
                  <a:pt x="86492" y="42608"/>
                </a:lnTo>
                <a:lnTo>
                  <a:pt x="31986" y="26305"/>
                </a:lnTo>
                <a:lnTo>
                  <a:pt x="3648" y="8977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1" name="object 191"/>
          <p:cNvSpPr/>
          <p:nvPr/>
        </p:nvSpPr>
        <p:spPr>
          <a:xfrm>
            <a:off x="5254371" y="3317876"/>
            <a:ext cx="2091308" cy="208279"/>
          </a:xfrm>
          <a:custGeom>
            <a:avLst/>
            <a:gdLst/>
            <a:ahLst/>
            <a:cxnLst/>
            <a:rect l="l" t="t" r="r" b="b"/>
            <a:pathLst>
              <a:path w="2091308" h="208279">
                <a:moveTo>
                  <a:pt x="0" y="104139"/>
                </a:moveTo>
                <a:lnTo>
                  <a:pt x="3466" y="112683"/>
                </a:lnTo>
                <a:lnTo>
                  <a:pt x="13688" y="121035"/>
                </a:lnTo>
                <a:lnTo>
                  <a:pt x="53317" y="137062"/>
                </a:lnTo>
                <a:lnTo>
                  <a:pt x="116733" y="152005"/>
                </a:lnTo>
                <a:lnTo>
                  <a:pt x="156688" y="159003"/>
                </a:lnTo>
                <a:lnTo>
                  <a:pt x="201781" y="165650"/>
                </a:lnTo>
                <a:lnTo>
                  <a:pt x="251744" y="171919"/>
                </a:lnTo>
                <a:lnTo>
                  <a:pt x="306308" y="177784"/>
                </a:lnTo>
                <a:lnTo>
                  <a:pt x="365202" y="183217"/>
                </a:lnTo>
                <a:lnTo>
                  <a:pt x="428158" y="188191"/>
                </a:lnTo>
                <a:lnTo>
                  <a:pt x="494907" y="192681"/>
                </a:lnTo>
                <a:lnTo>
                  <a:pt x="565179" y="196659"/>
                </a:lnTo>
                <a:lnTo>
                  <a:pt x="638704" y="200098"/>
                </a:lnTo>
                <a:lnTo>
                  <a:pt x="715215" y="202972"/>
                </a:lnTo>
                <a:lnTo>
                  <a:pt x="794441" y="205254"/>
                </a:lnTo>
                <a:lnTo>
                  <a:pt x="876112" y="206917"/>
                </a:lnTo>
                <a:lnTo>
                  <a:pt x="959961" y="207934"/>
                </a:lnTo>
                <a:lnTo>
                  <a:pt x="1045717" y="208279"/>
                </a:lnTo>
                <a:lnTo>
                  <a:pt x="1131473" y="207934"/>
                </a:lnTo>
                <a:lnTo>
                  <a:pt x="1215319" y="206917"/>
                </a:lnTo>
                <a:lnTo>
                  <a:pt x="1296987" y="205254"/>
                </a:lnTo>
                <a:lnTo>
                  <a:pt x="1376207" y="202972"/>
                </a:lnTo>
                <a:lnTo>
                  <a:pt x="1452711" y="200098"/>
                </a:lnTo>
                <a:lnTo>
                  <a:pt x="1526229" y="196659"/>
                </a:lnTo>
                <a:lnTo>
                  <a:pt x="1596492" y="192681"/>
                </a:lnTo>
                <a:lnTo>
                  <a:pt x="1663232" y="188191"/>
                </a:lnTo>
                <a:lnTo>
                  <a:pt x="1726179" y="183217"/>
                </a:lnTo>
                <a:lnTo>
                  <a:pt x="1785064" y="177784"/>
                </a:lnTo>
                <a:lnTo>
                  <a:pt x="1839618" y="171919"/>
                </a:lnTo>
                <a:lnTo>
                  <a:pt x="1889572" y="165650"/>
                </a:lnTo>
                <a:lnTo>
                  <a:pt x="1934656" y="159003"/>
                </a:lnTo>
                <a:lnTo>
                  <a:pt x="1974602" y="152005"/>
                </a:lnTo>
                <a:lnTo>
                  <a:pt x="2009141" y="144682"/>
                </a:lnTo>
                <a:lnTo>
                  <a:pt x="2060921" y="129171"/>
                </a:lnTo>
                <a:lnTo>
                  <a:pt x="2091308" y="104139"/>
                </a:lnTo>
                <a:lnTo>
                  <a:pt x="2060921" y="79108"/>
                </a:lnTo>
                <a:lnTo>
                  <a:pt x="2009141" y="63597"/>
                </a:lnTo>
                <a:lnTo>
                  <a:pt x="1974602" y="56274"/>
                </a:lnTo>
                <a:lnTo>
                  <a:pt x="1934656" y="49276"/>
                </a:lnTo>
                <a:lnTo>
                  <a:pt x="1889572" y="42629"/>
                </a:lnTo>
                <a:lnTo>
                  <a:pt x="1839618" y="36360"/>
                </a:lnTo>
                <a:lnTo>
                  <a:pt x="1785064" y="30495"/>
                </a:lnTo>
                <a:lnTo>
                  <a:pt x="1726179" y="25062"/>
                </a:lnTo>
                <a:lnTo>
                  <a:pt x="1663232" y="20088"/>
                </a:lnTo>
                <a:lnTo>
                  <a:pt x="1596492" y="15598"/>
                </a:lnTo>
                <a:lnTo>
                  <a:pt x="1526229" y="11620"/>
                </a:lnTo>
                <a:lnTo>
                  <a:pt x="1452711" y="8181"/>
                </a:lnTo>
                <a:lnTo>
                  <a:pt x="1376207" y="5307"/>
                </a:lnTo>
                <a:lnTo>
                  <a:pt x="1296987" y="3025"/>
                </a:lnTo>
                <a:lnTo>
                  <a:pt x="1215319" y="1362"/>
                </a:lnTo>
                <a:lnTo>
                  <a:pt x="1131473" y="345"/>
                </a:lnTo>
                <a:lnTo>
                  <a:pt x="1045717" y="0"/>
                </a:lnTo>
                <a:lnTo>
                  <a:pt x="959962" y="345"/>
                </a:lnTo>
                <a:lnTo>
                  <a:pt x="876116" y="1362"/>
                </a:lnTo>
                <a:lnTo>
                  <a:pt x="794448" y="3025"/>
                </a:lnTo>
                <a:lnTo>
                  <a:pt x="715227" y="5307"/>
                </a:lnTo>
                <a:lnTo>
                  <a:pt x="638722" y="8181"/>
                </a:lnTo>
                <a:lnTo>
                  <a:pt x="565203" y="11620"/>
                </a:lnTo>
                <a:lnTo>
                  <a:pt x="494937" y="15598"/>
                </a:lnTo>
                <a:lnTo>
                  <a:pt x="428195" y="20088"/>
                </a:lnTo>
                <a:lnTo>
                  <a:pt x="365244" y="25062"/>
                </a:lnTo>
                <a:lnTo>
                  <a:pt x="306355" y="30495"/>
                </a:lnTo>
                <a:lnTo>
                  <a:pt x="251796" y="36360"/>
                </a:lnTo>
                <a:lnTo>
                  <a:pt x="201836" y="42629"/>
                </a:lnTo>
                <a:lnTo>
                  <a:pt x="156744" y="49276"/>
                </a:lnTo>
                <a:lnTo>
                  <a:pt x="116789" y="56274"/>
                </a:lnTo>
                <a:lnTo>
                  <a:pt x="82240" y="63597"/>
                </a:lnTo>
                <a:lnTo>
                  <a:pt x="30436" y="79108"/>
                </a:lnTo>
                <a:lnTo>
                  <a:pt x="3484" y="95596"/>
                </a:lnTo>
                <a:lnTo>
                  <a:pt x="0" y="104139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2" name="object 192"/>
          <p:cNvSpPr/>
          <p:nvPr/>
        </p:nvSpPr>
        <p:spPr>
          <a:xfrm>
            <a:off x="5254371" y="3317876"/>
            <a:ext cx="2091308" cy="208279"/>
          </a:xfrm>
          <a:custGeom>
            <a:avLst/>
            <a:gdLst/>
            <a:ahLst/>
            <a:cxnLst/>
            <a:rect l="l" t="t" r="r" b="b"/>
            <a:pathLst>
              <a:path w="2091308" h="208279">
                <a:moveTo>
                  <a:pt x="0" y="104139"/>
                </a:moveTo>
                <a:lnTo>
                  <a:pt x="30436" y="79108"/>
                </a:lnTo>
                <a:lnTo>
                  <a:pt x="82240" y="63597"/>
                </a:lnTo>
                <a:lnTo>
                  <a:pt x="116789" y="56274"/>
                </a:lnTo>
                <a:lnTo>
                  <a:pt x="156744" y="49276"/>
                </a:lnTo>
                <a:lnTo>
                  <a:pt x="201836" y="42629"/>
                </a:lnTo>
                <a:lnTo>
                  <a:pt x="251796" y="36360"/>
                </a:lnTo>
                <a:lnTo>
                  <a:pt x="306355" y="30495"/>
                </a:lnTo>
                <a:lnTo>
                  <a:pt x="365244" y="25062"/>
                </a:lnTo>
                <a:lnTo>
                  <a:pt x="428195" y="20088"/>
                </a:lnTo>
                <a:lnTo>
                  <a:pt x="494937" y="15598"/>
                </a:lnTo>
                <a:lnTo>
                  <a:pt x="565203" y="11620"/>
                </a:lnTo>
                <a:lnTo>
                  <a:pt x="638722" y="8181"/>
                </a:lnTo>
                <a:lnTo>
                  <a:pt x="715227" y="5307"/>
                </a:lnTo>
                <a:lnTo>
                  <a:pt x="794448" y="3025"/>
                </a:lnTo>
                <a:lnTo>
                  <a:pt x="876116" y="1362"/>
                </a:lnTo>
                <a:lnTo>
                  <a:pt x="959962" y="345"/>
                </a:lnTo>
                <a:lnTo>
                  <a:pt x="1045717" y="0"/>
                </a:lnTo>
                <a:lnTo>
                  <a:pt x="1131473" y="345"/>
                </a:lnTo>
                <a:lnTo>
                  <a:pt x="1215319" y="1362"/>
                </a:lnTo>
                <a:lnTo>
                  <a:pt x="1296987" y="3025"/>
                </a:lnTo>
                <a:lnTo>
                  <a:pt x="1376207" y="5307"/>
                </a:lnTo>
                <a:lnTo>
                  <a:pt x="1452711" y="8181"/>
                </a:lnTo>
                <a:lnTo>
                  <a:pt x="1526229" y="11620"/>
                </a:lnTo>
                <a:lnTo>
                  <a:pt x="1596492" y="15598"/>
                </a:lnTo>
                <a:lnTo>
                  <a:pt x="1663232" y="20088"/>
                </a:lnTo>
                <a:lnTo>
                  <a:pt x="1726179" y="25062"/>
                </a:lnTo>
                <a:lnTo>
                  <a:pt x="1785064" y="30495"/>
                </a:lnTo>
                <a:lnTo>
                  <a:pt x="1839618" y="36360"/>
                </a:lnTo>
                <a:lnTo>
                  <a:pt x="1889572" y="42629"/>
                </a:lnTo>
                <a:lnTo>
                  <a:pt x="1934656" y="49276"/>
                </a:lnTo>
                <a:lnTo>
                  <a:pt x="1974602" y="56274"/>
                </a:lnTo>
                <a:lnTo>
                  <a:pt x="2009141" y="63597"/>
                </a:lnTo>
                <a:lnTo>
                  <a:pt x="2060921" y="79108"/>
                </a:lnTo>
                <a:lnTo>
                  <a:pt x="2091308" y="104139"/>
                </a:lnTo>
                <a:lnTo>
                  <a:pt x="2087842" y="112683"/>
                </a:lnTo>
                <a:lnTo>
                  <a:pt x="2077624" y="121035"/>
                </a:lnTo>
                <a:lnTo>
                  <a:pt x="2038004" y="137062"/>
                </a:lnTo>
                <a:lnTo>
                  <a:pt x="1974602" y="152005"/>
                </a:lnTo>
                <a:lnTo>
                  <a:pt x="1934656" y="159003"/>
                </a:lnTo>
                <a:lnTo>
                  <a:pt x="1889572" y="165650"/>
                </a:lnTo>
                <a:lnTo>
                  <a:pt x="1839618" y="171919"/>
                </a:lnTo>
                <a:lnTo>
                  <a:pt x="1785064" y="177784"/>
                </a:lnTo>
                <a:lnTo>
                  <a:pt x="1726179" y="183217"/>
                </a:lnTo>
                <a:lnTo>
                  <a:pt x="1663232" y="188191"/>
                </a:lnTo>
                <a:lnTo>
                  <a:pt x="1596492" y="192681"/>
                </a:lnTo>
                <a:lnTo>
                  <a:pt x="1526229" y="196659"/>
                </a:lnTo>
                <a:lnTo>
                  <a:pt x="1452711" y="200098"/>
                </a:lnTo>
                <a:lnTo>
                  <a:pt x="1376207" y="202972"/>
                </a:lnTo>
                <a:lnTo>
                  <a:pt x="1296987" y="205254"/>
                </a:lnTo>
                <a:lnTo>
                  <a:pt x="1215319" y="206917"/>
                </a:lnTo>
                <a:lnTo>
                  <a:pt x="1131473" y="207934"/>
                </a:lnTo>
                <a:lnTo>
                  <a:pt x="1045717" y="208279"/>
                </a:lnTo>
                <a:lnTo>
                  <a:pt x="959961" y="207934"/>
                </a:lnTo>
                <a:lnTo>
                  <a:pt x="876112" y="206917"/>
                </a:lnTo>
                <a:lnTo>
                  <a:pt x="794441" y="205254"/>
                </a:lnTo>
                <a:lnTo>
                  <a:pt x="715215" y="202972"/>
                </a:lnTo>
                <a:lnTo>
                  <a:pt x="638704" y="200098"/>
                </a:lnTo>
                <a:lnTo>
                  <a:pt x="565179" y="196659"/>
                </a:lnTo>
                <a:lnTo>
                  <a:pt x="494907" y="192681"/>
                </a:lnTo>
                <a:lnTo>
                  <a:pt x="428158" y="188191"/>
                </a:lnTo>
                <a:lnTo>
                  <a:pt x="365202" y="183217"/>
                </a:lnTo>
                <a:lnTo>
                  <a:pt x="306308" y="177784"/>
                </a:lnTo>
                <a:lnTo>
                  <a:pt x="251744" y="171919"/>
                </a:lnTo>
                <a:lnTo>
                  <a:pt x="201781" y="165650"/>
                </a:lnTo>
                <a:lnTo>
                  <a:pt x="156688" y="159003"/>
                </a:lnTo>
                <a:lnTo>
                  <a:pt x="116733" y="152005"/>
                </a:lnTo>
                <a:lnTo>
                  <a:pt x="82186" y="144682"/>
                </a:lnTo>
                <a:lnTo>
                  <a:pt x="53317" y="137062"/>
                </a:lnTo>
                <a:lnTo>
                  <a:pt x="13688" y="121035"/>
                </a:lnTo>
                <a:lnTo>
                  <a:pt x="0" y="10413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3" name="object 193"/>
          <p:cNvSpPr/>
          <p:nvPr/>
        </p:nvSpPr>
        <p:spPr>
          <a:xfrm>
            <a:off x="5245228" y="3417825"/>
            <a:ext cx="0" cy="683513"/>
          </a:xfrm>
          <a:custGeom>
            <a:avLst/>
            <a:gdLst/>
            <a:ahLst/>
            <a:cxnLst/>
            <a:rect l="l" t="t" r="r" b="b"/>
            <a:pathLst>
              <a:path h="683513">
                <a:moveTo>
                  <a:pt x="0" y="0"/>
                </a:moveTo>
                <a:lnTo>
                  <a:pt x="0" y="68351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4" name="object 194"/>
          <p:cNvSpPr/>
          <p:nvPr/>
        </p:nvSpPr>
        <p:spPr>
          <a:xfrm>
            <a:off x="7336535" y="3420237"/>
            <a:ext cx="0" cy="684657"/>
          </a:xfrm>
          <a:custGeom>
            <a:avLst/>
            <a:gdLst/>
            <a:ahLst/>
            <a:cxnLst/>
            <a:rect l="l" t="t" r="r" b="b"/>
            <a:pathLst>
              <a:path h="684657">
                <a:moveTo>
                  <a:pt x="0" y="0"/>
                </a:moveTo>
                <a:lnTo>
                  <a:pt x="0" y="6846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9" name="object 169"/>
          <p:cNvSpPr/>
          <p:nvPr/>
        </p:nvSpPr>
        <p:spPr>
          <a:xfrm>
            <a:off x="7669023" y="3569080"/>
            <a:ext cx="1898650" cy="0"/>
          </a:xfrm>
          <a:custGeom>
            <a:avLst/>
            <a:gdLst/>
            <a:ahLst/>
            <a:cxnLst/>
            <a:rect l="l" t="t" r="r" b="b"/>
            <a:pathLst>
              <a:path w="1898650">
                <a:moveTo>
                  <a:pt x="0" y="0"/>
                </a:moveTo>
                <a:lnTo>
                  <a:pt x="189865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0" name="object 170"/>
          <p:cNvSpPr/>
          <p:nvPr/>
        </p:nvSpPr>
        <p:spPr>
          <a:xfrm>
            <a:off x="7689596" y="3669029"/>
            <a:ext cx="1857375" cy="1269"/>
          </a:xfrm>
          <a:custGeom>
            <a:avLst/>
            <a:gdLst/>
            <a:ahLst/>
            <a:cxnLst/>
            <a:rect l="l" t="t" r="r" b="b"/>
            <a:pathLst>
              <a:path w="1857375" h="1270">
                <a:moveTo>
                  <a:pt x="0" y="1270"/>
                </a:moveTo>
                <a:lnTo>
                  <a:pt x="185737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1" name="object 171"/>
          <p:cNvSpPr/>
          <p:nvPr/>
        </p:nvSpPr>
        <p:spPr>
          <a:xfrm>
            <a:off x="7636892" y="4101338"/>
            <a:ext cx="1898650" cy="0"/>
          </a:xfrm>
          <a:custGeom>
            <a:avLst/>
            <a:gdLst/>
            <a:ahLst/>
            <a:cxnLst/>
            <a:rect l="l" t="t" r="r" b="b"/>
            <a:pathLst>
              <a:path w="1898650">
                <a:moveTo>
                  <a:pt x="0" y="0"/>
                </a:moveTo>
                <a:lnTo>
                  <a:pt x="189865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2" name="object 172"/>
          <p:cNvSpPr/>
          <p:nvPr/>
        </p:nvSpPr>
        <p:spPr>
          <a:xfrm>
            <a:off x="7678166" y="3569081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3" name="object 173"/>
          <p:cNvSpPr/>
          <p:nvPr/>
        </p:nvSpPr>
        <p:spPr>
          <a:xfrm>
            <a:off x="8393684" y="3569081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4" name="object 174"/>
          <p:cNvSpPr/>
          <p:nvPr/>
        </p:nvSpPr>
        <p:spPr>
          <a:xfrm>
            <a:off x="8817864" y="3576192"/>
            <a:ext cx="0" cy="564388"/>
          </a:xfrm>
          <a:custGeom>
            <a:avLst/>
            <a:gdLst/>
            <a:ahLst/>
            <a:cxnLst/>
            <a:rect l="l" t="t" r="r" b="b"/>
            <a:pathLst>
              <a:path h="564388">
                <a:moveTo>
                  <a:pt x="0" y="0"/>
                </a:moveTo>
                <a:lnTo>
                  <a:pt x="0" y="56438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5" name="object 175"/>
          <p:cNvSpPr/>
          <p:nvPr/>
        </p:nvSpPr>
        <p:spPr>
          <a:xfrm>
            <a:off x="9553956" y="3569081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6" name="object 176"/>
          <p:cNvSpPr/>
          <p:nvPr/>
        </p:nvSpPr>
        <p:spPr>
          <a:xfrm>
            <a:off x="7554341" y="3317876"/>
            <a:ext cx="2091308" cy="208279"/>
          </a:xfrm>
          <a:custGeom>
            <a:avLst/>
            <a:gdLst/>
            <a:ahLst/>
            <a:cxnLst/>
            <a:rect l="l" t="t" r="r" b="b"/>
            <a:pathLst>
              <a:path w="2091308" h="208279">
                <a:moveTo>
                  <a:pt x="0" y="104139"/>
                </a:moveTo>
                <a:lnTo>
                  <a:pt x="3466" y="112683"/>
                </a:lnTo>
                <a:lnTo>
                  <a:pt x="13685" y="121035"/>
                </a:lnTo>
                <a:lnTo>
                  <a:pt x="53305" y="137062"/>
                </a:lnTo>
                <a:lnTo>
                  <a:pt x="116709" y="152005"/>
                </a:lnTo>
                <a:lnTo>
                  <a:pt x="156657" y="159003"/>
                </a:lnTo>
                <a:lnTo>
                  <a:pt x="201745" y="165650"/>
                </a:lnTo>
                <a:lnTo>
                  <a:pt x="251702" y="171919"/>
                </a:lnTo>
                <a:lnTo>
                  <a:pt x="306260" y="177784"/>
                </a:lnTo>
                <a:lnTo>
                  <a:pt x="365150" y="183217"/>
                </a:lnTo>
                <a:lnTo>
                  <a:pt x="428103" y="188191"/>
                </a:lnTo>
                <a:lnTo>
                  <a:pt x="494850" y="192681"/>
                </a:lnTo>
                <a:lnTo>
                  <a:pt x="565123" y="196659"/>
                </a:lnTo>
                <a:lnTo>
                  <a:pt x="638651" y="200098"/>
                </a:lnTo>
                <a:lnTo>
                  <a:pt x="715166" y="202972"/>
                </a:lnTo>
                <a:lnTo>
                  <a:pt x="794399" y="205254"/>
                </a:lnTo>
                <a:lnTo>
                  <a:pt x="876082" y="206917"/>
                </a:lnTo>
                <a:lnTo>
                  <a:pt x="959944" y="207934"/>
                </a:lnTo>
                <a:lnTo>
                  <a:pt x="1045717" y="208279"/>
                </a:lnTo>
                <a:lnTo>
                  <a:pt x="1131473" y="207934"/>
                </a:lnTo>
                <a:lnTo>
                  <a:pt x="1215319" y="206917"/>
                </a:lnTo>
                <a:lnTo>
                  <a:pt x="1296987" y="205254"/>
                </a:lnTo>
                <a:lnTo>
                  <a:pt x="1376207" y="202972"/>
                </a:lnTo>
                <a:lnTo>
                  <a:pt x="1452711" y="200098"/>
                </a:lnTo>
                <a:lnTo>
                  <a:pt x="1526229" y="196659"/>
                </a:lnTo>
                <a:lnTo>
                  <a:pt x="1596492" y="192681"/>
                </a:lnTo>
                <a:lnTo>
                  <a:pt x="1663232" y="188191"/>
                </a:lnTo>
                <a:lnTo>
                  <a:pt x="1726179" y="183217"/>
                </a:lnTo>
                <a:lnTo>
                  <a:pt x="1785064" y="177784"/>
                </a:lnTo>
                <a:lnTo>
                  <a:pt x="1839618" y="171919"/>
                </a:lnTo>
                <a:lnTo>
                  <a:pt x="1889572" y="165650"/>
                </a:lnTo>
                <a:lnTo>
                  <a:pt x="1934656" y="159003"/>
                </a:lnTo>
                <a:lnTo>
                  <a:pt x="1974602" y="152005"/>
                </a:lnTo>
                <a:lnTo>
                  <a:pt x="2009141" y="144682"/>
                </a:lnTo>
                <a:lnTo>
                  <a:pt x="2060921" y="129171"/>
                </a:lnTo>
                <a:lnTo>
                  <a:pt x="2091308" y="104139"/>
                </a:lnTo>
                <a:lnTo>
                  <a:pt x="2060921" y="79108"/>
                </a:lnTo>
                <a:lnTo>
                  <a:pt x="2009141" y="63597"/>
                </a:lnTo>
                <a:lnTo>
                  <a:pt x="1974602" y="56274"/>
                </a:lnTo>
                <a:lnTo>
                  <a:pt x="1934656" y="49276"/>
                </a:lnTo>
                <a:lnTo>
                  <a:pt x="1889572" y="42629"/>
                </a:lnTo>
                <a:lnTo>
                  <a:pt x="1839618" y="36360"/>
                </a:lnTo>
                <a:lnTo>
                  <a:pt x="1785064" y="30495"/>
                </a:lnTo>
                <a:lnTo>
                  <a:pt x="1726179" y="25062"/>
                </a:lnTo>
                <a:lnTo>
                  <a:pt x="1663232" y="20088"/>
                </a:lnTo>
                <a:lnTo>
                  <a:pt x="1596492" y="15598"/>
                </a:lnTo>
                <a:lnTo>
                  <a:pt x="1526229" y="11620"/>
                </a:lnTo>
                <a:lnTo>
                  <a:pt x="1452711" y="8181"/>
                </a:lnTo>
                <a:lnTo>
                  <a:pt x="1376207" y="5307"/>
                </a:lnTo>
                <a:lnTo>
                  <a:pt x="1296987" y="3025"/>
                </a:lnTo>
                <a:lnTo>
                  <a:pt x="1215319" y="1362"/>
                </a:lnTo>
                <a:lnTo>
                  <a:pt x="1131473" y="345"/>
                </a:lnTo>
                <a:lnTo>
                  <a:pt x="1045717" y="0"/>
                </a:lnTo>
                <a:lnTo>
                  <a:pt x="959944" y="345"/>
                </a:lnTo>
                <a:lnTo>
                  <a:pt x="876082" y="1362"/>
                </a:lnTo>
                <a:lnTo>
                  <a:pt x="794399" y="3025"/>
                </a:lnTo>
                <a:lnTo>
                  <a:pt x="715166" y="5307"/>
                </a:lnTo>
                <a:lnTo>
                  <a:pt x="638651" y="8181"/>
                </a:lnTo>
                <a:lnTo>
                  <a:pt x="565123" y="11620"/>
                </a:lnTo>
                <a:lnTo>
                  <a:pt x="494850" y="15598"/>
                </a:lnTo>
                <a:lnTo>
                  <a:pt x="428103" y="20088"/>
                </a:lnTo>
                <a:lnTo>
                  <a:pt x="365150" y="25062"/>
                </a:lnTo>
                <a:lnTo>
                  <a:pt x="306260" y="30495"/>
                </a:lnTo>
                <a:lnTo>
                  <a:pt x="251702" y="36360"/>
                </a:lnTo>
                <a:lnTo>
                  <a:pt x="201745" y="42629"/>
                </a:lnTo>
                <a:lnTo>
                  <a:pt x="156657" y="49276"/>
                </a:lnTo>
                <a:lnTo>
                  <a:pt x="116709" y="56274"/>
                </a:lnTo>
                <a:lnTo>
                  <a:pt x="82169" y="63597"/>
                </a:lnTo>
                <a:lnTo>
                  <a:pt x="30387" y="79108"/>
                </a:lnTo>
                <a:lnTo>
                  <a:pt x="3466" y="95596"/>
                </a:lnTo>
                <a:lnTo>
                  <a:pt x="0" y="104139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7" name="object 177"/>
          <p:cNvSpPr/>
          <p:nvPr/>
        </p:nvSpPr>
        <p:spPr>
          <a:xfrm>
            <a:off x="7554341" y="3317876"/>
            <a:ext cx="2091308" cy="208279"/>
          </a:xfrm>
          <a:custGeom>
            <a:avLst/>
            <a:gdLst/>
            <a:ahLst/>
            <a:cxnLst/>
            <a:rect l="l" t="t" r="r" b="b"/>
            <a:pathLst>
              <a:path w="2091308" h="208279">
                <a:moveTo>
                  <a:pt x="0" y="104139"/>
                </a:moveTo>
                <a:lnTo>
                  <a:pt x="30387" y="79108"/>
                </a:lnTo>
                <a:lnTo>
                  <a:pt x="82169" y="63597"/>
                </a:lnTo>
                <a:lnTo>
                  <a:pt x="116709" y="56274"/>
                </a:lnTo>
                <a:lnTo>
                  <a:pt x="156657" y="49276"/>
                </a:lnTo>
                <a:lnTo>
                  <a:pt x="201745" y="42629"/>
                </a:lnTo>
                <a:lnTo>
                  <a:pt x="251702" y="36360"/>
                </a:lnTo>
                <a:lnTo>
                  <a:pt x="306260" y="30495"/>
                </a:lnTo>
                <a:lnTo>
                  <a:pt x="365150" y="25062"/>
                </a:lnTo>
                <a:lnTo>
                  <a:pt x="428103" y="20088"/>
                </a:lnTo>
                <a:lnTo>
                  <a:pt x="494850" y="15598"/>
                </a:lnTo>
                <a:lnTo>
                  <a:pt x="565123" y="11620"/>
                </a:lnTo>
                <a:lnTo>
                  <a:pt x="638651" y="8181"/>
                </a:lnTo>
                <a:lnTo>
                  <a:pt x="715166" y="5307"/>
                </a:lnTo>
                <a:lnTo>
                  <a:pt x="794399" y="3025"/>
                </a:lnTo>
                <a:lnTo>
                  <a:pt x="876082" y="1362"/>
                </a:lnTo>
                <a:lnTo>
                  <a:pt x="959944" y="345"/>
                </a:lnTo>
                <a:lnTo>
                  <a:pt x="1045717" y="0"/>
                </a:lnTo>
                <a:lnTo>
                  <a:pt x="1131473" y="345"/>
                </a:lnTo>
                <a:lnTo>
                  <a:pt x="1215319" y="1362"/>
                </a:lnTo>
                <a:lnTo>
                  <a:pt x="1296987" y="3025"/>
                </a:lnTo>
                <a:lnTo>
                  <a:pt x="1376207" y="5307"/>
                </a:lnTo>
                <a:lnTo>
                  <a:pt x="1452711" y="8181"/>
                </a:lnTo>
                <a:lnTo>
                  <a:pt x="1526229" y="11620"/>
                </a:lnTo>
                <a:lnTo>
                  <a:pt x="1596492" y="15598"/>
                </a:lnTo>
                <a:lnTo>
                  <a:pt x="1663232" y="20088"/>
                </a:lnTo>
                <a:lnTo>
                  <a:pt x="1726179" y="25062"/>
                </a:lnTo>
                <a:lnTo>
                  <a:pt x="1785064" y="30495"/>
                </a:lnTo>
                <a:lnTo>
                  <a:pt x="1839618" y="36360"/>
                </a:lnTo>
                <a:lnTo>
                  <a:pt x="1889572" y="42629"/>
                </a:lnTo>
                <a:lnTo>
                  <a:pt x="1934656" y="49276"/>
                </a:lnTo>
                <a:lnTo>
                  <a:pt x="1974602" y="56274"/>
                </a:lnTo>
                <a:lnTo>
                  <a:pt x="2009141" y="63597"/>
                </a:lnTo>
                <a:lnTo>
                  <a:pt x="2060921" y="79108"/>
                </a:lnTo>
                <a:lnTo>
                  <a:pt x="2091308" y="104139"/>
                </a:lnTo>
                <a:lnTo>
                  <a:pt x="2087842" y="112683"/>
                </a:lnTo>
                <a:lnTo>
                  <a:pt x="2077624" y="121035"/>
                </a:lnTo>
                <a:lnTo>
                  <a:pt x="2038004" y="137062"/>
                </a:lnTo>
                <a:lnTo>
                  <a:pt x="1974602" y="152005"/>
                </a:lnTo>
                <a:lnTo>
                  <a:pt x="1934656" y="159003"/>
                </a:lnTo>
                <a:lnTo>
                  <a:pt x="1889572" y="165650"/>
                </a:lnTo>
                <a:lnTo>
                  <a:pt x="1839618" y="171919"/>
                </a:lnTo>
                <a:lnTo>
                  <a:pt x="1785064" y="177784"/>
                </a:lnTo>
                <a:lnTo>
                  <a:pt x="1726179" y="183217"/>
                </a:lnTo>
                <a:lnTo>
                  <a:pt x="1663232" y="188191"/>
                </a:lnTo>
                <a:lnTo>
                  <a:pt x="1596492" y="192681"/>
                </a:lnTo>
                <a:lnTo>
                  <a:pt x="1526229" y="196659"/>
                </a:lnTo>
                <a:lnTo>
                  <a:pt x="1452711" y="200098"/>
                </a:lnTo>
                <a:lnTo>
                  <a:pt x="1376207" y="202972"/>
                </a:lnTo>
                <a:lnTo>
                  <a:pt x="1296987" y="205254"/>
                </a:lnTo>
                <a:lnTo>
                  <a:pt x="1215319" y="206917"/>
                </a:lnTo>
                <a:lnTo>
                  <a:pt x="1131473" y="207934"/>
                </a:lnTo>
                <a:lnTo>
                  <a:pt x="1045717" y="208279"/>
                </a:lnTo>
                <a:lnTo>
                  <a:pt x="959944" y="207934"/>
                </a:lnTo>
                <a:lnTo>
                  <a:pt x="876082" y="206917"/>
                </a:lnTo>
                <a:lnTo>
                  <a:pt x="794399" y="205254"/>
                </a:lnTo>
                <a:lnTo>
                  <a:pt x="715166" y="202972"/>
                </a:lnTo>
                <a:lnTo>
                  <a:pt x="638651" y="200098"/>
                </a:lnTo>
                <a:lnTo>
                  <a:pt x="565123" y="196659"/>
                </a:lnTo>
                <a:lnTo>
                  <a:pt x="494850" y="192681"/>
                </a:lnTo>
                <a:lnTo>
                  <a:pt x="428103" y="188191"/>
                </a:lnTo>
                <a:lnTo>
                  <a:pt x="365150" y="183217"/>
                </a:lnTo>
                <a:lnTo>
                  <a:pt x="306260" y="177784"/>
                </a:lnTo>
                <a:lnTo>
                  <a:pt x="251702" y="171919"/>
                </a:lnTo>
                <a:lnTo>
                  <a:pt x="201745" y="165650"/>
                </a:lnTo>
                <a:lnTo>
                  <a:pt x="156657" y="159003"/>
                </a:lnTo>
                <a:lnTo>
                  <a:pt x="116709" y="152005"/>
                </a:lnTo>
                <a:lnTo>
                  <a:pt x="82169" y="144682"/>
                </a:lnTo>
                <a:lnTo>
                  <a:pt x="53305" y="137062"/>
                </a:lnTo>
                <a:lnTo>
                  <a:pt x="13685" y="121035"/>
                </a:lnTo>
                <a:lnTo>
                  <a:pt x="0" y="10413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8" name="object 178"/>
          <p:cNvSpPr/>
          <p:nvPr/>
        </p:nvSpPr>
        <p:spPr>
          <a:xfrm>
            <a:off x="8558785" y="4091813"/>
            <a:ext cx="1100582" cy="109474"/>
          </a:xfrm>
          <a:custGeom>
            <a:avLst/>
            <a:gdLst/>
            <a:ahLst/>
            <a:cxnLst/>
            <a:rect l="l" t="t" r="r" b="b"/>
            <a:pathLst>
              <a:path w="1100582" h="109474">
                <a:moveTo>
                  <a:pt x="1100582" y="0"/>
                </a:moveTo>
                <a:lnTo>
                  <a:pt x="1068595" y="26305"/>
                </a:lnTo>
                <a:lnTo>
                  <a:pt x="1014091" y="42608"/>
                </a:lnTo>
                <a:lnTo>
                  <a:pt x="977734" y="50305"/>
                </a:lnTo>
                <a:lnTo>
                  <a:pt x="935686" y="57662"/>
                </a:lnTo>
                <a:lnTo>
                  <a:pt x="888229" y="64650"/>
                </a:lnTo>
                <a:lnTo>
                  <a:pt x="835648" y="71240"/>
                </a:lnTo>
                <a:lnTo>
                  <a:pt x="778224" y="77406"/>
                </a:lnTo>
                <a:lnTo>
                  <a:pt x="716241" y="83118"/>
                </a:lnTo>
                <a:lnTo>
                  <a:pt x="649983" y="88349"/>
                </a:lnTo>
                <a:lnTo>
                  <a:pt x="579734" y="93070"/>
                </a:lnTo>
                <a:lnTo>
                  <a:pt x="505775" y="97253"/>
                </a:lnTo>
                <a:lnTo>
                  <a:pt x="428390" y="100869"/>
                </a:lnTo>
                <a:lnTo>
                  <a:pt x="347864" y="103892"/>
                </a:lnTo>
                <a:lnTo>
                  <a:pt x="264478" y="106291"/>
                </a:lnTo>
                <a:lnTo>
                  <a:pt x="178517" y="108040"/>
                </a:lnTo>
                <a:lnTo>
                  <a:pt x="90263" y="109111"/>
                </a:lnTo>
                <a:lnTo>
                  <a:pt x="0" y="10947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9" name="object 179"/>
          <p:cNvSpPr/>
          <p:nvPr/>
        </p:nvSpPr>
        <p:spPr>
          <a:xfrm>
            <a:off x="7533767" y="4098925"/>
            <a:ext cx="1100581" cy="109474"/>
          </a:xfrm>
          <a:custGeom>
            <a:avLst/>
            <a:gdLst/>
            <a:ahLst/>
            <a:cxnLst/>
            <a:rect l="l" t="t" r="r" b="b"/>
            <a:pathLst>
              <a:path w="1100581" h="109474">
                <a:moveTo>
                  <a:pt x="1100581" y="109474"/>
                </a:moveTo>
                <a:lnTo>
                  <a:pt x="1010318" y="109111"/>
                </a:lnTo>
                <a:lnTo>
                  <a:pt x="922064" y="108040"/>
                </a:lnTo>
                <a:lnTo>
                  <a:pt x="836103" y="106291"/>
                </a:lnTo>
                <a:lnTo>
                  <a:pt x="752717" y="103892"/>
                </a:lnTo>
                <a:lnTo>
                  <a:pt x="672191" y="100869"/>
                </a:lnTo>
                <a:lnTo>
                  <a:pt x="594806" y="97253"/>
                </a:lnTo>
                <a:lnTo>
                  <a:pt x="520847" y="93070"/>
                </a:lnTo>
                <a:lnTo>
                  <a:pt x="450598" y="88349"/>
                </a:lnTo>
                <a:lnTo>
                  <a:pt x="384340" y="83118"/>
                </a:lnTo>
                <a:lnTo>
                  <a:pt x="322357" y="77406"/>
                </a:lnTo>
                <a:lnTo>
                  <a:pt x="264933" y="71240"/>
                </a:lnTo>
                <a:lnTo>
                  <a:pt x="212352" y="64650"/>
                </a:lnTo>
                <a:lnTo>
                  <a:pt x="164895" y="57662"/>
                </a:lnTo>
                <a:lnTo>
                  <a:pt x="122847" y="50305"/>
                </a:lnTo>
                <a:lnTo>
                  <a:pt x="86490" y="42608"/>
                </a:lnTo>
                <a:lnTo>
                  <a:pt x="31986" y="26305"/>
                </a:lnTo>
                <a:lnTo>
                  <a:pt x="3648" y="8977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0" name="object 180"/>
          <p:cNvSpPr/>
          <p:nvPr/>
        </p:nvSpPr>
        <p:spPr>
          <a:xfrm>
            <a:off x="7545197" y="3417825"/>
            <a:ext cx="0" cy="683513"/>
          </a:xfrm>
          <a:custGeom>
            <a:avLst/>
            <a:gdLst/>
            <a:ahLst/>
            <a:cxnLst/>
            <a:rect l="l" t="t" r="r" b="b"/>
            <a:pathLst>
              <a:path h="683513">
                <a:moveTo>
                  <a:pt x="0" y="0"/>
                </a:moveTo>
                <a:lnTo>
                  <a:pt x="0" y="68351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1" name="object 181"/>
          <p:cNvSpPr/>
          <p:nvPr/>
        </p:nvSpPr>
        <p:spPr>
          <a:xfrm>
            <a:off x="9636506" y="3420237"/>
            <a:ext cx="0" cy="684657"/>
          </a:xfrm>
          <a:custGeom>
            <a:avLst/>
            <a:gdLst/>
            <a:ahLst/>
            <a:cxnLst/>
            <a:rect l="l" t="t" r="r" b="b"/>
            <a:pathLst>
              <a:path h="684657">
                <a:moveTo>
                  <a:pt x="0" y="0"/>
                </a:moveTo>
                <a:lnTo>
                  <a:pt x="0" y="6846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3" name="object 163"/>
          <p:cNvSpPr txBox="1"/>
          <p:nvPr/>
        </p:nvSpPr>
        <p:spPr>
          <a:xfrm>
            <a:off x="742899" y="1063422"/>
            <a:ext cx="725254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0"/>
              </a:lnSpc>
              <a:spcBef>
                <a:spcPts val="67"/>
              </a:spcBef>
            </a:pP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200" spc="-1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endParaRPr sz="1200">
              <a:latin typeface="+mj-lt"/>
              <a:cs typeface="Cambria"/>
            </a:endParaRPr>
          </a:p>
        </p:txBody>
      </p:sp>
      <p:sp>
        <p:nvSpPr>
          <p:cNvPr id="162" name="object 162"/>
          <p:cNvSpPr txBox="1"/>
          <p:nvPr/>
        </p:nvSpPr>
        <p:spPr>
          <a:xfrm>
            <a:off x="624027" y="1677086"/>
            <a:ext cx="962998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0"/>
              </a:lnSpc>
              <a:spcBef>
                <a:spcPts val="67"/>
              </a:spcBef>
            </a:pPr>
            <a:r>
              <a:rPr sz="1200" spc="-1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ccess</a:t>
            </a:r>
            <a:r>
              <a:rPr sz="1200" spc="-2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v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ia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endParaRPr sz="1200">
              <a:latin typeface="+mj-lt"/>
              <a:cs typeface="Cambria"/>
            </a:endParaRPr>
          </a:p>
        </p:txBody>
      </p:sp>
      <p:sp>
        <p:nvSpPr>
          <p:cNvPr id="161" name="object 161"/>
          <p:cNvSpPr txBox="1"/>
          <p:nvPr/>
        </p:nvSpPr>
        <p:spPr>
          <a:xfrm>
            <a:off x="1130909" y="3383629"/>
            <a:ext cx="730441" cy="1518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USI</a:t>
            </a:r>
            <a:r>
              <a:rPr sz="1000" spc="-4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Su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0" dirty="0" smtClean="0">
                <a:latin typeface="+mj-lt"/>
                <a:cs typeface="Cambria"/>
              </a:rPr>
              <a:t>t</a:t>
            </a:r>
            <a:r>
              <a:rPr sz="1000" spc="4" dirty="0" smtClean="0">
                <a:latin typeface="+mj-lt"/>
                <a:cs typeface="Cambria"/>
              </a:rPr>
              <a:t>a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4" dirty="0" smtClean="0">
                <a:latin typeface="+mj-lt"/>
                <a:cs typeface="Cambria"/>
              </a:rPr>
              <a:t>l</a:t>
            </a:r>
            <a:r>
              <a:rPr sz="1000" spc="0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60" name="object 160"/>
          <p:cNvSpPr txBox="1"/>
          <p:nvPr/>
        </p:nvSpPr>
        <p:spPr>
          <a:xfrm>
            <a:off x="3431286" y="3383629"/>
            <a:ext cx="730441" cy="1518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USI</a:t>
            </a:r>
            <a:r>
              <a:rPr sz="1000" spc="-4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Su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0" dirty="0" smtClean="0">
                <a:latin typeface="+mj-lt"/>
                <a:cs typeface="Cambria"/>
              </a:rPr>
              <a:t>t</a:t>
            </a:r>
            <a:r>
              <a:rPr sz="1000" spc="4" dirty="0" smtClean="0">
                <a:latin typeface="+mj-lt"/>
                <a:cs typeface="Cambria"/>
              </a:rPr>
              <a:t>a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4" dirty="0" smtClean="0">
                <a:latin typeface="+mj-lt"/>
                <a:cs typeface="Cambria"/>
              </a:rPr>
              <a:t>l</a:t>
            </a:r>
            <a:r>
              <a:rPr sz="1000" spc="0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59" name="object 159"/>
          <p:cNvSpPr txBox="1"/>
          <p:nvPr/>
        </p:nvSpPr>
        <p:spPr>
          <a:xfrm>
            <a:off x="5733669" y="3382358"/>
            <a:ext cx="730441" cy="1518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USI</a:t>
            </a:r>
            <a:r>
              <a:rPr sz="1000" spc="-4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Su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0" dirty="0" smtClean="0">
                <a:latin typeface="+mj-lt"/>
                <a:cs typeface="Cambria"/>
              </a:rPr>
              <a:t>t</a:t>
            </a:r>
            <a:r>
              <a:rPr sz="1000" spc="4" dirty="0" smtClean="0">
                <a:latin typeface="+mj-lt"/>
                <a:cs typeface="Cambria"/>
              </a:rPr>
              <a:t>a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4" dirty="0" smtClean="0">
                <a:latin typeface="+mj-lt"/>
                <a:cs typeface="Cambria"/>
              </a:rPr>
              <a:t>l</a:t>
            </a:r>
            <a:r>
              <a:rPr sz="1000" spc="0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58" name="object 158"/>
          <p:cNvSpPr txBox="1"/>
          <p:nvPr/>
        </p:nvSpPr>
        <p:spPr>
          <a:xfrm>
            <a:off x="8034020" y="3382358"/>
            <a:ext cx="730441" cy="1518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USI</a:t>
            </a:r>
            <a:r>
              <a:rPr sz="1000" spc="-4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Su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0" dirty="0" smtClean="0">
                <a:latin typeface="+mj-lt"/>
                <a:cs typeface="Cambria"/>
              </a:rPr>
              <a:t>t</a:t>
            </a:r>
            <a:r>
              <a:rPr sz="1000" spc="4" dirty="0" smtClean="0">
                <a:latin typeface="+mj-lt"/>
                <a:cs typeface="Cambria"/>
              </a:rPr>
              <a:t>a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4" dirty="0" smtClean="0">
                <a:latin typeface="+mj-lt"/>
                <a:cs typeface="Cambria"/>
              </a:rPr>
              <a:t>l</a:t>
            </a:r>
            <a:r>
              <a:rPr sz="1000" spc="0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57" name="object 157"/>
          <p:cNvSpPr txBox="1"/>
          <p:nvPr/>
        </p:nvSpPr>
        <p:spPr>
          <a:xfrm>
            <a:off x="7674103" y="3595822"/>
            <a:ext cx="603200" cy="4764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8973">
              <a:lnSpc>
                <a:spcPts val="1030"/>
              </a:lnSpc>
              <a:spcBef>
                <a:spcPts val="51"/>
              </a:spcBef>
            </a:pPr>
            <a:r>
              <a:rPr sz="900" spc="4" dirty="0" smtClean="0">
                <a:latin typeface="+mj-lt"/>
                <a:cs typeface="Cambria"/>
              </a:rPr>
              <a:t>R</a:t>
            </a:r>
            <a:r>
              <a:rPr sz="900" spc="0" dirty="0" smtClean="0">
                <a:latin typeface="+mj-lt"/>
                <a:cs typeface="Cambria"/>
              </a:rPr>
              <a:t>owID</a:t>
            </a:r>
            <a:endParaRPr sz="900">
              <a:latin typeface="+mj-lt"/>
              <a:cs typeface="Cambria"/>
            </a:endParaRPr>
          </a:p>
          <a:p>
            <a:pPr marL="239395">
              <a:lnSpc>
                <a:spcPct val="97696"/>
              </a:lnSpc>
              <a:spcBef>
                <a:spcPts val="228"/>
              </a:spcBef>
            </a:pPr>
            <a:r>
              <a:rPr sz="1000" spc="0" dirty="0" smtClean="0">
                <a:latin typeface="+mj-lt"/>
                <a:cs typeface="Cambria"/>
              </a:rPr>
              <a:t>175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  <a:p>
            <a:pPr marL="239395">
              <a:lnSpc>
                <a:spcPct val="97696"/>
              </a:lnSpc>
              <a:spcBef>
                <a:spcPts val="30"/>
              </a:spcBef>
            </a:pPr>
            <a:r>
              <a:rPr sz="1000" spc="0" dirty="0" smtClean="0">
                <a:latin typeface="+mj-lt"/>
                <a:cs typeface="Cambria"/>
              </a:rPr>
              <a:t>489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56" name="object 156"/>
          <p:cNvSpPr txBox="1"/>
          <p:nvPr/>
        </p:nvSpPr>
        <p:spPr>
          <a:xfrm>
            <a:off x="3146808" y="3611061"/>
            <a:ext cx="375959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30"/>
              </a:lnSpc>
              <a:spcBef>
                <a:spcPts val="51"/>
              </a:spcBef>
            </a:pPr>
            <a:r>
              <a:rPr sz="900" spc="4" dirty="0" smtClean="0">
                <a:latin typeface="+mj-lt"/>
                <a:cs typeface="Cambria"/>
              </a:rPr>
              <a:t>R</a:t>
            </a:r>
            <a:r>
              <a:rPr sz="900" spc="0" dirty="0" smtClean="0">
                <a:latin typeface="+mj-lt"/>
                <a:cs typeface="Cambria"/>
              </a:rPr>
              <a:t>owID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55" name="object 155"/>
          <p:cNvSpPr txBox="1"/>
          <p:nvPr/>
        </p:nvSpPr>
        <p:spPr>
          <a:xfrm>
            <a:off x="6098287" y="3609925"/>
            <a:ext cx="256715" cy="1400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30"/>
              </a:lnSpc>
              <a:spcBef>
                <a:spcPts val="51"/>
              </a:spcBef>
            </a:pPr>
            <a:r>
              <a:rPr sz="900" spc="-4" dirty="0" smtClean="0">
                <a:latin typeface="+mj-lt"/>
                <a:cs typeface="Cambria"/>
              </a:rPr>
              <a:t>Cus</a:t>
            </a:r>
            <a:r>
              <a:rPr sz="900" spc="0" dirty="0" smtClean="0">
                <a:latin typeface="+mj-lt"/>
                <a:cs typeface="Cambria"/>
              </a:rPr>
              <a:t>t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54" name="object 154"/>
          <p:cNvSpPr txBox="1"/>
          <p:nvPr/>
        </p:nvSpPr>
        <p:spPr>
          <a:xfrm>
            <a:off x="8374385" y="3767677"/>
            <a:ext cx="184453" cy="3045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37</a:t>
            </a:r>
            <a:endParaRPr sz="100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</a:pPr>
            <a:r>
              <a:rPr sz="1000" spc="0" dirty="0" smtClean="0">
                <a:latin typeface="+mj-lt"/>
                <a:cs typeface="Cambria"/>
              </a:rPr>
              <a:t>72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53" name="object 153"/>
          <p:cNvSpPr txBox="1"/>
          <p:nvPr/>
        </p:nvSpPr>
        <p:spPr>
          <a:xfrm>
            <a:off x="8701279" y="3767677"/>
            <a:ext cx="376541" cy="3045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36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107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</a:pPr>
            <a:r>
              <a:rPr sz="1000" spc="0" dirty="0" smtClean="0">
                <a:latin typeface="+mj-lt"/>
                <a:cs typeface="Cambria"/>
              </a:rPr>
              <a:t>717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2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52" name="object 152"/>
          <p:cNvSpPr txBox="1"/>
          <p:nvPr/>
        </p:nvSpPr>
        <p:spPr>
          <a:xfrm>
            <a:off x="3811904" y="3905725"/>
            <a:ext cx="18450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56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51" name="object 151"/>
          <p:cNvSpPr txBox="1"/>
          <p:nvPr/>
        </p:nvSpPr>
        <p:spPr>
          <a:xfrm>
            <a:off x="1973708" y="3999832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388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50" name="object 150"/>
          <p:cNvSpPr txBox="1"/>
          <p:nvPr/>
        </p:nvSpPr>
        <p:spPr>
          <a:xfrm>
            <a:off x="3135250" y="4093812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969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49" name="object 149"/>
          <p:cNvSpPr txBox="1"/>
          <p:nvPr/>
        </p:nvSpPr>
        <p:spPr>
          <a:xfrm>
            <a:off x="3811904" y="4131912"/>
            <a:ext cx="18450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49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48" name="object 148"/>
          <p:cNvSpPr txBox="1"/>
          <p:nvPr/>
        </p:nvSpPr>
        <p:spPr>
          <a:xfrm>
            <a:off x="4222243" y="4131912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147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47" name="object 147"/>
          <p:cNvSpPr txBox="1"/>
          <p:nvPr/>
        </p:nvSpPr>
        <p:spPr>
          <a:xfrm>
            <a:off x="3924047" y="4546162"/>
            <a:ext cx="532178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30"/>
              </a:lnSpc>
              <a:spcBef>
                <a:spcPts val="51"/>
              </a:spcBef>
            </a:pPr>
            <a:r>
              <a:rPr sz="900" spc="4" dirty="0" smtClean="0">
                <a:latin typeface="+mj-lt"/>
                <a:cs typeface="Cambria"/>
              </a:rPr>
              <a:t>R</a:t>
            </a:r>
            <a:r>
              <a:rPr sz="900" spc="0" dirty="0" smtClean="0">
                <a:latin typeface="+mj-lt"/>
                <a:cs typeface="Cambria"/>
              </a:rPr>
              <a:t>ow</a:t>
            </a:r>
            <a:r>
              <a:rPr sz="900" spc="-14" dirty="0" smtClean="0">
                <a:latin typeface="+mj-lt"/>
                <a:cs typeface="Cambria"/>
              </a:rPr>
              <a:t> </a:t>
            </a:r>
            <a:r>
              <a:rPr sz="900" spc="-4" dirty="0" smtClean="0">
                <a:latin typeface="+mj-lt"/>
                <a:cs typeface="Cambria"/>
              </a:rPr>
              <a:t>H</a:t>
            </a:r>
            <a:r>
              <a:rPr sz="900" spc="4" dirty="0" smtClean="0">
                <a:latin typeface="+mj-lt"/>
                <a:cs typeface="Cambria"/>
              </a:rPr>
              <a:t>a</a:t>
            </a:r>
            <a:r>
              <a:rPr sz="900" spc="0" dirty="0" smtClean="0">
                <a:latin typeface="+mj-lt"/>
                <a:cs typeface="Cambria"/>
              </a:rPr>
              <a:t>sh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46" name="object 146"/>
          <p:cNvSpPr txBox="1"/>
          <p:nvPr/>
        </p:nvSpPr>
        <p:spPr>
          <a:xfrm>
            <a:off x="8028178" y="5879104"/>
            <a:ext cx="261747" cy="26728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spc="0" dirty="0" smtClean="0">
                <a:latin typeface="+mj-lt"/>
                <a:cs typeface="Cambria"/>
              </a:rPr>
              <a:t>C</a:t>
            </a:r>
            <a:r>
              <a:rPr sz="900" spc="-4" dirty="0" smtClean="0">
                <a:latin typeface="+mj-lt"/>
                <a:cs typeface="Cambria"/>
              </a:rPr>
              <a:t>u</a:t>
            </a:r>
            <a:r>
              <a:rPr sz="900" spc="0" dirty="0" smtClean="0">
                <a:latin typeface="+mj-lt"/>
                <a:cs typeface="Cambria"/>
              </a:rPr>
              <a:t>st</a:t>
            </a:r>
            <a:endParaRPr sz="900">
              <a:latin typeface="+mj-lt"/>
              <a:cs typeface="Cambria"/>
            </a:endParaRPr>
          </a:p>
          <a:p>
            <a:pPr marL="25273" marR="22333">
              <a:lnSpc>
                <a:spcPts val="1019"/>
              </a:lnSpc>
            </a:pPr>
            <a:r>
              <a:rPr sz="1000" spc="0" dirty="0" smtClean="0">
                <a:solidFill>
                  <a:srgbClr val="253046"/>
                </a:solidFill>
                <a:latin typeface="+mj-lt"/>
                <a:cs typeface="Cambria"/>
              </a:rPr>
              <a:t>USI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45" name="object 145"/>
          <p:cNvSpPr txBox="1"/>
          <p:nvPr/>
        </p:nvSpPr>
        <p:spPr>
          <a:xfrm>
            <a:off x="5716651" y="5890862"/>
            <a:ext cx="283491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Cu</a:t>
            </a:r>
            <a:r>
              <a:rPr sz="1000" spc="4" dirty="0" smtClean="0">
                <a:latin typeface="+mj-lt"/>
                <a:cs typeface="Cambria"/>
              </a:rPr>
              <a:t>s</a:t>
            </a:r>
            <a:r>
              <a:rPr sz="1000" spc="0" dirty="0" smtClean="0">
                <a:latin typeface="+mj-lt"/>
                <a:cs typeface="Cambria"/>
              </a:rPr>
              <a:t>t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44" name="object 144"/>
          <p:cNvSpPr txBox="1"/>
          <p:nvPr/>
        </p:nvSpPr>
        <p:spPr>
          <a:xfrm>
            <a:off x="7519162" y="5888729"/>
            <a:ext cx="412824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+mj-lt"/>
                <a:cs typeface="Cambria"/>
              </a:rPr>
              <a:t>R</a:t>
            </a:r>
            <a:r>
              <a:rPr sz="1000" spc="0" dirty="0" smtClean="0">
                <a:latin typeface="+mj-lt"/>
                <a:cs typeface="Cambria"/>
              </a:rPr>
              <a:t>o</a:t>
            </a:r>
            <a:r>
              <a:rPr sz="1000" spc="-4" dirty="0" smtClean="0">
                <a:latin typeface="+mj-lt"/>
                <a:cs typeface="Cambria"/>
              </a:rPr>
              <a:t>w</a:t>
            </a:r>
            <a:r>
              <a:rPr sz="1000" spc="0" dirty="0" smtClean="0">
                <a:latin typeface="+mj-lt"/>
                <a:cs typeface="Cambria"/>
              </a:rPr>
              <a:t>ID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43" name="object 143"/>
          <p:cNvSpPr txBox="1"/>
          <p:nvPr/>
        </p:nvSpPr>
        <p:spPr>
          <a:xfrm>
            <a:off x="1083972" y="5895659"/>
            <a:ext cx="299130" cy="1595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90"/>
              </a:lnSpc>
              <a:spcBef>
                <a:spcPts val="59"/>
              </a:spcBef>
            </a:pPr>
            <a:r>
              <a:rPr sz="1050" spc="4" dirty="0" smtClean="0">
                <a:latin typeface="+mj-lt"/>
                <a:cs typeface="Cambria"/>
              </a:rPr>
              <a:t>Cu</a:t>
            </a:r>
            <a:r>
              <a:rPr sz="1050" spc="0" dirty="0" smtClean="0">
                <a:latin typeface="+mj-lt"/>
                <a:cs typeface="Cambria"/>
              </a:rPr>
              <a:t>st</a:t>
            </a:r>
            <a:endParaRPr sz="1050">
              <a:latin typeface="+mj-lt"/>
              <a:cs typeface="Cambria"/>
            </a:endParaRPr>
          </a:p>
        </p:txBody>
      </p:sp>
      <p:sp>
        <p:nvSpPr>
          <p:cNvPr id="142" name="object 142"/>
          <p:cNvSpPr txBox="1"/>
          <p:nvPr/>
        </p:nvSpPr>
        <p:spPr>
          <a:xfrm>
            <a:off x="2900298" y="5899253"/>
            <a:ext cx="454733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RowID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41" name="object 141"/>
          <p:cNvSpPr txBox="1"/>
          <p:nvPr/>
        </p:nvSpPr>
        <p:spPr>
          <a:xfrm>
            <a:off x="5207255" y="5898177"/>
            <a:ext cx="412824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+mj-lt"/>
                <a:cs typeface="Cambria"/>
              </a:rPr>
              <a:t>R</a:t>
            </a:r>
            <a:r>
              <a:rPr sz="1000" spc="0" dirty="0" smtClean="0">
                <a:latin typeface="+mj-lt"/>
                <a:cs typeface="Cambria"/>
              </a:rPr>
              <a:t>o</a:t>
            </a:r>
            <a:r>
              <a:rPr sz="1000" spc="-4" dirty="0" smtClean="0">
                <a:latin typeface="+mj-lt"/>
                <a:cs typeface="Cambria"/>
              </a:rPr>
              <a:t>w</a:t>
            </a:r>
            <a:r>
              <a:rPr sz="1000" spc="0" dirty="0" smtClean="0">
                <a:latin typeface="+mj-lt"/>
                <a:cs typeface="Cambria"/>
              </a:rPr>
              <a:t>ID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40" name="object 140"/>
          <p:cNvSpPr txBox="1"/>
          <p:nvPr/>
        </p:nvSpPr>
        <p:spPr>
          <a:xfrm>
            <a:off x="574649" y="5902670"/>
            <a:ext cx="437073" cy="1595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90"/>
              </a:lnSpc>
              <a:spcBef>
                <a:spcPts val="59"/>
              </a:spcBef>
            </a:pPr>
            <a:r>
              <a:rPr sz="1050" spc="4" dirty="0" smtClean="0">
                <a:latin typeface="+mj-lt"/>
                <a:cs typeface="Cambria"/>
              </a:rPr>
              <a:t>R</a:t>
            </a:r>
            <a:r>
              <a:rPr sz="1050" spc="0" dirty="0" smtClean="0">
                <a:latin typeface="+mj-lt"/>
                <a:cs typeface="Cambria"/>
              </a:rPr>
              <a:t>owID</a:t>
            </a:r>
            <a:endParaRPr sz="1050">
              <a:latin typeface="+mj-lt"/>
              <a:cs typeface="Cambria"/>
            </a:endParaRPr>
          </a:p>
        </p:txBody>
      </p:sp>
      <p:sp>
        <p:nvSpPr>
          <p:cNvPr id="139" name="object 139"/>
          <p:cNvSpPr txBox="1"/>
          <p:nvPr/>
        </p:nvSpPr>
        <p:spPr>
          <a:xfrm>
            <a:off x="3381884" y="5900616"/>
            <a:ext cx="354150" cy="1706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55"/>
              </a:lnSpc>
              <a:spcBef>
                <a:spcPts val="62"/>
              </a:spcBef>
            </a:pPr>
            <a:r>
              <a:rPr sz="1500" spc="0" baseline="5686" dirty="0" smtClean="0">
                <a:latin typeface="+mj-lt"/>
                <a:cs typeface="Cambria"/>
              </a:rPr>
              <a:t>C</a:t>
            </a:r>
            <a:r>
              <a:rPr sz="1500" spc="-19" baseline="5686" dirty="0" smtClean="0">
                <a:latin typeface="+mj-lt"/>
                <a:cs typeface="Cambria"/>
              </a:rPr>
              <a:t>u</a:t>
            </a:r>
            <a:r>
              <a:rPr sz="1350" spc="-564" baseline="-3159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500" spc="4" baseline="5686" dirty="0" smtClean="0">
                <a:latin typeface="+mj-lt"/>
                <a:cs typeface="Cambria"/>
              </a:rPr>
              <a:t>s</a:t>
            </a:r>
            <a:r>
              <a:rPr sz="1500" spc="-204" baseline="5686" dirty="0" smtClean="0">
                <a:latin typeface="+mj-lt"/>
                <a:cs typeface="Cambria"/>
              </a:rPr>
              <a:t>t</a:t>
            </a:r>
            <a:r>
              <a:rPr sz="1350" spc="0" baseline="-3159" dirty="0" smtClean="0">
                <a:solidFill>
                  <a:srgbClr val="253046"/>
                </a:solidFill>
                <a:latin typeface="+mj-lt"/>
                <a:cs typeface="Cambria"/>
              </a:rPr>
              <a:t>SI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38" name="object 138"/>
          <p:cNvSpPr txBox="1"/>
          <p:nvPr/>
        </p:nvSpPr>
        <p:spPr>
          <a:xfrm>
            <a:off x="6691377" y="5996853"/>
            <a:ext cx="343339" cy="15951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90"/>
              </a:lnSpc>
              <a:spcBef>
                <a:spcPts val="59"/>
              </a:spcBef>
            </a:pPr>
            <a:r>
              <a:rPr sz="1050" spc="0" dirty="0" smtClean="0">
                <a:latin typeface="+mj-lt"/>
                <a:cs typeface="Cambria"/>
              </a:rPr>
              <a:t>NUPI</a:t>
            </a:r>
            <a:endParaRPr sz="1050">
              <a:latin typeface="+mj-lt"/>
              <a:cs typeface="Cambria"/>
            </a:endParaRPr>
          </a:p>
        </p:txBody>
      </p:sp>
      <p:sp>
        <p:nvSpPr>
          <p:cNvPr id="137" name="object 137"/>
          <p:cNvSpPr txBox="1"/>
          <p:nvPr/>
        </p:nvSpPr>
        <p:spPr>
          <a:xfrm>
            <a:off x="1443992" y="6086367"/>
            <a:ext cx="252003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30"/>
              </a:lnSpc>
              <a:spcBef>
                <a:spcPts val="51"/>
              </a:spcBef>
            </a:pPr>
            <a:r>
              <a:rPr sz="900" spc="4" dirty="0" smtClean="0">
                <a:latin typeface="+mj-lt"/>
                <a:cs typeface="Cambria"/>
              </a:rPr>
              <a:t>R</a:t>
            </a:r>
            <a:r>
              <a:rPr sz="900" spc="0" dirty="0" smtClean="0">
                <a:latin typeface="+mj-lt"/>
                <a:cs typeface="Cambria"/>
              </a:rPr>
              <a:t>ice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36" name="object 136"/>
          <p:cNvSpPr txBox="1"/>
          <p:nvPr/>
        </p:nvSpPr>
        <p:spPr>
          <a:xfrm>
            <a:off x="3437002" y="6091245"/>
            <a:ext cx="1340545" cy="3597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45"/>
              </a:lnSpc>
              <a:spcBef>
                <a:spcPts val="52"/>
              </a:spcBef>
            </a:pPr>
            <a:r>
              <a:rPr sz="900" spc="4" dirty="0" smtClean="0">
                <a:latin typeface="+mj-lt"/>
                <a:cs typeface="Cambria"/>
              </a:rPr>
              <a:t>4</a:t>
            </a:r>
            <a:r>
              <a:rPr sz="900" spc="0" dirty="0" smtClean="0">
                <a:latin typeface="+mj-lt"/>
                <a:cs typeface="Cambria"/>
              </a:rPr>
              <a:t>5    </a:t>
            </a:r>
            <a:r>
              <a:rPr sz="900" spc="137" dirty="0" smtClean="0">
                <a:latin typeface="+mj-lt"/>
                <a:cs typeface="Cambria"/>
              </a:rPr>
              <a:t> </a:t>
            </a:r>
            <a:r>
              <a:rPr sz="900" spc="4" dirty="0" smtClean="0">
                <a:latin typeface="+mj-lt"/>
                <a:cs typeface="Cambria"/>
              </a:rPr>
              <a:t>Ada</a:t>
            </a:r>
            <a:r>
              <a:rPr sz="900" spc="-4" dirty="0" smtClean="0">
                <a:latin typeface="+mj-lt"/>
                <a:cs typeface="Cambria"/>
              </a:rPr>
              <a:t>m</a:t>
            </a:r>
            <a:r>
              <a:rPr sz="900" spc="0" dirty="0" smtClean="0">
                <a:latin typeface="+mj-lt"/>
                <a:cs typeface="Cambria"/>
              </a:rPr>
              <a:t>s       </a:t>
            </a:r>
            <a:r>
              <a:rPr sz="900" spc="34" dirty="0" smtClean="0">
                <a:latin typeface="+mj-lt"/>
                <a:cs typeface="Cambria"/>
              </a:rPr>
              <a:t> </a:t>
            </a:r>
            <a:r>
              <a:rPr sz="900" spc="4" dirty="0" smtClean="0">
                <a:latin typeface="+mj-lt"/>
                <a:cs typeface="Cambria"/>
              </a:rPr>
              <a:t>444</a:t>
            </a:r>
            <a:r>
              <a:rPr sz="900" spc="0" dirty="0" smtClean="0">
                <a:latin typeface="+mj-lt"/>
                <a:cs typeface="Cambria"/>
              </a:rPr>
              <a:t>-</a:t>
            </a:r>
            <a:r>
              <a:rPr sz="900" spc="4" dirty="0" smtClean="0">
                <a:latin typeface="+mj-lt"/>
                <a:cs typeface="Cambria"/>
              </a:rPr>
              <a:t>6666</a:t>
            </a:r>
            <a:endParaRPr sz="90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  <a:spcBef>
                <a:spcPts val="608"/>
              </a:spcBef>
            </a:pPr>
            <a:r>
              <a:rPr sz="900" spc="4" dirty="0" smtClean="0">
                <a:latin typeface="+mj-lt"/>
                <a:cs typeface="Cambria"/>
              </a:rPr>
              <a:t>7</a:t>
            </a:r>
            <a:r>
              <a:rPr sz="900" spc="0" dirty="0" smtClean="0">
                <a:latin typeface="+mj-lt"/>
                <a:cs typeface="Cambria"/>
              </a:rPr>
              <a:t>2    </a:t>
            </a:r>
            <a:r>
              <a:rPr sz="900" spc="137" dirty="0" smtClean="0">
                <a:latin typeface="+mj-lt"/>
                <a:cs typeface="Cambria"/>
              </a:rPr>
              <a:t> </a:t>
            </a:r>
            <a:r>
              <a:rPr sz="900" spc="4" dirty="0" smtClean="0">
                <a:latin typeface="+mj-lt"/>
                <a:cs typeface="Cambria"/>
              </a:rPr>
              <a:t>Ada</a:t>
            </a:r>
            <a:r>
              <a:rPr sz="900" spc="-4" dirty="0" smtClean="0">
                <a:latin typeface="+mj-lt"/>
                <a:cs typeface="Cambria"/>
              </a:rPr>
              <a:t>m</a:t>
            </a:r>
            <a:r>
              <a:rPr sz="900" spc="0" dirty="0" smtClean="0">
                <a:latin typeface="+mj-lt"/>
                <a:cs typeface="Cambria"/>
              </a:rPr>
              <a:t>s       </a:t>
            </a:r>
            <a:r>
              <a:rPr sz="900" spc="34" dirty="0" smtClean="0">
                <a:latin typeface="+mj-lt"/>
                <a:cs typeface="Cambria"/>
              </a:rPr>
              <a:t> </a:t>
            </a:r>
            <a:r>
              <a:rPr sz="900" spc="4" dirty="0" smtClean="0">
                <a:latin typeface="+mj-lt"/>
                <a:cs typeface="Cambria"/>
              </a:rPr>
              <a:t>666</a:t>
            </a:r>
            <a:r>
              <a:rPr sz="900" spc="0" dirty="0" smtClean="0">
                <a:latin typeface="+mj-lt"/>
                <a:cs typeface="Cambria"/>
              </a:rPr>
              <a:t>-</a:t>
            </a:r>
            <a:r>
              <a:rPr sz="900" spc="4" dirty="0" smtClean="0">
                <a:latin typeface="+mj-lt"/>
                <a:cs typeface="Cambria"/>
              </a:rPr>
              <a:t>7777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35" name="object 135"/>
          <p:cNvSpPr txBox="1"/>
          <p:nvPr/>
        </p:nvSpPr>
        <p:spPr>
          <a:xfrm>
            <a:off x="6046724" y="6100693"/>
            <a:ext cx="1070208" cy="1421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50"/>
              </a:lnSpc>
              <a:spcBef>
                <a:spcPts val="52"/>
              </a:spcBef>
            </a:pPr>
            <a:r>
              <a:rPr sz="900" spc="0" dirty="0" smtClean="0">
                <a:latin typeface="+mj-lt"/>
                <a:cs typeface="Cambria"/>
              </a:rPr>
              <a:t>S</a:t>
            </a:r>
            <a:r>
              <a:rPr sz="900" spc="-4" dirty="0" smtClean="0">
                <a:latin typeface="+mj-lt"/>
                <a:cs typeface="Cambria"/>
              </a:rPr>
              <a:t>m</a:t>
            </a:r>
            <a:r>
              <a:rPr sz="900" spc="0" dirty="0" smtClean="0">
                <a:latin typeface="+mj-lt"/>
                <a:cs typeface="Cambria"/>
              </a:rPr>
              <a:t>ith         </a:t>
            </a:r>
            <a:r>
              <a:rPr sz="900" spc="44" dirty="0" smtClean="0">
                <a:latin typeface="+mj-lt"/>
                <a:cs typeface="Cambria"/>
              </a:rPr>
              <a:t> </a:t>
            </a:r>
            <a:r>
              <a:rPr sz="900" spc="4" dirty="0" smtClean="0">
                <a:latin typeface="+mj-lt"/>
                <a:cs typeface="Cambria"/>
              </a:rPr>
              <a:t>111</a:t>
            </a:r>
            <a:r>
              <a:rPr sz="900" spc="0" dirty="0" smtClean="0">
                <a:latin typeface="+mj-lt"/>
                <a:cs typeface="Cambria"/>
              </a:rPr>
              <a:t>-</a:t>
            </a:r>
            <a:r>
              <a:rPr sz="900" spc="4" dirty="0" smtClean="0">
                <a:latin typeface="+mj-lt"/>
                <a:cs typeface="Cambria"/>
              </a:rPr>
              <a:t>6666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34" name="object 134"/>
          <p:cNvSpPr txBox="1"/>
          <p:nvPr/>
        </p:nvSpPr>
        <p:spPr>
          <a:xfrm>
            <a:off x="1955419" y="6105322"/>
            <a:ext cx="528614" cy="3579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30"/>
              </a:lnSpc>
              <a:spcBef>
                <a:spcPts val="51"/>
              </a:spcBef>
            </a:pPr>
            <a:r>
              <a:rPr sz="900" spc="4" dirty="0" smtClean="0">
                <a:latin typeface="+mj-lt"/>
                <a:cs typeface="Cambria"/>
              </a:rPr>
              <a:t>555</a:t>
            </a:r>
            <a:r>
              <a:rPr sz="900" spc="0" dirty="0" smtClean="0">
                <a:latin typeface="+mj-lt"/>
                <a:cs typeface="Cambria"/>
              </a:rPr>
              <a:t>-</a:t>
            </a:r>
            <a:r>
              <a:rPr sz="900" spc="4" dirty="0" smtClean="0">
                <a:latin typeface="+mj-lt"/>
                <a:cs typeface="Cambria"/>
              </a:rPr>
              <a:t>4444</a:t>
            </a:r>
            <a:endParaRPr sz="90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  <a:spcBef>
                <a:spcPts val="609"/>
              </a:spcBef>
            </a:pPr>
            <a:r>
              <a:rPr sz="900" spc="4" dirty="0" smtClean="0">
                <a:latin typeface="+mj-lt"/>
                <a:cs typeface="Cambria"/>
              </a:rPr>
              <a:t>111</a:t>
            </a:r>
            <a:r>
              <a:rPr sz="900" spc="0" dirty="0" smtClean="0">
                <a:latin typeface="+mj-lt"/>
                <a:cs typeface="Cambria"/>
              </a:rPr>
              <a:t>-</a:t>
            </a:r>
            <a:r>
              <a:rPr sz="900" spc="4" dirty="0" smtClean="0">
                <a:latin typeface="+mj-lt"/>
                <a:cs typeface="Cambria"/>
              </a:rPr>
              <a:t>2222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33" name="object 133"/>
          <p:cNvSpPr txBox="1"/>
          <p:nvPr/>
        </p:nvSpPr>
        <p:spPr>
          <a:xfrm>
            <a:off x="5776342" y="6103132"/>
            <a:ext cx="170495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30"/>
              </a:lnSpc>
              <a:spcBef>
                <a:spcPts val="51"/>
              </a:spcBef>
            </a:pPr>
            <a:r>
              <a:rPr sz="900" spc="4" dirty="0" smtClean="0">
                <a:latin typeface="+mj-lt"/>
                <a:cs typeface="Cambria"/>
              </a:rPr>
              <a:t>49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32" name="object 132"/>
          <p:cNvSpPr txBox="1"/>
          <p:nvPr/>
        </p:nvSpPr>
        <p:spPr>
          <a:xfrm>
            <a:off x="8087995" y="6160129"/>
            <a:ext cx="170495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30"/>
              </a:lnSpc>
              <a:spcBef>
                <a:spcPts val="51"/>
              </a:spcBef>
            </a:pPr>
            <a:r>
              <a:rPr sz="900" spc="4" dirty="0" smtClean="0">
                <a:latin typeface="+mj-lt"/>
                <a:cs typeface="Cambria"/>
              </a:rPr>
              <a:t>77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31" name="object 131"/>
          <p:cNvSpPr txBox="1"/>
          <p:nvPr/>
        </p:nvSpPr>
        <p:spPr>
          <a:xfrm>
            <a:off x="8358632" y="6160129"/>
            <a:ext cx="354842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30"/>
              </a:lnSpc>
              <a:spcBef>
                <a:spcPts val="51"/>
              </a:spcBef>
            </a:pPr>
            <a:r>
              <a:rPr sz="900" spc="4" dirty="0" smtClean="0">
                <a:latin typeface="+mj-lt"/>
                <a:cs typeface="Cambria"/>
              </a:rPr>
              <a:t>Pe</a:t>
            </a:r>
            <a:r>
              <a:rPr sz="900" spc="-4" dirty="0" smtClean="0">
                <a:latin typeface="+mj-lt"/>
                <a:cs typeface="Cambria"/>
              </a:rPr>
              <a:t>t</a:t>
            </a:r>
            <a:r>
              <a:rPr sz="900" spc="4" dirty="0" smtClean="0">
                <a:latin typeface="+mj-lt"/>
                <a:cs typeface="Cambria"/>
              </a:rPr>
              <a:t>e</a:t>
            </a:r>
            <a:r>
              <a:rPr sz="900" spc="0" dirty="0" smtClean="0">
                <a:latin typeface="+mj-lt"/>
                <a:cs typeface="Cambria"/>
              </a:rPr>
              <a:t>rs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30" name="object 130"/>
          <p:cNvSpPr txBox="1"/>
          <p:nvPr/>
        </p:nvSpPr>
        <p:spPr>
          <a:xfrm>
            <a:off x="8087995" y="6311310"/>
            <a:ext cx="170495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30"/>
              </a:lnSpc>
              <a:spcBef>
                <a:spcPts val="51"/>
              </a:spcBef>
            </a:pPr>
            <a:r>
              <a:rPr sz="900" spc="4" dirty="0" smtClean="0">
                <a:latin typeface="+mj-lt"/>
                <a:cs typeface="Cambria"/>
              </a:rPr>
              <a:t>56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29" name="object 129"/>
          <p:cNvSpPr txBox="1"/>
          <p:nvPr/>
        </p:nvSpPr>
        <p:spPr>
          <a:xfrm>
            <a:off x="8358632" y="6309176"/>
            <a:ext cx="1070162" cy="1418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45"/>
              </a:lnSpc>
              <a:spcBef>
                <a:spcPts val="52"/>
              </a:spcBef>
            </a:pPr>
            <a:r>
              <a:rPr sz="900" spc="0" dirty="0" smtClean="0">
                <a:latin typeface="+mj-lt"/>
                <a:cs typeface="Cambria"/>
              </a:rPr>
              <a:t>S</a:t>
            </a:r>
            <a:r>
              <a:rPr sz="900" spc="-4" dirty="0" smtClean="0">
                <a:latin typeface="+mj-lt"/>
                <a:cs typeface="Cambria"/>
              </a:rPr>
              <a:t>m</a:t>
            </a:r>
            <a:r>
              <a:rPr sz="900" spc="0" dirty="0" smtClean="0">
                <a:latin typeface="+mj-lt"/>
                <a:cs typeface="Cambria"/>
              </a:rPr>
              <a:t>ith         </a:t>
            </a:r>
            <a:r>
              <a:rPr sz="900" spc="44" dirty="0" smtClean="0">
                <a:latin typeface="+mj-lt"/>
                <a:cs typeface="Cambria"/>
              </a:rPr>
              <a:t> </a:t>
            </a:r>
            <a:r>
              <a:rPr sz="900" spc="4" dirty="0" smtClean="0">
                <a:latin typeface="+mj-lt"/>
                <a:cs typeface="Cambria"/>
              </a:rPr>
              <a:t>555</a:t>
            </a:r>
            <a:r>
              <a:rPr sz="900" spc="0" dirty="0" smtClean="0">
                <a:latin typeface="+mj-lt"/>
                <a:cs typeface="Cambria"/>
              </a:rPr>
              <a:t>-</a:t>
            </a:r>
            <a:r>
              <a:rPr sz="900" spc="4" dirty="0" smtClean="0">
                <a:latin typeface="+mj-lt"/>
                <a:cs typeface="Cambria"/>
              </a:rPr>
              <a:t>7777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28" name="object 128"/>
          <p:cNvSpPr txBox="1"/>
          <p:nvPr/>
        </p:nvSpPr>
        <p:spPr>
          <a:xfrm>
            <a:off x="6081815" y="6318626"/>
            <a:ext cx="1035118" cy="1421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50"/>
              </a:lnSpc>
              <a:spcBef>
                <a:spcPts val="52"/>
              </a:spcBef>
            </a:pPr>
            <a:r>
              <a:rPr sz="900" spc="0" dirty="0" smtClean="0">
                <a:latin typeface="+mj-lt"/>
                <a:cs typeface="Cambria"/>
              </a:rPr>
              <a:t>o</a:t>
            </a:r>
            <a:r>
              <a:rPr sz="900" spc="4" dirty="0" smtClean="0">
                <a:latin typeface="+mj-lt"/>
                <a:cs typeface="Cambria"/>
              </a:rPr>
              <a:t>ne</a:t>
            </a:r>
            <a:r>
              <a:rPr sz="900" spc="0" dirty="0" smtClean="0">
                <a:latin typeface="+mj-lt"/>
                <a:cs typeface="Cambria"/>
              </a:rPr>
              <a:t>s         </a:t>
            </a:r>
            <a:r>
              <a:rPr sz="900" spc="192" dirty="0" smtClean="0">
                <a:latin typeface="+mj-lt"/>
                <a:cs typeface="Cambria"/>
              </a:rPr>
              <a:t> </a:t>
            </a:r>
            <a:r>
              <a:rPr sz="900" spc="4" dirty="0" smtClean="0">
                <a:latin typeface="+mj-lt"/>
                <a:cs typeface="Cambria"/>
              </a:rPr>
              <a:t>222</a:t>
            </a:r>
            <a:r>
              <a:rPr sz="900" spc="0" dirty="0" smtClean="0">
                <a:latin typeface="+mj-lt"/>
                <a:cs typeface="Cambria"/>
              </a:rPr>
              <a:t>-</a:t>
            </a:r>
            <a:r>
              <a:rPr sz="900" spc="4" dirty="0" smtClean="0">
                <a:latin typeface="+mj-lt"/>
                <a:cs typeface="Cambria"/>
              </a:rPr>
              <a:t>8888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27" name="object 127"/>
          <p:cNvSpPr txBox="1"/>
          <p:nvPr/>
        </p:nvSpPr>
        <p:spPr>
          <a:xfrm>
            <a:off x="1143407" y="6325636"/>
            <a:ext cx="648477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30"/>
              </a:lnSpc>
              <a:spcBef>
                <a:spcPts val="51"/>
              </a:spcBef>
            </a:pPr>
            <a:r>
              <a:rPr sz="900" spc="4" dirty="0" smtClean="0">
                <a:latin typeface="+mj-lt"/>
                <a:cs typeface="Cambria"/>
              </a:rPr>
              <a:t>3</a:t>
            </a:r>
            <a:r>
              <a:rPr sz="900" spc="0" dirty="0" smtClean="0">
                <a:latin typeface="+mj-lt"/>
                <a:cs typeface="Cambria"/>
              </a:rPr>
              <a:t>1    </a:t>
            </a:r>
            <a:r>
              <a:rPr sz="900" spc="137" dirty="0" smtClean="0">
                <a:latin typeface="+mj-lt"/>
                <a:cs typeface="Cambria"/>
              </a:rPr>
              <a:t> </a:t>
            </a:r>
            <a:r>
              <a:rPr sz="900" spc="4" dirty="0" smtClean="0">
                <a:latin typeface="+mj-lt"/>
                <a:cs typeface="Cambria"/>
              </a:rPr>
              <a:t>Ada</a:t>
            </a:r>
            <a:r>
              <a:rPr sz="900" spc="-4" dirty="0" smtClean="0">
                <a:latin typeface="+mj-lt"/>
                <a:cs typeface="Cambria"/>
              </a:rPr>
              <a:t>m</a:t>
            </a:r>
            <a:r>
              <a:rPr sz="900" spc="0" dirty="0" smtClean="0">
                <a:latin typeface="+mj-lt"/>
                <a:cs typeface="Cambria"/>
              </a:rPr>
              <a:t>s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23" name="object 123"/>
          <p:cNvSpPr txBox="1"/>
          <p:nvPr/>
        </p:nvSpPr>
        <p:spPr>
          <a:xfrm>
            <a:off x="614541" y="5655475"/>
            <a:ext cx="2091321" cy="1952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12889">
              <a:lnSpc>
                <a:spcPts val="1145"/>
              </a:lnSpc>
              <a:spcBef>
                <a:spcPts val="57"/>
              </a:spcBef>
            </a:pPr>
            <a:r>
              <a:rPr sz="1000" spc="0" dirty="0" smtClean="0">
                <a:latin typeface="+mj-lt"/>
                <a:cs typeface="Cambria"/>
              </a:rPr>
              <a:t>B</a:t>
            </a:r>
            <a:r>
              <a:rPr sz="1000" spc="4" dirty="0" smtClean="0">
                <a:latin typeface="+mj-lt"/>
                <a:cs typeface="Cambria"/>
              </a:rPr>
              <a:t>as</a:t>
            </a:r>
            <a:r>
              <a:rPr sz="1000" spc="0" dirty="0" smtClean="0">
                <a:latin typeface="+mj-lt"/>
                <a:cs typeface="Cambria"/>
              </a:rPr>
              <a:t>e</a:t>
            </a:r>
            <a:r>
              <a:rPr sz="1000" spc="-40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Ta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4" dirty="0" smtClean="0">
                <a:latin typeface="+mj-lt"/>
                <a:cs typeface="Cambria"/>
              </a:rPr>
              <a:t>l</a:t>
            </a:r>
            <a:r>
              <a:rPr sz="1000" spc="0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22" name="object 122"/>
          <p:cNvSpPr txBox="1"/>
          <p:nvPr/>
        </p:nvSpPr>
        <p:spPr>
          <a:xfrm>
            <a:off x="2705863" y="5655475"/>
            <a:ext cx="247566" cy="7072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6901">
              <a:lnSpc>
                <a:spcPts val="1000"/>
              </a:lnSpc>
            </a:pPr>
            <a:endParaRPr sz="1000">
              <a:latin typeface="+mj-lt"/>
            </a:endParaRPr>
          </a:p>
          <a:p>
            <a:pPr algn="r">
              <a:lnSpc>
                <a:spcPct val="97696"/>
              </a:lnSpc>
              <a:spcBef>
                <a:spcPts val="2460"/>
              </a:spcBef>
            </a:pPr>
            <a:r>
              <a:rPr sz="900" spc="0" dirty="0" smtClean="0">
                <a:latin typeface="+mj-lt"/>
                <a:cs typeface="Cambria"/>
              </a:rPr>
              <a:t>4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21" name="object 121"/>
          <p:cNvSpPr txBox="1"/>
          <p:nvPr/>
        </p:nvSpPr>
        <p:spPr>
          <a:xfrm>
            <a:off x="2946529" y="5655475"/>
            <a:ext cx="2084450" cy="1952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06171">
              <a:lnSpc>
                <a:spcPts val="1145"/>
              </a:lnSpc>
              <a:spcBef>
                <a:spcPts val="57"/>
              </a:spcBef>
            </a:pPr>
            <a:r>
              <a:rPr sz="1000" spc="0" dirty="0" smtClean="0">
                <a:latin typeface="+mj-lt"/>
                <a:cs typeface="Cambria"/>
              </a:rPr>
              <a:t>B</a:t>
            </a:r>
            <a:r>
              <a:rPr sz="1000" spc="4" dirty="0" smtClean="0">
                <a:latin typeface="+mj-lt"/>
                <a:cs typeface="Cambria"/>
              </a:rPr>
              <a:t>as</a:t>
            </a:r>
            <a:r>
              <a:rPr sz="1000" spc="0" dirty="0" smtClean="0">
                <a:latin typeface="+mj-lt"/>
                <a:cs typeface="Cambria"/>
              </a:rPr>
              <a:t>e</a:t>
            </a:r>
            <a:r>
              <a:rPr sz="1000" spc="-40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Ta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4" dirty="0" smtClean="0">
                <a:latin typeface="+mj-lt"/>
                <a:cs typeface="Cambria"/>
              </a:rPr>
              <a:t>l</a:t>
            </a:r>
            <a:r>
              <a:rPr sz="1000" spc="0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20" name="object 120"/>
          <p:cNvSpPr txBox="1"/>
          <p:nvPr/>
        </p:nvSpPr>
        <p:spPr>
          <a:xfrm>
            <a:off x="5030980" y="5655475"/>
            <a:ext cx="210946" cy="7072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19" name="object 119"/>
          <p:cNvSpPr txBox="1"/>
          <p:nvPr/>
        </p:nvSpPr>
        <p:spPr>
          <a:xfrm>
            <a:off x="5241926" y="5655475"/>
            <a:ext cx="2086735" cy="1905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08964">
              <a:lnSpc>
                <a:spcPts val="1035"/>
              </a:lnSpc>
              <a:spcBef>
                <a:spcPts val="51"/>
              </a:spcBef>
            </a:pPr>
            <a:r>
              <a:rPr sz="1000" spc="0" dirty="0" smtClean="0">
                <a:latin typeface="+mj-lt"/>
                <a:cs typeface="Cambria"/>
              </a:rPr>
              <a:t>B</a:t>
            </a:r>
            <a:r>
              <a:rPr sz="1000" spc="4" dirty="0" smtClean="0">
                <a:latin typeface="+mj-lt"/>
                <a:cs typeface="Cambria"/>
              </a:rPr>
              <a:t>as</a:t>
            </a:r>
            <a:r>
              <a:rPr sz="1000" spc="0" dirty="0" smtClean="0">
                <a:latin typeface="+mj-lt"/>
                <a:cs typeface="Cambria"/>
              </a:rPr>
              <a:t>e</a:t>
            </a:r>
            <a:r>
              <a:rPr sz="1000" spc="-40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Ta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4" dirty="0" smtClean="0">
                <a:latin typeface="+mj-lt"/>
                <a:cs typeface="Cambria"/>
              </a:rPr>
              <a:t>l</a:t>
            </a:r>
            <a:r>
              <a:rPr sz="1000" spc="0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18" name="object 118"/>
          <p:cNvSpPr txBox="1"/>
          <p:nvPr/>
        </p:nvSpPr>
        <p:spPr>
          <a:xfrm>
            <a:off x="7328661" y="5655475"/>
            <a:ext cx="213233" cy="7072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17" name="object 117"/>
          <p:cNvSpPr txBox="1"/>
          <p:nvPr/>
        </p:nvSpPr>
        <p:spPr>
          <a:xfrm>
            <a:off x="7541896" y="5655475"/>
            <a:ext cx="2084324" cy="1809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06932">
              <a:lnSpc>
                <a:spcPts val="919"/>
              </a:lnSpc>
              <a:spcBef>
                <a:spcPts val="46"/>
              </a:spcBef>
            </a:pPr>
            <a:r>
              <a:rPr sz="1500" spc="0" baseline="2843" dirty="0" smtClean="0">
                <a:latin typeface="+mj-lt"/>
                <a:cs typeface="Cambria"/>
              </a:rPr>
              <a:t>B</a:t>
            </a:r>
            <a:r>
              <a:rPr sz="1500" spc="4" baseline="2843" dirty="0" smtClean="0">
                <a:latin typeface="+mj-lt"/>
                <a:cs typeface="Cambria"/>
              </a:rPr>
              <a:t>as</a:t>
            </a:r>
            <a:r>
              <a:rPr sz="1500" spc="0" baseline="2843" dirty="0" smtClean="0">
                <a:latin typeface="+mj-lt"/>
                <a:cs typeface="Cambria"/>
              </a:rPr>
              <a:t>e</a:t>
            </a:r>
            <a:r>
              <a:rPr sz="1500" spc="-40" baseline="2843" dirty="0" smtClean="0">
                <a:latin typeface="+mj-lt"/>
                <a:cs typeface="Cambria"/>
              </a:rPr>
              <a:t> </a:t>
            </a:r>
            <a:r>
              <a:rPr sz="1500" spc="0" baseline="2843" dirty="0" smtClean="0">
                <a:latin typeface="+mj-lt"/>
                <a:cs typeface="Cambria"/>
              </a:rPr>
              <a:t>Ta</a:t>
            </a:r>
            <a:r>
              <a:rPr sz="1500" spc="-4" baseline="2843" dirty="0" smtClean="0">
                <a:latin typeface="+mj-lt"/>
                <a:cs typeface="Cambria"/>
              </a:rPr>
              <a:t>b</a:t>
            </a:r>
            <a:r>
              <a:rPr sz="1500" spc="4" baseline="2843" dirty="0" smtClean="0">
                <a:latin typeface="+mj-lt"/>
                <a:cs typeface="Cambria"/>
              </a:rPr>
              <a:t>l</a:t>
            </a:r>
            <a:r>
              <a:rPr sz="1500" spc="0" baseline="2843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16" name="object 116"/>
          <p:cNvSpPr txBox="1"/>
          <p:nvPr/>
        </p:nvSpPr>
        <p:spPr>
          <a:xfrm>
            <a:off x="9626220" y="5655475"/>
            <a:ext cx="279780" cy="6334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5" name="object 115"/>
          <p:cNvSpPr txBox="1"/>
          <p:nvPr/>
        </p:nvSpPr>
        <p:spPr>
          <a:xfrm>
            <a:off x="614540" y="5850738"/>
            <a:ext cx="520521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14" name="object 114"/>
          <p:cNvSpPr txBox="1"/>
          <p:nvPr/>
        </p:nvSpPr>
        <p:spPr>
          <a:xfrm>
            <a:off x="1135062" y="5850738"/>
            <a:ext cx="311848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100"/>
              </a:lnSpc>
              <a:spcBef>
                <a:spcPts val="41"/>
              </a:spcBef>
            </a:pPr>
            <a:endParaRPr sz="1100">
              <a:latin typeface="+mj-lt"/>
            </a:endParaRPr>
          </a:p>
          <a:p>
            <a:pPr marL="91630" marR="91367" algn="ctr">
              <a:lnSpc>
                <a:spcPct val="97696"/>
              </a:lnSpc>
            </a:pPr>
            <a:r>
              <a:rPr sz="500" spc="0" dirty="0" smtClean="0">
                <a:solidFill>
                  <a:srgbClr val="253046"/>
                </a:solidFill>
                <a:latin typeface="+mj-lt"/>
                <a:cs typeface="Cambria"/>
              </a:rPr>
              <a:t>USI</a:t>
            </a:r>
            <a:endParaRPr sz="500">
              <a:latin typeface="+mj-lt"/>
              <a:cs typeface="Cambria"/>
            </a:endParaRPr>
          </a:p>
        </p:txBody>
      </p:sp>
      <p:sp>
        <p:nvSpPr>
          <p:cNvPr id="113" name="object 113"/>
          <p:cNvSpPr txBox="1"/>
          <p:nvPr/>
        </p:nvSpPr>
        <p:spPr>
          <a:xfrm>
            <a:off x="1446912" y="5850738"/>
            <a:ext cx="557275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1180">
              <a:lnSpc>
                <a:spcPct val="97696"/>
              </a:lnSpc>
              <a:spcBef>
                <a:spcPts val="310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12" name="object 112"/>
          <p:cNvSpPr txBox="1"/>
          <p:nvPr/>
        </p:nvSpPr>
        <p:spPr>
          <a:xfrm>
            <a:off x="2004187" y="5850738"/>
            <a:ext cx="701676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8640">
              <a:lnSpc>
                <a:spcPts val="1060"/>
              </a:lnSpc>
              <a:spcBef>
                <a:spcPts val="53"/>
              </a:spcBef>
            </a:pPr>
            <a:r>
              <a:rPr sz="1000" spc="0" dirty="0" smtClean="0">
                <a:latin typeface="+mj-lt"/>
                <a:cs typeface="Cambria"/>
              </a:rPr>
              <a:t>Pho</a:t>
            </a:r>
            <a:r>
              <a:rPr sz="1000" spc="-4" dirty="0" smtClean="0">
                <a:latin typeface="+mj-lt"/>
                <a:cs typeface="Cambria"/>
              </a:rPr>
              <a:t>n</a:t>
            </a:r>
            <a:r>
              <a:rPr sz="1000" spc="0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  <a:p>
            <a:pPr marL="67182">
              <a:lnSpc>
                <a:spcPts val="640"/>
              </a:lnSpc>
              <a:spcBef>
                <a:spcPts val="59"/>
              </a:spcBef>
            </a:pPr>
            <a:r>
              <a:rPr sz="1050" spc="-4" baseline="-12185" dirty="0" smtClean="0">
                <a:latin typeface="+mj-lt"/>
                <a:cs typeface="Cambria"/>
              </a:rPr>
              <a:t>N</a:t>
            </a:r>
            <a:r>
              <a:rPr sz="1050" spc="4" baseline="-12185" dirty="0" smtClean="0">
                <a:latin typeface="+mj-lt"/>
                <a:cs typeface="Cambria"/>
              </a:rPr>
              <a:t>U</a:t>
            </a:r>
            <a:r>
              <a:rPr sz="1050" spc="0" baseline="-12185" dirty="0" smtClean="0">
                <a:latin typeface="+mj-lt"/>
                <a:cs typeface="Cambria"/>
              </a:rPr>
              <a:t>PI</a:t>
            </a:r>
            <a:endParaRPr sz="700">
              <a:latin typeface="+mj-lt"/>
              <a:cs typeface="Cambria"/>
            </a:endParaRPr>
          </a:p>
        </p:txBody>
      </p:sp>
      <p:sp>
        <p:nvSpPr>
          <p:cNvPr id="111" name="object 111"/>
          <p:cNvSpPr txBox="1"/>
          <p:nvPr/>
        </p:nvSpPr>
        <p:spPr>
          <a:xfrm>
            <a:off x="2946528" y="5850737"/>
            <a:ext cx="486155" cy="2226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10" name="object 110"/>
          <p:cNvSpPr txBox="1"/>
          <p:nvPr/>
        </p:nvSpPr>
        <p:spPr>
          <a:xfrm>
            <a:off x="3432683" y="5850737"/>
            <a:ext cx="330200" cy="2226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09" name="object 109"/>
          <p:cNvSpPr txBox="1"/>
          <p:nvPr/>
        </p:nvSpPr>
        <p:spPr>
          <a:xfrm>
            <a:off x="3762883" y="5850737"/>
            <a:ext cx="538860" cy="2226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0578">
              <a:lnSpc>
                <a:spcPct val="97696"/>
              </a:lnSpc>
              <a:spcBef>
                <a:spcPts val="310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08" name="object 108"/>
          <p:cNvSpPr txBox="1"/>
          <p:nvPr/>
        </p:nvSpPr>
        <p:spPr>
          <a:xfrm>
            <a:off x="4301745" y="5850737"/>
            <a:ext cx="729233" cy="2226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79120">
              <a:lnSpc>
                <a:spcPts val="919"/>
              </a:lnSpc>
              <a:spcBef>
                <a:spcPts val="46"/>
              </a:spcBef>
            </a:pPr>
            <a:r>
              <a:rPr sz="1500" spc="0" baseline="-5686" dirty="0" smtClean="0">
                <a:latin typeface="+mj-lt"/>
                <a:cs typeface="Cambria"/>
              </a:rPr>
              <a:t>Pho</a:t>
            </a:r>
            <a:r>
              <a:rPr sz="1500" spc="-4" baseline="-5686" dirty="0" smtClean="0">
                <a:latin typeface="+mj-lt"/>
                <a:cs typeface="Cambria"/>
              </a:rPr>
              <a:t>n</a:t>
            </a:r>
            <a:r>
              <a:rPr sz="1500" spc="0" baseline="-5686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  <a:p>
            <a:pPr marL="94995">
              <a:lnSpc>
                <a:spcPts val="830"/>
              </a:lnSpc>
            </a:pPr>
            <a:r>
              <a:rPr sz="1650" spc="4" baseline="-5169" dirty="0" smtClean="0">
                <a:latin typeface="+mj-lt"/>
                <a:cs typeface="Cambria"/>
              </a:rPr>
              <a:t>NU</a:t>
            </a:r>
            <a:r>
              <a:rPr sz="1650" spc="0" baseline="-5169" dirty="0" smtClean="0">
                <a:latin typeface="+mj-lt"/>
                <a:cs typeface="Cambria"/>
              </a:rPr>
              <a:t>PI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07" name="object 107"/>
          <p:cNvSpPr txBox="1"/>
          <p:nvPr/>
        </p:nvSpPr>
        <p:spPr>
          <a:xfrm>
            <a:off x="5241926" y="5845976"/>
            <a:ext cx="525146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06" name="object 106"/>
          <p:cNvSpPr txBox="1"/>
          <p:nvPr/>
        </p:nvSpPr>
        <p:spPr>
          <a:xfrm>
            <a:off x="5767070" y="5845976"/>
            <a:ext cx="311784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50"/>
              </a:lnSpc>
              <a:spcBef>
                <a:spcPts val="18"/>
              </a:spcBef>
            </a:pPr>
            <a:endParaRPr sz="650">
              <a:latin typeface="+mj-lt"/>
            </a:endParaRPr>
          </a:p>
          <a:p>
            <a:pPr marL="64007">
              <a:lnSpc>
                <a:spcPts val="1115"/>
              </a:lnSpc>
              <a:spcBef>
                <a:spcPts val="55"/>
              </a:spcBef>
            </a:pPr>
            <a:r>
              <a:rPr sz="1500" spc="0" baseline="-2843" dirty="0" smtClean="0">
                <a:solidFill>
                  <a:srgbClr val="253046"/>
                </a:solidFill>
                <a:latin typeface="+mj-lt"/>
                <a:cs typeface="Cambria"/>
              </a:rPr>
              <a:t>USI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05" name="object 105"/>
          <p:cNvSpPr txBox="1"/>
          <p:nvPr/>
        </p:nvSpPr>
        <p:spPr>
          <a:xfrm>
            <a:off x="6078856" y="5845976"/>
            <a:ext cx="557275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1943">
              <a:lnSpc>
                <a:spcPct val="97696"/>
              </a:lnSpc>
              <a:spcBef>
                <a:spcPts val="310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04" name="object 104"/>
          <p:cNvSpPr txBox="1"/>
          <p:nvPr/>
        </p:nvSpPr>
        <p:spPr>
          <a:xfrm>
            <a:off x="6636131" y="5845976"/>
            <a:ext cx="692531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1816">
              <a:lnSpc>
                <a:spcPct val="97696"/>
              </a:lnSpc>
              <a:spcBef>
                <a:spcPts val="310"/>
              </a:spcBef>
            </a:pPr>
            <a:r>
              <a:rPr sz="1000" spc="0" dirty="0" smtClean="0">
                <a:latin typeface="+mj-lt"/>
                <a:cs typeface="Cambria"/>
              </a:rPr>
              <a:t>Pho</a:t>
            </a:r>
            <a:r>
              <a:rPr sz="1000" spc="-4" dirty="0" smtClean="0">
                <a:latin typeface="+mj-lt"/>
                <a:cs typeface="Cambria"/>
              </a:rPr>
              <a:t>n</a:t>
            </a:r>
            <a:r>
              <a:rPr sz="1000" spc="0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03" name="object 103"/>
          <p:cNvSpPr txBox="1"/>
          <p:nvPr/>
        </p:nvSpPr>
        <p:spPr>
          <a:xfrm>
            <a:off x="7541896" y="5836451"/>
            <a:ext cx="536576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7696"/>
              </a:lnSpc>
              <a:spcBef>
                <a:spcPts val="365"/>
              </a:spcBef>
            </a:pPr>
            <a:r>
              <a:rPr sz="1000" spc="4" dirty="0" smtClean="0">
                <a:latin typeface="+mj-lt"/>
                <a:cs typeface="Cambria"/>
              </a:rPr>
              <a:t>R</a:t>
            </a:r>
            <a:r>
              <a:rPr sz="1000" spc="0" dirty="0" smtClean="0">
                <a:latin typeface="+mj-lt"/>
                <a:cs typeface="Cambria"/>
              </a:rPr>
              <a:t>o</a:t>
            </a:r>
            <a:r>
              <a:rPr sz="1000" spc="-4" dirty="0" smtClean="0">
                <a:latin typeface="+mj-lt"/>
                <a:cs typeface="Cambria"/>
              </a:rPr>
              <a:t>w</a:t>
            </a:r>
            <a:r>
              <a:rPr sz="1000" spc="0" dirty="0" smtClean="0">
                <a:latin typeface="+mj-lt"/>
                <a:cs typeface="Cambria"/>
              </a:rPr>
              <a:t>ID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8078471" y="5836451"/>
            <a:ext cx="311784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8390257" y="5836451"/>
            <a:ext cx="557275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2070">
              <a:lnSpc>
                <a:spcPct val="97696"/>
              </a:lnSpc>
              <a:spcBef>
                <a:spcPts val="310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00" name="object 100"/>
          <p:cNvSpPr txBox="1"/>
          <p:nvPr/>
        </p:nvSpPr>
        <p:spPr>
          <a:xfrm>
            <a:off x="8947531" y="5836451"/>
            <a:ext cx="678688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2324">
              <a:lnSpc>
                <a:spcPts val="880"/>
              </a:lnSpc>
              <a:spcBef>
                <a:spcPts val="354"/>
              </a:spcBef>
            </a:pPr>
            <a:r>
              <a:rPr sz="1500" spc="0" baseline="-14216" dirty="0" smtClean="0">
                <a:latin typeface="+mj-lt"/>
                <a:cs typeface="Cambria"/>
              </a:rPr>
              <a:t>Pho</a:t>
            </a:r>
            <a:r>
              <a:rPr sz="1500" spc="-4" baseline="-14216" dirty="0" smtClean="0">
                <a:latin typeface="+mj-lt"/>
                <a:cs typeface="Cambria"/>
              </a:rPr>
              <a:t>n</a:t>
            </a:r>
            <a:r>
              <a:rPr sz="1500" spc="0" baseline="-14216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  <a:p>
            <a:pPr marL="68199">
              <a:lnSpc>
                <a:spcPts val="590"/>
              </a:lnSpc>
            </a:pPr>
            <a:r>
              <a:rPr sz="1650" spc="4" baseline="-7754" dirty="0" smtClean="0">
                <a:latin typeface="+mj-lt"/>
                <a:cs typeface="Cambria"/>
              </a:rPr>
              <a:t>NU</a:t>
            </a:r>
            <a:r>
              <a:rPr sz="1650" spc="0" baseline="-7754" dirty="0" smtClean="0">
                <a:latin typeface="+mj-lt"/>
                <a:cs typeface="Cambria"/>
              </a:rPr>
              <a:t>PI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99" name="object 99"/>
          <p:cNvSpPr txBox="1"/>
          <p:nvPr/>
        </p:nvSpPr>
        <p:spPr>
          <a:xfrm>
            <a:off x="614540" y="6076950"/>
            <a:ext cx="520521" cy="2857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7696"/>
              </a:lnSpc>
              <a:spcBef>
                <a:spcPts val="254"/>
              </a:spcBef>
            </a:pPr>
            <a:r>
              <a:rPr sz="900" spc="4" dirty="0" smtClean="0">
                <a:latin typeface="+mj-lt"/>
                <a:cs typeface="Cambria"/>
              </a:rPr>
              <a:t>107</a:t>
            </a:r>
            <a:r>
              <a:rPr sz="900" spc="0" dirty="0" smtClean="0">
                <a:latin typeface="+mj-lt"/>
                <a:cs typeface="Cambria"/>
              </a:rPr>
              <a:t>,</a:t>
            </a:r>
            <a:r>
              <a:rPr sz="900" spc="-24" dirty="0" smtClean="0">
                <a:latin typeface="+mj-lt"/>
                <a:cs typeface="Cambria"/>
              </a:rPr>
              <a:t> </a:t>
            </a:r>
            <a:r>
              <a:rPr sz="900" spc="0" dirty="0" smtClean="0">
                <a:latin typeface="+mj-lt"/>
                <a:cs typeface="Cambria"/>
              </a:rPr>
              <a:t>1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98" name="object 98"/>
          <p:cNvSpPr txBox="1"/>
          <p:nvPr/>
        </p:nvSpPr>
        <p:spPr>
          <a:xfrm>
            <a:off x="1135062" y="6076950"/>
            <a:ext cx="311848" cy="2857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043">
              <a:lnSpc>
                <a:spcPct val="97696"/>
              </a:lnSpc>
              <a:spcBef>
                <a:spcPts val="215"/>
              </a:spcBef>
            </a:pPr>
            <a:r>
              <a:rPr sz="900" spc="4" dirty="0" smtClean="0">
                <a:latin typeface="+mj-lt"/>
                <a:cs typeface="Cambria"/>
              </a:rPr>
              <a:t>37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97" name="object 97"/>
          <p:cNvSpPr txBox="1"/>
          <p:nvPr/>
        </p:nvSpPr>
        <p:spPr>
          <a:xfrm>
            <a:off x="1446912" y="6076950"/>
            <a:ext cx="557275" cy="2857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778">
              <a:lnSpc>
                <a:spcPct val="97696"/>
              </a:lnSpc>
              <a:spcBef>
                <a:spcPts val="45"/>
              </a:spcBef>
            </a:pPr>
            <a:r>
              <a:rPr sz="900" spc="4" dirty="0" smtClean="0">
                <a:latin typeface="+mj-lt"/>
                <a:cs typeface="Cambria"/>
              </a:rPr>
              <a:t>R</a:t>
            </a:r>
            <a:r>
              <a:rPr sz="900" spc="0" dirty="0" smtClean="0">
                <a:latin typeface="+mj-lt"/>
                <a:cs typeface="Cambria"/>
              </a:rPr>
              <a:t>ice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96" name="object 96"/>
          <p:cNvSpPr txBox="1"/>
          <p:nvPr/>
        </p:nvSpPr>
        <p:spPr>
          <a:xfrm>
            <a:off x="2004187" y="6076950"/>
            <a:ext cx="701676" cy="2857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95" name="object 95"/>
          <p:cNvSpPr txBox="1"/>
          <p:nvPr/>
        </p:nvSpPr>
        <p:spPr>
          <a:xfrm>
            <a:off x="2946528" y="6073381"/>
            <a:ext cx="486155" cy="2893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7505">
              <a:lnSpc>
                <a:spcPct val="97696"/>
              </a:lnSpc>
              <a:spcBef>
                <a:spcPts val="170"/>
              </a:spcBef>
            </a:pPr>
            <a:r>
              <a:rPr sz="900" spc="4" dirty="0" smtClean="0">
                <a:latin typeface="+mj-lt"/>
                <a:cs typeface="Cambria"/>
              </a:rPr>
              <a:t>71</a:t>
            </a:r>
            <a:r>
              <a:rPr sz="900" spc="0" dirty="0" smtClean="0">
                <a:latin typeface="+mj-lt"/>
                <a:cs typeface="Cambria"/>
              </a:rPr>
              <a:t>,</a:t>
            </a:r>
            <a:r>
              <a:rPr sz="900" spc="-24" dirty="0" smtClean="0">
                <a:latin typeface="+mj-lt"/>
                <a:cs typeface="Cambria"/>
              </a:rPr>
              <a:t> </a:t>
            </a:r>
            <a:r>
              <a:rPr sz="900" spc="0" dirty="0" smtClean="0">
                <a:latin typeface="+mj-lt"/>
                <a:cs typeface="Cambria"/>
              </a:rPr>
              <a:t>1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94" name="object 94"/>
          <p:cNvSpPr txBox="1"/>
          <p:nvPr/>
        </p:nvSpPr>
        <p:spPr>
          <a:xfrm>
            <a:off x="3432683" y="6073381"/>
            <a:ext cx="330200" cy="2893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7017">
              <a:lnSpc>
                <a:spcPct val="97696"/>
              </a:lnSpc>
              <a:spcBef>
                <a:spcPts val="130"/>
              </a:spcBef>
            </a:pPr>
            <a:r>
              <a:rPr sz="900" spc="4" dirty="0" smtClean="0">
                <a:latin typeface="+mj-lt"/>
                <a:cs typeface="Cambria"/>
              </a:rPr>
              <a:t>45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93" name="object 93"/>
          <p:cNvSpPr txBox="1"/>
          <p:nvPr/>
        </p:nvSpPr>
        <p:spPr>
          <a:xfrm>
            <a:off x="3762883" y="6073381"/>
            <a:ext cx="538860" cy="2893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92" name="object 92"/>
          <p:cNvSpPr txBox="1"/>
          <p:nvPr/>
        </p:nvSpPr>
        <p:spPr>
          <a:xfrm>
            <a:off x="4301745" y="6073381"/>
            <a:ext cx="729233" cy="2893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91" name="object 91"/>
          <p:cNvSpPr txBox="1"/>
          <p:nvPr/>
        </p:nvSpPr>
        <p:spPr>
          <a:xfrm>
            <a:off x="5241926" y="6072187"/>
            <a:ext cx="525146" cy="2905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7696"/>
              </a:lnSpc>
              <a:spcBef>
                <a:spcPts val="250"/>
              </a:spcBef>
            </a:pPr>
            <a:r>
              <a:rPr sz="900" spc="4" dirty="0" smtClean="0">
                <a:latin typeface="+mj-lt"/>
                <a:cs typeface="Cambria"/>
              </a:rPr>
              <a:t>147</a:t>
            </a:r>
            <a:r>
              <a:rPr sz="900" spc="0" dirty="0" smtClean="0">
                <a:latin typeface="+mj-lt"/>
                <a:cs typeface="Cambria"/>
              </a:rPr>
              <a:t>,</a:t>
            </a:r>
            <a:r>
              <a:rPr sz="900" spc="-24" dirty="0" smtClean="0">
                <a:latin typeface="+mj-lt"/>
                <a:cs typeface="Cambria"/>
              </a:rPr>
              <a:t> </a:t>
            </a:r>
            <a:r>
              <a:rPr sz="900" spc="0" dirty="0" smtClean="0">
                <a:latin typeface="+mj-lt"/>
                <a:cs typeface="Cambria"/>
              </a:rPr>
              <a:t>1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90" name="object 90"/>
          <p:cNvSpPr txBox="1"/>
          <p:nvPr/>
        </p:nvSpPr>
        <p:spPr>
          <a:xfrm>
            <a:off x="5767070" y="6072187"/>
            <a:ext cx="311784" cy="2905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970">
              <a:lnSpc>
                <a:spcPct val="97696"/>
              </a:lnSpc>
              <a:spcBef>
                <a:spcPts val="215"/>
              </a:spcBef>
            </a:pPr>
            <a:r>
              <a:rPr sz="900" spc="4" dirty="0" smtClean="0">
                <a:latin typeface="+mj-lt"/>
                <a:cs typeface="Cambria"/>
              </a:rPr>
              <a:t>49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89" name="object 89"/>
          <p:cNvSpPr txBox="1"/>
          <p:nvPr/>
        </p:nvSpPr>
        <p:spPr>
          <a:xfrm>
            <a:off x="6078856" y="6072187"/>
            <a:ext cx="557275" cy="2905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88" name="object 88"/>
          <p:cNvSpPr txBox="1"/>
          <p:nvPr/>
        </p:nvSpPr>
        <p:spPr>
          <a:xfrm>
            <a:off x="6636131" y="6072187"/>
            <a:ext cx="692531" cy="2905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87" name="object 87"/>
          <p:cNvSpPr txBox="1"/>
          <p:nvPr/>
        </p:nvSpPr>
        <p:spPr>
          <a:xfrm>
            <a:off x="7541896" y="6062663"/>
            <a:ext cx="536576" cy="2262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41"/>
              </a:spcBef>
            </a:pPr>
            <a:endParaRPr sz="700">
              <a:latin typeface="+mj-lt"/>
            </a:endParaRPr>
          </a:p>
          <a:p>
            <a:pPr>
              <a:lnSpc>
                <a:spcPts val="1040"/>
              </a:lnSpc>
              <a:spcBef>
                <a:spcPts val="52"/>
              </a:spcBef>
            </a:pPr>
            <a:r>
              <a:rPr sz="900" spc="4" dirty="0" smtClean="0">
                <a:latin typeface="+mj-lt"/>
                <a:cs typeface="Cambria"/>
              </a:rPr>
              <a:t>639</a:t>
            </a:r>
            <a:r>
              <a:rPr sz="900" spc="0" dirty="0" smtClean="0">
                <a:latin typeface="+mj-lt"/>
                <a:cs typeface="Cambria"/>
              </a:rPr>
              <a:t>,</a:t>
            </a:r>
            <a:r>
              <a:rPr sz="900" spc="-24" dirty="0" smtClean="0">
                <a:latin typeface="+mj-lt"/>
                <a:cs typeface="Cambria"/>
              </a:rPr>
              <a:t> </a:t>
            </a:r>
            <a:r>
              <a:rPr sz="900" spc="0" dirty="0" smtClean="0">
                <a:latin typeface="+mj-lt"/>
                <a:cs typeface="Cambria"/>
              </a:rPr>
              <a:t>1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86" name="object 86"/>
          <p:cNvSpPr txBox="1"/>
          <p:nvPr/>
        </p:nvSpPr>
        <p:spPr>
          <a:xfrm>
            <a:off x="8078471" y="6062663"/>
            <a:ext cx="311784" cy="2262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41"/>
              </a:spcBef>
            </a:pPr>
            <a:endParaRPr sz="700">
              <a:latin typeface="+mj-lt"/>
            </a:endParaRPr>
          </a:p>
          <a:p>
            <a:pPr marL="22225">
              <a:lnSpc>
                <a:spcPts val="1040"/>
              </a:lnSpc>
              <a:spcBef>
                <a:spcPts val="52"/>
              </a:spcBef>
            </a:pPr>
            <a:r>
              <a:rPr sz="900" spc="4" dirty="0" smtClean="0">
                <a:latin typeface="+mj-lt"/>
                <a:cs typeface="Cambria"/>
              </a:rPr>
              <a:t>77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8390257" y="6062663"/>
            <a:ext cx="557275" cy="2262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8947531" y="6062663"/>
            <a:ext cx="678688" cy="2262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41"/>
              </a:spcBef>
            </a:pPr>
            <a:endParaRPr sz="700">
              <a:latin typeface="+mj-lt"/>
            </a:endParaRPr>
          </a:p>
          <a:p>
            <a:pPr marL="75184">
              <a:lnSpc>
                <a:spcPts val="1040"/>
              </a:lnSpc>
              <a:spcBef>
                <a:spcPts val="52"/>
              </a:spcBef>
            </a:pPr>
            <a:r>
              <a:rPr sz="900" spc="4" dirty="0" smtClean="0">
                <a:latin typeface="+mj-lt"/>
                <a:cs typeface="Cambria"/>
              </a:rPr>
              <a:t>777</a:t>
            </a:r>
            <a:r>
              <a:rPr sz="900" spc="0" dirty="0" smtClean="0">
                <a:latin typeface="+mj-lt"/>
                <a:cs typeface="Cambria"/>
              </a:rPr>
              <a:t>-</a:t>
            </a:r>
            <a:r>
              <a:rPr sz="900" spc="4" dirty="0" smtClean="0">
                <a:latin typeface="+mj-lt"/>
                <a:cs typeface="Cambria"/>
              </a:rPr>
              <a:t>6666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7541896" y="6288887"/>
            <a:ext cx="536576" cy="738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1"/>
              </a:spcBef>
            </a:pPr>
            <a:endParaRPr sz="550">
              <a:latin typeface="+mj-lt"/>
            </a:endParaRPr>
          </a:p>
        </p:txBody>
      </p:sp>
      <p:sp>
        <p:nvSpPr>
          <p:cNvPr id="82" name="object 82"/>
          <p:cNvSpPr txBox="1"/>
          <p:nvPr/>
        </p:nvSpPr>
        <p:spPr>
          <a:xfrm>
            <a:off x="8078471" y="6288887"/>
            <a:ext cx="311784" cy="738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1"/>
              </a:spcBef>
            </a:pPr>
            <a:endParaRPr sz="550">
              <a:latin typeface="+mj-lt"/>
            </a:endParaRPr>
          </a:p>
        </p:txBody>
      </p:sp>
      <p:sp>
        <p:nvSpPr>
          <p:cNvPr id="81" name="object 81"/>
          <p:cNvSpPr txBox="1"/>
          <p:nvPr/>
        </p:nvSpPr>
        <p:spPr>
          <a:xfrm>
            <a:off x="8390257" y="6288887"/>
            <a:ext cx="557275" cy="738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1"/>
              </a:spcBef>
            </a:pPr>
            <a:endParaRPr sz="550">
              <a:latin typeface="+mj-lt"/>
            </a:endParaRPr>
          </a:p>
        </p:txBody>
      </p:sp>
      <p:sp>
        <p:nvSpPr>
          <p:cNvPr id="80" name="object 80"/>
          <p:cNvSpPr txBox="1"/>
          <p:nvPr/>
        </p:nvSpPr>
        <p:spPr>
          <a:xfrm>
            <a:off x="8947531" y="6288887"/>
            <a:ext cx="678688" cy="738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1"/>
              </a:spcBef>
            </a:pPr>
            <a:endParaRPr sz="550">
              <a:latin typeface="+mj-lt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9626220" y="6288887"/>
            <a:ext cx="279780" cy="738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1"/>
              </a:spcBef>
            </a:pPr>
            <a:endParaRPr sz="550"/>
          </a:p>
        </p:txBody>
      </p:sp>
      <p:sp>
        <p:nvSpPr>
          <p:cNvPr id="77" name="object 77"/>
          <p:cNvSpPr txBox="1"/>
          <p:nvPr/>
        </p:nvSpPr>
        <p:spPr>
          <a:xfrm>
            <a:off x="614540" y="6362700"/>
            <a:ext cx="520521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75"/>
              </a:lnSpc>
              <a:spcBef>
                <a:spcPts val="38"/>
              </a:spcBef>
            </a:pPr>
            <a:r>
              <a:rPr sz="1350" spc="4" baseline="3159" dirty="0" smtClean="0">
                <a:latin typeface="+mj-lt"/>
                <a:cs typeface="Cambria"/>
              </a:rPr>
              <a:t>638</a:t>
            </a:r>
            <a:r>
              <a:rPr sz="1350" spc="0" baseline="3159" dirty="0" smtClean="0">
                <a:latin typeface="+mj-lt"/>
                <a:cs typeface="Cambria"/>
              </a:rPr>
              <a:t>,</a:t>
            </a:r>
            <a:r>
              <a:rPr sz="1350" spc="-24" baseline="3159" dirty="0" smtClean="0">
                <a:latin typeface="+mj-lt"/>
                <a:cs typeface="Cambria"/>
              </a:rPr>
              <a:t> </a:t>
            </a:r>
            <a:r>
              <a:rPr sz="1350" spc="0" baseline="3159" dirty="0" smtClean="0">
                <a:latin typeface="+mj-lt"/>
                <a:cs typeface="Cambria"/>
              </a:rPr>
              <a:t>1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1135062" y="6362700"/>
            <a:ext cx="311848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043">
              <a:lnSpc>
                <a:spcPts val="740"/>
              </a:lnSpc>
              <a:spcBef>
                <a:spcPts val="37"/>
              </a:spcBef>
            </a:pPr>
            <a:r>
              <a:rPr sz="1350" spc="4" baseline="3159" dirty="0" smtClean="0">
                <a:latin typeface="+mj-lt"/>
                <a:cs typeface="Cambria"/>
              </a:rPr>
              <a:t>31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1446912" y="6362700"/>
            <a:ext cx="557275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2004187" y="6362700"/>
            <a:ext cx="701676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2705863" y="6362700"/>
            <a:ext cx="247566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ts val="665"/>
              </a:lnSpc>
              <a:spcBef>
                <a:spcPts val="33"/>
              </a:spcBef>
            </a:pPr>
            <a:r>
              <a:rPr sz="1350" spc="0" baseline="3159" dirty="0" smtClean="0">
                <a:latin typeface="+mj-lt"/>
                <a:cs typeface="Cambria"/>
              </a:rPr>
              <a:t>7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2946528" y="6362700"/>
            <a:ext cx="486155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7505">
              <a:lnSpc>
                <a:spcPts val="665"/>
              </a:lnSpc>
              <a:spcBef>
                <a:spcPts val="33"/>
              </a:spcBef>
            </a:pPr>
            <a:r>
              <a:rPr sz="1350" spc="4" baseline="3159" dirty="0" smtClean="0">
                <a:latin typeface="+mj-lt"/>
                <a:cs typeface="Cambria"/>
              </a:rPr>
              <a:t>17</a:t>
            </a:r>
            <a:r>
              <a:rPr sz="1350" spc="0" baseline="3159" dirty="0" smtClean="0">
                <a:latin typeface="+mj-lt"/>
                <a:cs typeface="Cambria"/>
              </a:rPr>
              <a:t>,</a:t>
            </a:r>
            <a:r>
              <a:rPr sz="1350" spc="-24" baseline="3159" dirty="0" smtClean="0">
                <a:latin typeface="+mj-lt"/>
                <a:cs typeface="Cambria"/>
              </a:rPr>
              <a:t> </a:t>
            </a:r>
            <a:r>
              <a:rPr sz="1350" spc="0" baseline="3159" dirty="0" smtClean="0">
                <a:latin typeface="+mj-lt"/>
                <a:cs typeface="Cambria"/>
              </a:rPr>
              <a:t>2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3432683" y="6362700"/>
            <a:ext cx="330200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7017">
              <a:lnSpc>
                <a:spcPts val="625"/>
              </a:lnSpc>
              <a:spcBef>
                <a:spcPts val="31"/>
              </a:spcBef>
            </a:pPr>
            <a:r>
              <a:rPr sz="1350" spc="4" baseline="3159" dirty="0" smtClean="0">
                <a:latin typeface="+mj-lt"/>
                <a:cs typeface="Cambria"/>
              </a:rPr>
              <a:t>72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3762883" y="6362700"/>
            <a:ext cx="538860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4301745" y="6362700"/>
            <a:ext cx="729233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5030980" y="6362700"/>
            <a:ext cx="210946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5241926" y="6362701"/>
            <a:ext cx="525146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40"/>
              </a:lnSpc>
              <a:spcBef>
                <a:spcPts val="37"/>
              </a:spcBef>
            </a:pPr>
            <a:r>
              <a:rPr sz="1350" spc="4" baseline="3159" dirty="0" smtClean="0">
                <a:latin typeface="+mj-lt"/>
                <a:cs typeface="Cambria"/>
              </a:rPr>
              <a:t>388</a:t>
            </a:r>
            <a:r>
              <a:rPr sz="1350" spc="0" baseline="3159" dirty="0" smtClean="0">
                <a:latin typeface="+mj-lt"/>
                <a:cs typeface="Cambria"/>
              </a:rPr>
              <a:t>,</a:t>
            </a:r>
            <a:r>
              <a:rPr sz="1350" spc="-24" baseline="3159" dirty="0" smtClean="0">
                <a:latin typeface="+mj-lt"/>
                <a:cs typeface="Cambria"/>
              </a:rPr>
              <a:t> </a:t>
            </a:r>
            <a:r>
              <a:rPr sz="1350" spc="0" baseline="3159" dirty="0" smtClean="0">
                <a:latin typeface="+mj-lt"/>
                <a:cs typeface="Cambria"/>
              </a:rPr>
              <a:t>1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5767071" y="6362701"/>
            <a:ext cx="417981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970">
              <a:lnSpc>
                <a:spcPts val="700"/>
              </a:lnSpc>
              <a:spcBef>
                <a:spcPts val="35"/>
              </a:spcBef>
            </a:pPr>
            <a:r>
              <a:rPr sz="1350" spc="4" baseline="3159" dirty="0" smtClean="0">
                <a:latin typeface="+mj-lt"/>
                <a:cs typeface="Cambria"/>
              </a:rPr>
              <a:t>2</a:t>
            </a:r>
            <a:r>
              <a:rPr sz="1350" spc="0" baseline="3159" dirty="0" smtClean="0">
                <a:latin typeface="+mj-lt"/>
                <a:cs typeface="Cambria"/>
              </a:rPr>
              <a:t>7    </a:t>
            </a:r>
            <a:r>
              <a:rPr sz="1350" spc="137" baseline="3159" dirty="0" smtClean="0">
                <a:latin typeface="+mj-lt"/>
                <a:cs typeface="Cambria"/>
              </a:rPr>
              <a:t> </a:t>
            </a:r>
            <a:r>
              <a:rPr sz="1350" spc="0" baseline="3159" dirty="0" smtClean="0">
                <a:latin typeface="+mj-lt"/>
                <a:cs typeface="Cambria"/>
              </a:rPr>
              <a:t>J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6078856" y="6362701"/>
            <a:ext cx="557275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5659">
              <a:lnSpc>
                <a:spcPts val="700"/>
              </a:lnSpc>
              <a:spcBef>
                <a:spcPts val="35"/>
              </a:spcBef>
            </a:pPr>
            <a:r>
              <a:rPr sz="1350" spc="0" baseline="3159" dirty="0" smtClean="0">
                <a:latin typeface="+mj-lt"/>
                <a:cs typeface="Cambria"/>
              </a:rPr>
              <a:t>o</a:t>
            </a:r>
            <a:r>
              <a:rPr sz="1350" spc="4" baseline="3159" dirty="0" smtClean="0">
                <a:latin typeface="+mj-lt"/>
                <a:cs typeface="Cambria"/>
              </a:rPr>
              <a:t>ne</a:t>
            </a:r>
            <a:r>
              <a:rPr sz="1350" spc="0" baseline="3159" dirty="0" smtClean="0">
                <a:latin typeface="+mj-lt"/>
                <a:cs typeface="Cambria"/>
              </a:rPr>
              <a:t>s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6636131" y="6362701"/>
            <a:ext cx="692531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7328661" y="6362700"/>
            <a:ext cx="213233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7541896" y="6362700"/>
            <a:ext cx="536576" cy="13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65"/>
              </a:lnSpc>
              <a:spcBef>
                <a:spcPts val="33"/>
              </a:spcBef>
            </a:pPr>
            <a:r>
              <a:rPr sz="1350" spc="4" baseline="3159" dirty="0" smtClean="0">
                <a:latin typeface="+mj-lt"/>
                <a:cs typeface="Cambria"/>
              </a:rPr>
              <a:t>778</a:t>
            </a:r>
            <a:r>
              <a:rPr sz="1350" spc="0" baseline="3159" dirty="0" smtClean="0">
                <a:latin typeface="+mj-lt"/>
                <a:cs typeface="Cambria"/>
              </a:rPr>
              <a:t>,</a:t>
            </a:r>
            <a:r>
              <a:rPr sz="1350" spc="-24" baseline="3159" dirty="0" smtClean="0">
                <a:latin typeface="+mj-lt"/>
                <a:cs typeface="Cambria"/>
              </a:rPr>
              <a:t> </a:t>
            </a:r>
            <a:r>
              <a:rPr sz="1350" spc="0" baseline="3159" dirty="0" smtClean="0">
                <a:latin typeface="+mj-lt"/>
                <a:cs typeface="Cambria"/>
              </a:rPr>
              <a:t>7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8078471" y="6362700"/>
            <a:ext cx="311784" cy="13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2225">
              <a:lnSpc>
                <a:spcPts val="625"/>
              </a:lnSpc>
              <a:spcBef>
                <a:spcPts val="31"/>
              </a:spcBef>
            </a:pPr>
            <a:r>
              <a:rPr sz="1350" spc="4" baseline="3159" dirty="0" smtClean="0">
                <a:latin typeface="+mj-lt"/>
                <a:cs typeface="Cambria"/>
              </a:rPr>
              <a:t>56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8390257" y="6362700"/>
            <a:ext cx="557275" cy="13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8947531" y="6362700"/>
            <a:ext cx="678688" cy="13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9626220" y="6362700"/>
            <a:ext cx="279780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7" name="object 57"/>
          <p:cNvSpPr txBox="1"/>
          <p:nvPr/>
        </p:nvSpPr>
        <p:spPr>
          <a:xfrm>
            <a:off x="5241926" y="6511531"/>
            <a:ext cx="525146" cy="404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5767070" y="6511531"/>
            <a:ext cx="311784" cy="404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6078856" y="6511531"/>
            <a:ext cx="557275" cy="404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6636131" y="6511531"/>
            <a:ext cx="692531" cy="404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7541896" y="6502007"/>
            <a:ext cx="536576" cy="499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8078471" y="6502007"/>
            <a:ext cx="311784" cy="499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8390257" y="6502007"/>
            <a:ext cx="557275" cy="499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8947531" y="6502007"/>
            <a:ext cx="678688" cy="499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7678166" y="5282413"/>
            <a:ext cx="1880362" cy="2166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50"/>
              </a:lnSpc>
              <a:spcBef>
                <a:spcPts val="35"/>
              </a:spcBef>
            </a:pPr>
            <a:endParaRPr sz="650">
              <a:latin typeface="+mj-lt"/>
            </a:endParaRPr>
          </a:p>
          <a:p>
            <a:pPr marL="577341">
              <a:lnSpc>
                <a:spcPts val="1019"/>
              </a:lnSpc>
              <a:spcBef>
                <a:spcPts val="51"/>
              </a:spcBef>
            </a:pPr>
            <a:r>
              <a:rPr sz="1500" spc="4" baseline="-8529" dirty="0" smtClean="0">
                <a:latin typeface="+mj-lt"/>
                <a:cs typeface="Cambria"/>
              </a:rPr>
              <a:t>AM</a:t>
            </a:r>
            <a:r>
              <a:rPr sz="1500" spc="0" baseline="-8529" dirty="0" smtClean="0">
                <a:latin typeface="+mj-lt"/>
                <a:cs typeface="Cambria"/>
              </a:rPr>
              <a:t>P</a:t>
            </a:r>
            <a:r>
              <a:rPr sz="1500" spc="-39" baseline="-8529" dirty="0" smtClean="0">
                <a:latin typeface="+mj-lt"/>
                <a:cs typeface="Cambria"/>
              </a:rPr>
              <a:t> </a:t>
            </a:r>
            <a:r>
              <a:rPr sz="1500" spc="0" baseline="-8529" dirty="0" smtClean="0">
                <a:latin typeface="+mj-lt"/>
                <a:cs typeface="Cambria"/>
              </a:rPr>
              <a:t>4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5378196" y="5282413"/>
            <a:ext cx="1880362" cy="2166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50"/>
              </a:lnSpc>
              <a:spcBef>
                <a:spcPts val="35"/>
              </a:spcBef>
            </a:pPr>
            <a:endParaRPr sz="650">
              <a:latin typeface="+mj-lt"/>
            </a:endParaRPr>
          </a:p>
          <a:p>
            <a:pPr marL="576961">
              <a:lnSpc>
                <a:spcPts val="1019"/>
              </a:lnSpc>
              <a:spcBef>
                <a:spcPts val="51"/>
              </a:spcBef>
            </a:pPr>
            <a:r>
              <a:rPr sz="1500" spc="4" baseline="-8529" dirty="0" smtClean="0">
                <a:latin typeface="+mj-lt"/>
                <a:cs typeface="Cambria"/>
              </a:rPr>
              <a:t>AM</a:t>
            </a:r>
            <a:r>
              <a:rPr sz="1500" spc="0" baseline="-8529" dirty="0" smtClean="0">
                <a:latin typeface="+mj-lt"/>
                <a:cs typeface="Cambria"/>
              </a:rPr>
              <a:t>P</a:t>
            </a:r>
            <a:r>
              <a:rPr sz="1500" spc="-39" baseline="-8529" dirty="0" smtClean="0">
                <a:latin typeface="+mj-lt"/>
                <a:cs typeface="Cambria"/>
              </a:rPr>
              <a:t> </a:t>
            </a:r>
            <a:r>
              <a:rPr sz="1500" spc="0" baseline="-8529" dirty="0" smtClean="0">
                <a:latin typeface="+mj-lt"/>
                <a:cs typeface="Cambria"/>
              </a:rPr>
              <a:t>3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3078353" y="5282413"/>
            <a:ext cx="1880362" cy="2166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50"/>
              </a:lnSpc>
              <a:spcBef>
                <a:spcPts val="44"/>
              </a:spcBef>
            </a:pPr>
            <a:endParaRPr sz="650">
              <a:latin typeface="+mj-lt"/>
            </a:endParaRPr>
          </a:p>
          <a:p>
            <a:pPr marL="576452">
              <a:lnSpc>
                <a:spcPts val="1010"/>
              </a:lnSpc>
              <a:spcBef>
                <a:spcPts val="50"/>
              </a:spcBef>
            </a:pPr>
            <a:r>
              <a:rPr sz="1500" spc="4" baseline="-8529" dirty="0" smtClean="0">
                <a:latin typeface="+mj-lt"/>
                <a:cs typeface="Cambria"/>
              </a:rPr>
              <a:t>AM</a:t>
            </a:r>
            <a:r>
              <a:rPr sz="1500" spc="0" baseline="-8529" dirty="0" smtClean="0">
                <a:latin typeface="+mj-lt"/>
                <a:cs typeface="Cambria"/>
              </a:rPr>
              <a:t>P</a:t>
            </a:r>
            <a:r>
              <a:rPr sz="1500" spc="-39" baseline="-8529" dirty="0" smtClean="0">
                <a:latin typeface="+mj-lt"/>
                <a:cs typeface="Cambria"/>
              </a:rPr>
              <a:t> </a:t>
            </a:r>
            <a:r>
              <a:rPr sz="1500" spc="0" baseline="-8529" dirty="0" smtClean="0">
                <a:latin typeface="+mj-lt"/>
                <a:cs typeface="Cambria"/>
              </a:rPr>
              <a:t>2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776097" y="5282413"/>
            <a:ext cx="1882648" cy="2166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50"/>
              </a:lnSpc>
              <a:spcBef>
                <a:spcPts val="44"/>
              </a:spcBef>
            </a:pPr>
            <a:endParaRPr sz="650">
              <a:latin typeface="+mj-lt"/>
            </a:endParaRPr>
          </a:p>
          <a:p>
            <a:pPr marL="578485">
              <a:lnSpc>
                <a:spcPts val="1010"/>
              </a:lnSpc>
              <a:spcBef>
                <a:spcPts val="50"/>
              </a:spcBef>
            </a:pPr>
            <a:r>
              <a:rPr sz="1500" spc="4" baseline="-8529" dirty="0" smtClean="0">
                <a:latin typeface="+mj-lt"/>
                <a:cs typeface="Cambria"/>
              </a:rPr>
              <a:t>AM</a:t>
            </a:r>
            <a:r>
              <a:rPr sz="1500" spc="0" baseline="-8529" dirty="0" smtClean="0">
                <a:latin typeface="+mj-lt"/>
                <a:cs typeface="Cambria"/>
              </a:rPr>
              <a:t>P</a:t>
            </a:r>
            <a:r>
              <a:rPr sz="1500" spc="-39" baseline="-8529" dirty="0" smtClean="0">
                <a:latin typeface="+mj-lt"/>
                <a:cs typeface="Cambria"/>
              </a:rPr>
              <a:t> </a:t>
            </a:r>
            <a:r>
              <a:rPr sz="1500" spc="0" baseline="-8529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776098" y="4956150"/>
            <a:ext cx="8782431" cy="2166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178046" marR="4097130" algn="ctr">
              <a:lnSpc>
                <a:spcPts val="1235"/>
              </a:lnSpc>
              <a:spcBef>
                <a:spcPts val="531"/>
              </a:spcBef>
            </a:pPr>
            <a:r>
              <a:rPr sz="1800" spc="-25" baseline="-7108" dirty="0" smtClean="0">
                <a:latin typeface="+mj-lt"/>
                <a:cs typeface="Cambria"/>
              </a:rPr>
              <a:t>B</a:t>
            </a:r>
            <a:r>
              <a:rPr sz="1800" spc="0" baseline="-7108" dirty="0" smtClean="0">
                <a:latin typeface="+mj-lt"/>
                <a:cs typeface="Cambria"/>
              </a:rPr>
              <a:t>YN</a:t>
            </a:r>
            <a:r>
              <a:rPr sz="1800" spc="4" baseline="-7108" dirty="0" smtClean="0">
                <a:latin typeface="+mj-lt"/>
                <a:cs typeface="Cambria"/>
              </a:rPr>
              <a:t>E</a:t>
            </a:r>
            <a:r>
              <a:rPr sz="1800" spc="0" baseline="-7108" dirty="0" smtClean="0">
                <a:latin typeface="+mj-lt"/>
                <a:cs typeface="Cambria"/>
              </a:rPr>
              <a:t>T</a:t>
            </a:r>
            <a:endParaRPr sz="1200">
              <a:latin typeface="+mj-lt"/>
              <a:cs typeface="Cambria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3043936" y="4500194"/>
            <a:ext cx="824338" cy="1631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8447">
              <a:lnSpc>
                <a:spcPts val="835"/>
              </a:lnSpc>
              <a:spcBef>
                <a:spcPts val="486"/>
              </a:spcBef>
            </a:pPr>
            <a:r>
              <a:rPr sz="1350" spc="-4" baseline="-12636" dirty="0" smtClean="0">
                <a:latin typeface="+mj-lt"/>
                <a:cs typeface="Cambria"/>
              </a:rPr>
              <a:t>T</a:t>
            </a:r>
            <a:r>
              <a:rPr sz="1350" spc="4" baseline="-12636" dirty="0" smtClean="0">
                <a:latin typeface="+mj-lt"/>
                <a:cs typeface="Cambria"/>
              </a:rPr>
              <a:t>a</a:t>
            </a:r>
            <a:r>
              <a:rPr sz="1350" spc="0" baseline="-12636" dirty="0" smtClean="0">
                <a:latin typeface="+mj-lt"/>
                <a:cs typeface="Cambria"/>
              </a:rPr>
              <a:t>b</a:t>
            </a:r>
            <a:r>
              <a:rPr sz="1350" spc="-4" baseline="-12636" dirty="0" smtClean="0">
                <a:latin typeface="+mj-lt"/>
                <a:cs typeface="Cambria"/>
              </a:rPr>
              <a:t>l</a:t>
            </a:r>
            <a:r>
              <a:rPr sz="1350" spc="0" baseline="-12636" dirty="0" smtClean="0">
                <a:latin typeface="+mj-lt"/>
                <a:cs typeface="Cambria"/>
              </a:rPr>
              <a:t>e</a:t>
            </a:r>
            <a:r>
              <a:rPr sz="1350" spc="-4" baseline="-12636" dirty="0" smtClean="0">
                <a:latin typeface="+mj-lt"/>
                <a:cs typeface="Cambria"/>
              </a:rPr>
              <a:t> I</a:t>
            </a:r>
            <a:r>
              <a:rPr sz="1350" spc="0" baseline="-12636" dirty="0" smtClean="0">
                <a:latin typeface="+mj-lt"/>
                <a:cs typeface="Cambria"/>
              </a:rPr>
              <a:t>D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3868274" y="4500194"/>
            <a:ext cx="952760" cy="1631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8472">
              <a:lnSpc>
                <a:spcPts val="950"/>
              </a:lnSpc>
              <a:spcBef>
                <a:spcPts val="382"/>
              </a:spcBef>
            </a:pPr>
            <a:r>
              <a:rPr sz="1350" spc="4" baseline="-6318" dirty="0" smtClean="0">
                <a:latin typeface="+mj-lt"/>
                <a:cs typeface="Cambria"/>
              </a:rPr>
              <a:t>R</a:t>
            </a:r>
            <a:r>
              <a:rPr sz="1350" spc="0" baseline="-6318" dirty="0" smtClean="0">
                <a:latin typeface="+mj-lt"/>
                <a:cs typeface="Cambria"/>
              </a:rPr>
              <a:t>ow</a:t>
            </a:r>
            <a:r>
              <a:rPr sz="1350" spc="-14" baseline="-6318" dirty="0" smtClean="0">
                <a:latin typeface="+mj-lt"/>
                <a:cs typeface="Cambria"/>
              </a:rPr>
              <a:t> </a:t>
            </a:r>
            <a:r>
              <a:rPr sz="1350" spc="-4" baseline="-6318" dirty="0" smtClean="0">
                <a:latin typeface="+mj-lt"/>
                <a:cs typeface="Cambria"/>
              </a:rPr>
              <a:t>H</a:t>
            </a:r>
            <a:r>
              <a:rPr sz="1350" spc="4" baseline="-6318" dirty="0" smtClean="0">
                <a:latin typeface="+mj-lt"/>
                <a:cs typeface="Cambria"/>
              </a:rPr>
              <a:t>a</a:t>
            </a:r>
            <a:r>
              <a:rPr sz="1350" spc="0" baseline="-6318" dirty="0" smtClean="0">
                <a:latin typeface="+mj-lt"/>
                <a:cs typeface="Cambria"/>
              </a:rPr>
              <a:t>sh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4821034" y="4500194"/>
            <a:ext cx="940168" cy="1631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50"/>
              </a:lnSpc>
              <a:spcBef>
                <a:spcPts val="382"/>
              </a:spcBef>
            </a:pPr>
            <a:r>
              <a:rPr sz="1350" spc="4" baseline="-6318" dirty="0" smtClean="0">
                <a:latin typeface="+mj-lt"/>
                <a:cs typeface="Cambria"/>
              </a:rPr>
              <a:t>U</a:t>
            </a:r>
            <a:r>
              <a:rPr sz="1350" spc="0" baseline="-6318" dirty="0" smtClean="0">
                <a:latin typeface="+mj-lt"/>
                <a:cs typeface="Cambria"/>
              </a:rPr>
              <a:t>n</a:t>
            </a:r>
            <a:r>
              <a:rPr sz="1350" spc="4" baseline="-6318" dirty="0" smtClean="0">
                <a:latin typeface="+mj-lt"/>
                <a:cs typeface="Cambria"/>
              </a:rPr>
              <a:t>i</a:t>
            </a:r>
            <a:r>
              <a:rPr sz="1350" spc="0" baseline="-6318" dirty="0" smtClean="0">
                <a:latin typeface="+mj-lt"/>
                <a:cs typeface="Cambria"/>
              </a:rPr>
              <a:t>q</a:t>
            </a:r>
            <a:r>
              <a:rPr sz="1350" spc="-4" baseline="-6318" dirty="0" smtClean="0">
                <a:latin typeface="+mj-lt"/>
                <a:cs typeface="Cambria"/>
              </a:rPr>
              <a:t>u</a:t>
            </a:r>
            <a:r>
              <a:rPr sz="1350" spc="0" baseline="-6318" dirty="0" smtClean="0">
                <a:latin typeface="+mj-lt"/>
                <a:cs typeface="Cambria"/>
              </a:rPr>
              <a:t>e</a:t>
            </a:r>
            <a:r>
              <a:rPr sz="1350" spc="-14" baseline="-6318" dirty="0" smtClean="0">
                <a:latin typeface="+mj-lt"/>
                <a:cs typeface="Cambria"/>
              </a:rPr>
              <a:t> </a:t>
            </a:r>
            <a:r>
              <a:rPr sz="1350" spc="-4" baseline="-6318" dirty="0" smtClean="0">
                <a:latin typeface="+mj-lt"/>
                <a:cs typeface="Cambria"/>
              </a:rPr>
              <a:t>V</a:t>
            </a:r>
            <a:r>
              <a:rPr sz="1350" spc="4" baseline="-6318" dirty="0" smtClean="0">
                <a:latin typeface="+mj-lt"/>
                <a:cs typeface="Cambria"/>
              </a:rPr>
              <a:t>a</a:t>
            </a:r>
            <a:r>
              <a:rPr sz="1350" spc="0" baseline="-6318" dirty="0" smtClean="0">
                <a:latin typeface="+mj-lt"/>
                <a:cs typeface="Cambria"/>
              </a:rPr>
              <a:t>l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3043936" y="4663313"/>
            <a:ext cx="824338" cy="1619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0698">
              <a:lnSpc>
                <a:spcPts val="825"/>
              </a:lnSpc>
              <a:spcBef>
                <a:spcPts val="486"/>
              </a:spcBef>
            </a:pPr>
            <a:r>
              <a:rPr sz="1350" spc="4" baseline="-12636" dirty="0" smtClean="0">
                <a:latin typeface="+mj-lt"/>
                <a:cs typeface="Cambria"/>
              </a:rPr>
              <a:t>100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3868274" y="4663313"/>
            <a:ext cx="952760" cy="1619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34092" marR="384197" algn="ctr">
              <a:lnSpc>
                <a:spcPts val="885"/>
              </a:lnSpc>
              <a:spcBef>
                <a:spcPts val="434"/>
              </a:spcBef>
            </a:pPr>
            <a:r>
              <a:rPr sz="1350" spc="4" baseline="-9477" dirty="0" smtClean="0">
                <a:latin typeface="+mj-lt"/>
                <a:cs typeface="Cambria"/>
              </a:rPr>
              <a:t>778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4821034" y="4663313"/>
            <a:ext cx="940168" cy="1619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48529" marR="484719" algn="ctr">
              <a:lnSpc>
                <a:spcPts val="825"/>
              </a:lnSpc>
              <a:spcBef>
                <a:spcPts val="486"/>
              </a:spcBef>
            </a:pPr>
            <a:r>
              <a:rPr sz="1350" spc="0" baseline="-12636" dirty="0" smtClean="0">
                <a:latin typeface="+mj-lt"/>
                <a:cs typeface="Cambria"/>
              </a:rPr>
              <a:t>7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7636893" y="3569080"/>
            <a:ext cx="41275" cy="53225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7678168" y="3569080"/>
            <a:ext cx="715517" cy="53225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8635">
              <a:lnSpc>
                <a:spcPct val="97696"/>
              </a:lnSpc>
              <a:spcBef>
                <a:spcPts val="185"/>
              </a:spcBef>
            </a:pPr>
            <a:r>
              <a:rPr sz="900" spc="4" dirty="0" smtClean="0">
                <a:latin typeface="+mj-lt"/>
                <a:cs typeface="Cambria"/>
              </a:rPr>
              <a:t>R</a:t>
            </a:r>
            <a:r>
              <a:rPr sz="900" spc="0" dirty="0" smtClean="0">
                <a:latin typeface="+mj-lt"/>
                <a:cs typeface="Cambria"/>
              </a:rPr>
              <a:t>owID</a:t>
            </a:r>
            <a:endParaRPr sz="900">
              <a:latin typeface="+mj-lt"/>
              <a:cs typeface="Cambria"/>
            </a:endParaRPr>
          </a:p>
          <a:p>
            <a:pPr marL="235330">
              <a:lnSpc>
                <a:spcPct val="97696"/>
              </a:lnSpc>
              <a:spcBef>
                <a:spcPts val="280"/>
              </a:spcBef>
            </a:pPr>
            <a:r>
              <a:rPr sz="1000" spc="0" dirty="0" smtClean="0">
                <a:latin typeface="+mj-lt"/>
                <a:cs typeface="Cambria"/>
              </a:rPr>
              <a:t>175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  <a:p>
            <a:pPr marL="235330">
              <a:lnSpc>
                <a:spcPct val="97696"/>
              </a:lnSpc>
              <a:spcBef>
                <a:spcPts val="30"/>
              </a:spcBef>
            </a:pPr>
            <a:r>
              <a:rPr sz="1000" spc="0" dirty="0" smtClean="0">
                <a:latin typeface="+mj-lt"/>
                <a:cs typeface="Cambria"/>
              </a:rPr>
              <a:t>489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8393685" y="3569080"/>
            <a:ext cx="424180" cy="53225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7696"/>
              </a:lnSpc>
              <a:spcBef>
                <a:spcPts val="185"/>
              </a:spcBef>
            </a:pPr>
            <a:r>
              <a:rPr sz="900" spc="0" dirty="0" smtClean="0">
                <a:latin typeface="+mj-lt"/>
                <a:cs typeface="Cambria"/>
              </a:rPr>
              <a:t>C</a:t>
            </a:r>
            <a:r>
              <a:rPr sz="900" spc="-4" dirty="0" smtClean="0">
                <a:latin typeface="+mj-lt"/>
                <a:cs typeface="Cambria"/>
              </a:rPr>
              <a:t>u</a:t>
            </a:r>
            <a:r>
              <a:rPr sz="900" spc="0" dirty="0" smtClean="0">
                <a:latin typeface="+mj-lt"/>
                <a:cs typeface="Cambria"/>
              </a:rPr>
              <a:t>st</a:t>
            </a:r>
            <a:endParaRPr sz="900">
              <a:latin typeface="+mj-lt"/>
              <a:cs typeface="Cambria"/>
            </a:endParaRPr>
          </a:p>
          <a:p>
            <a:pPr>
              <a:lnSpc>
                <a:spcPct val="97696"/>
              </a:lnSpc>
              <a:spcBef>
                <a:spcPts val="280"/>
              </a:spcBef>
            </a:pPr>
            <a:r>
              <a:rPr sz="1000" spc="0" dirty="0" smtClean="0">
                <a:latin typeface="+mj-lt"/>
                <a:cs typeface="Cambria"/>
              </a:rPr>
              <a:t>37</a:t>
            </a:r>
            <a:endParaRPr sz="1000">
              <a:latin typeface="+mj-lt"/>
              <a:cs typeface="Cambria"/>
            </a:endParaRPr>
          </a:p>
          <a:p>
            <a:pPr>
              <a:lnSpc>
                <a:spcPct val="97696"/>
              </a:lnSpc>
              <a:spcBef>
                <a:spcPts val="30"/>
              </a:spcBef>
            </a:pPr>
            <a:r>
              <a:rPr sz="1000" spc="0" dirty="0" smtClean="0">
                <a:latin typeface="+mj-lt"/>
                <a:cs typeface="Cambria"/>
              </a:rPr>
              <a:t>72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8817865" y="3569080"/>
            <a:ext cx="736090" cy="53225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8508">
              <a:lnSpc>
                <a:spcPct val="97696"/>
              </a:lnSpc>
              <a:spcBef>
                <a:spcPts val="185"/>
              </a:spcBef>
            </a:pPr>
            <a:r>
              <a:rPr sz="900" spc="4" dirty="0" smtClean="0">
                <a:latin typeface="+mj-lt"/>
                <a:cs typeface="Cambria"/>
              </a:rPr>
              <a:t>R</a:t>
            </a:r>
            <a:r>
              <a:rPr sz="900" spc="0" dirty="0" smtClean="0">
                <a:latin typeface="+mj-lt"/>
                <a:cs typeface="Cambria"/>
              </a:rPr>
              <a:t>owID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7636891" y="4101339"/>
            <a:ext cx="1180974" cy="392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8817864" y="4101339"/>
            <a:ext cx="749807" cy="392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5380610" y="3583305"/>
            <a:ext cx="710818" cy="5393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716">
              <a:lnSpc>
                <a:spcPct val="97696"/>
              </a:lnSpc>
              <a:spcBef>
                <a:spcPts val="185"/>
              </a:spcBef>
            </a:pPr>
            <a:r>
              <a:rPr sz="900" spc="4" dirty="0" smtClean="0">
                <a:latin typeface="+mj-lt"/>
                <a:cs typeface="Cambria"/>
              </a:rPr>
              <a:t>R</a:t>
            </a:r>
            <a:r>
              <a:rPr sz="900" spc="0" dirty="0" smtClean="0">
                <a:latin typeface="+mj-lt"/>
                <a:cs typeface="Cambria"/>
              </a:rPr>
              <a:t>ow</a:t>
            </a:r>
            <a:r>
              <a:rPr sz="900" spc="-4" dirty="0" smtClean="0">
                <a:latin typeface="+mj-lt"/>
                <a:cs typeface="Cambria"/>
              </a:rPr>
              <a:t>I</a:t>
            </a:r>
            <a:r>
              <a:rPr sz="900" spc="0" dirty="0" smtClean="0">
                <a:latin typeface="+mj-lt"/>
                <a:cs typeface="Cambria"/>
              </a:rPr>
              <a:t>D</a:t>
            </a:r>
            <a:endParaRPr sz="900">
              <a:latin typeface="+mj-lt"/>
              <a:cs typeface="Cambria"/>
            </a:endParaRPr>
          </a:p>
          <a:p>
            <a:pPr marL="66420">
              <a:lnSpc>
                <a:spcPts val="1085"/>
              </a:lnSpc>
              <a:spcBef>
                <a:spcPts val="389"/>
              </a:spcBef>
            </a:pPr>
            <a:r>
              <a:rPr sz="1500" spc="0" baseline="-5686" dirty="0" smtClean="0">
                <a:latin typeface="+mj-lt"/>
                <a:cs typeface="Cambria"/>
              </a:rPr>
              <a:t>288,</a:t>
            </a:r>
            <a:r>
              <a:rPr sz="1500" spc="-33" baseline="-5686" dirty="0" smtClean="0">
                <a:latin typeface="+mj-lt"/>
                <a:cs typeface="Cambria"/>
              </a:rPr>
              <a:t> </a:t>
            </a:r>
            <a:r>
              <a:rPr sz="1500" spc="0" baseline="-5686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  <a:p>
            <a:pPr marL="73532">
              <a:lnSpc>
                <a:spcPts val="940"/>
              </a:lnSpc>
            </a:pPr>
            <a:r>
              <a:rPr sz="1500" spc="0" baseline="2843" dirty="0" smtClean="0">
                <a:latin typeface="+mj-lt"/>
                <a:cs typeface="Cambria"/>
              </a:rPr>
              <a:t>339,</a:t>
            </a:r>
            <a:r>
              <a:rPr sz="1500" spc="-33" baseline="2843" dirty="0" smtClean="0">
                <a:latin typeface="+mj-lt"/>
                <a:cs typeface="Cambria"/>
              </a:rPr>
              <a:t> </a:t>
            </a:r>
            <a:r>
              <a:rPr sz="1500" spc="0" baseline="2843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6091429" y="3583305"/>
            <a:ext cx="444880" cy="5393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189902" algn="ctr">
              <a:lnSpc>
                <a:spcPct val="97696"/>
              </a:lnSpc>
              <a:spcBef>
                <a:spcPts val="185"/>
              </a:spcBef>
            </a:pPr>
            <a:r>
              <a:rPr sz="900" spc="-4" dirty="0" smtClean="0">
                <a:latin typeface="+mj-lt"/>
                <a:cs typeface="Cambria"/>
              </a:rPr>
              <a:t>Cus</a:t>
            </a:r>
            <a:r>
              <a:rPr sz="900" spc="0" dirty="0" smtClean="0">
                <a:latin typeface="+mj-lt"/>
                <a:cs typeface="Cambria"/>
              </a:rPr>
              <a:t>t</a:t>
            </a:r>
            <a:endParaRPr sz="900">
              <a:latin typeface="+mj-lt"/>
              <a:cs typeface="Cambria"/>
            </a:endParaRPr>
          </a:p>
          <a:p>
            <a:pPr marL="74460" marR="185912" algn="ctr">
              <a:lnSpc>
                <a:spcPts val="1085"/>
              </a:lnSpc>
              <a:spcBef>
                <a:spcPts val="389"/>
              </a:spcBef>
            </a:pPr>
            <a:r>
              <a:rPr sz="1500" spc="0" baseline="-5686" dirty="0" smtClean="0">
                <a:latin typeface="+mj-lt"/>
                <a:cs typeface="Cambria"/>
              </a:rPr>
              <a:t>31</a:t>
            </a:r>
            <a:endParaRPr sz="1000">
              <a:latin typeface="+mj-lt"/>
              <a:cs typeface="Cambria"/>
            </a:endParaRPr>
          </a:p>
          <a:p>
            <a:pPr marL="76619" marR="183753" algn="ctr">
              <a:lnSpc>
                <a:spcPts val="940"/>
              </a:lnSpc>
            </a:pPr>
            <a:r>
              <a:rPr sz="1500" spc="0" baseline="2843" dirty="0" smtClean="0">
                <a:latin typeface="+mj-lt"/>
                <a:cs typeface="Cambria"/>
              </a:rPr>
              <a:t>40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6536308" y="3583305"/>
            <a:ext cx="694691" cy="5393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7696"/>
              </a:lnSpc>
              <a:spcBef>
                <a:spcPts val="185"/>
              </a:spcBef>
            </a:pPr>
            <a:r>
              <a:rPr sz="900" spc="4" dirty="0" smtClean="0">
                <a:latin typeface="+mj-lt"/>
                <a:cs typeface="Cambria"/>
              </a:rPr>
              <a:t>R</a:t>
            </a:r>
            <a:r>
              <a:rPr sz="900" spc="0" dirty="0" smtClean="0">
                <a:latin typeface="+mj-lt"/>
                <a:cs typeface="Cambria"/>
              </a:rPr>
              <a:t>ow</a:t>
            </a:r>
            <a:r>
              <a:rPr sz="900" spc="-4" dirty="0" smtClean="0">
                <a:latin typeface="+mj-lt"/>
                <a:cs typeface="Cambria"/>
              </a:rPr>
              <a:t>I</a:t>
            </a:r>
            <a:r>
              <a:rPr sz="900" spc="0" dirty="0" smtClean="0">
                <a:latin typeface="+mj-lt"/>
                <a:cs typeface="Cambria"/>
              </a:rPr>
              <a:t>D</a:t>
            </a:r>
            <a:endParaRPr sz="900">
              <a:latin typeface="+mj-lt"/>
              <a:cs typeface="Cambria"/>
            </a:endParaRPr>
          </a:p>
          <a:p>
            <a:pPr marL="71500">
              <a:lnSpc>
                <a:spcPts val="1085"/>
              </a:lnSpc>
              <a:spcBef>
                <a:spcPts val="389"/>
              </a:spcBef>
            </a:pPr>
            <a:r>
              <a:rPr sz="1500" spc="0" baseline="-5686" dirty="0" smtClean="0">
                <a:latin typeface="+mj-lt"/>
                <a:cs typeface="Cambria"/>
              </a:rPr>
              <a:t>638,</a:t>
            </a:r>
            <a:r>
              <a:rPr sz="1500" spc="-33" baseline="-5686" dirty="0" smtClean="0">
                <a:latin typeface="+mj-lt"/>
                <a:cs typeface="Cambria"/>
              </a:rPr>
              <a:t> </a:t>
            </a:r>
            <a:r>
              <a:rPr sz="1500" spc="0" baseline="-5686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  <a:p>
            <a:pPr marL="73533">
              <a:lnSpc>
                <a:spcPts val="940"/>
              </a:lnSpc>
            </a:pPr>
            <a:r>
              <a:rPr sz="1500" spc="0" baseline="2843" dirty="0" smtClean="0">
                <a:latin typeface="+mj-lt"/>
                <a:cs typeface="Cambria"/>
              </a:rPr>
              <a:t>640,</a:t>
            </a:r>
            <a:r>
              <a:rPr sz="1500" spc="-33" baseline="2843" dirty="0" smtClean="0">
                <a:latin typeface="+mj-lt"/>
                <a:cs typeface="Cambria"/>
              </a:rPr>
              <a:t> </a:t>
            </a:r>
            <a:r>
              <a:rPr sz="1500" spc="0" baseline="2843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3121915" y="3583304"/>
            <a:ext cx="694815" cy="26819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7592">
              <a:lnSpc>
                <a:spcPts val="1025"/>
              </a:lnSpc>
              <a:spcBef>
                <a:spcPts val="241"/>
              </a:spcBef>
            </a:pPr>
            <a:r>
              <a:rPr sz="1350" spc="4" baseline="-3159" dirty="0" smtClean="0">
                <a:latin typeface="+mj-lt"/>
                <a:cs typeface="Cambria"/>
              </a:rPr>
              <a:t>R</a:t>
            </a:r>
            <a:r>
              <a:rPr sz="1350" spc="0" baseline="-3159" dirty="0" smtClean="0">
                <a:latin typeface="+mj-lt"/>
                <a:cs typeface="Cambria"/>
              </a:rPr>
              <a:t>owID</a:t>
            </a:r>
            <a:endParaRPr sz="900">
              <a:latin typeface="+mj-lt"/>
              <a:cs typeface="Cambria"/>
            </a:endParaRPr>
          </a:p>
          <a:p>
            <a:pPr marL="7747">
              <a:lnSpc>
                <a:spcPts val="894"/>
              </a:lnSpc>
            </a:pPr>
            <a:r>
              <a:rPr sz="1500" spc="0" baseline="-2843" dirty="0" smtClean="0">
                <a:latin typeface="+mj-lt"/>
                <a:cs typeface="Cambria"/>
              </a:rPr>
              <a:t>296,</a:t>
            </a:r>
            <a:r>
              <a:rPr sz="1500" spc="-33" baseline="-2843" dirty="0" smtClean="0">
                <a:latin typeface="+mj-lt"/>
                <a:cs typeface="Cambria"/>
              </a:rPr>
              <a:t> </a:t>
            </a:r>
            <a:r>
              <a:rPr sz="1500" spc="0" baseline="-2843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3816730" y="3583304"/>
            <a:ext cx="435610" cy="26819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19"/>
              </a:lnSpc>
              <a:spcBef>
                <a:spcPts val="186"/>
              </a:spcBef>
            </a:pPr>
            <a:r>
              <a:rPr sz="1350" spc="0" baseline="-3159" dirty="0" smtClean="0">
                <a:latin typeface="+mj-lt"/>
                <a:cs typeface="Cambria"/>
              </a:rPr>
              <a:t>C</a:t>
            </a:r>
            <a:r>
              <a:rPr sz="1350" spc="-4" baseline="-3159" dirty="0" smtClean="0">
                <a:latin typeface="+mj-lt"/>
                <a:cs typeface="Cambria"/>
              </a:rPr>
              <a:t>u</a:t>
            </a:r>
            <a:r>
              <a:rPr sz="1350" spc="0" baseline="-3159" dirty="0" smtClean="0">
                <a:latin typeface="+mj-lt"/>
                <a:cs typeface="Cambria"/>
              </a:rPr>
              <a:t>st</a:t>
            </a:r>
            <a:endParaRPr sz="900">
              <a:latin typeface="+mj-lt"/>
              <a:cs typeface="Cambria"/>
            </a:endParaRPr>
          </a:p>
          <a:p>
            <a:pPr marL="23749">
              <a:lnSpc>
                <a:spcPts val="955"/>
              </a:lnSpc>
            </a:pPr>
            <a:r>
              <a:rPr sz="1000" spc="0" dirty="0" smtClean="0">
                <a:latin typeface="+mj-lt"/>
                <a:cs typeface="Cambria"/>
              </a:rPr>
              <a:t>84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252342" y="3583304"/>
            <a:ext cx="683387" cy="26819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589">
              <a:lnSpc>
                <a:spcPts val="1019"/>
              </a:lnSpc>
              <a:spcBef>
                <a:spcPts val="186"/>
              </a:spcBef>
            </a:pPr>
            <a:r>
              <a:rPr sz="1350" spc="4" baseline="-3159" dirty="0" smtClean="0">
                <a:latin typeface="+mj-lt"/>
                <a:cs typeface="Cambria"/>
              </a:rPr>
              <a:t>R</a:t>
            </a:r>
            <a:r>
              <a:rPr sz="1350" spc="0" baseline="-3159" dirty="0" smtClean="0">
                <a:latin typeface="+mj-lt"/>
                <a:cs typeface="Cambria"/>
              </a:rPr>
              <a:t>owID</a:t>
            </a:r>
            <a:endParaRPr sz="900">
              <a:latin typeface="+mj-lt"/>
              <a:cs typeface="Cambria"/>
            </a:endParaRPr>
          </a:p>
          <a:p>
            <a:pPr marL="28575">
              <a:lnSpc>
                <a:spcPts val="955"/>
              </a:lnSpc>
            </a:pPr>
            <a:r>
              <a:rPr sz="1000" spc="0" dirty="0" smtClean="0">
                <a:latin typeface="+mj-lt"/>
                <a:cs typeface="Cambria"/>
              </a:rPr>
              <a:t>536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5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121915" y="3851503"/>
            <a:ext cx="694815" cy="2043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7747">
              <a:lnSpc>
                <a:spcPct val="97696"/>
              </a:lnSpc>
              <a:spcBef>
                <a:spcPts val="384"/>
              </a:spcBef>
            </a:pPr>
            <a:r>
              <a:rPr sz="1000" spc="0" dirty="0" smtClean="0">
                <a:latin typeface="+mj-lt"/>
                <a:cs typeface="Cambria"/>
              </a:rPr>
              <a:t>602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3816730" y="3851503"/>
            <a:ext cx="435610" cy="2043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7874">
              <a:lnSpc>
                <a:spcPct val="97696"/>
              </a:lnSpc>
              <a:spcBef>
                <a:spcPts val="384"/>
              </a:spcBef>
            </a:pPr>
            <a:r>
              <a:rPr sz="1000" spc="0" dirty="0" smtClean="0">
                <a:latin typeface="+mj-lt"/>
                <a:cs typeface="Cambria"/>
              </a:rPr>
              <a:t>56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4252342" y="3851503"/>
            <a:ext cx="683387" cy="2043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7696"/>
              </a:lnSpc>
              <a:spcBef>
                <a:spcPts val="384"/>
              </a:spcBef>
            </a:pPr>
            <a:r>
              <a:rPr sz="1000" spc="0" dirty="0" smtClean="0">
                <a:latin typeface="+mj-lt"/>
                <a:cs typeface="Cambria"/>
              </a:rPr>
              <a:t>778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7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121915" y="4055873"/>
            <a:ext cx="694815" cy="787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19"/>
              </a:spcBef>
            </a:pPr>
            <a:endParaRPr sz="600">
              <a:latin typeface="+mj-lt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3816730" y="4055873"/>
            <a:ext cx="435610" cy="787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19"/>
              </a:spcBef>
            </a:pPr>
            <a:endParaRPr sz="600">
              <a:latin typeface="+mj-lt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252342" y="4055873"/>
            <a:ext cx="683387" cy="787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19"/>
              </a:spcBef>
            </a:pPr>
            <a:endParaRPr sz="600">
              <a:latin typeface="+mj-lt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99019" y="3583305"/>
            <a:ext cx="710882" cy="5393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8628">
              <a:lnSpc>
                <a:spcPct val="97696"/>
              </a:lnSpc>
              <a:spcBef>
                <a:spcPts val="250"/>
              </a:spcBef>
            </a:pPr>
            <a:r>
              <a:rPr sz="900" spc="4" dirty="0" smtClean="0">
                <a:latin typeface="+mj-lt"/>
                <a:cs typeface="Cambria"/>
              </a:rPr>
              <a:t>R</a:t>
            </a:r>
            <a:r>
              <a:rPr sz="900" spc="0" dirty="0" smtClean="0">
                <a:latin typeface="+mj-lt"/>
                <a:cs typeface="Cambria"/>
              </a:rPr>
              <a:t>owID</a:t>
            </a:r>
            <a:endParaRPr sz="900">
              <a:latin typeface="+mj-lt"/>
              <a:cs typeface="Cambria"/>
            </a:endParaRPr>
          </a:p>
          <a:p>
            <a:pPr marL="52285">
              <a:lnSpc>
                <a:spcPts val="1085"/>
              </a:lnSpc>
              <a:spcBef>
                <a:spcPts val="144"/>
              </a:spcBef>
            </a:pPr>
            <a:r>
              <a:rPr sz="1500" spc="0" baseline="-5686" dirty="0" smtClean="0">
                <a:latin typeface="+mj-lt"/>
                <a:cs typeface="Cambria"/>
              </a:rPr>
              <a:t>244,</a:t>
            </a:r>
            <a:r>
              <a:rPr sz="1500" spc="-33" baseline="-5686" dirty="0" smtClean="0">
                <a:latin typeface="+mj-lt"/>
                <a:cs typeface="Cambria"/>
              </a:rPr>
              <a:t> </a:t>
            </a:r>
            <a:r>
              <a:rPr sz="1500" spc="0" baseline="-5686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  <a:p>
            <a:pPr marL="54419">
              <a:lnSpc>
                <a:spcPts val="860"/>
              </a:lnSpc>
            </a:pPr>
            <a:r>
              <a:rPr sz="1500" spc="0" baseline="-2843" dirty="0" smtClean="0">
                <a:latin typeface="+mj-lt"/>
                <a:cs typeface="Cambria"/>
              </a:rPr>
              <a:t>505,</a:t>
            </a:r>
            <a:r>
              <a:rPr sz="1500" spc="-33" baseline="-2843" dirty="0" smtClean="0">
                <a:latin typeface="+mj-lt"/>
                <a:cs typeface="Cambria"/>
              </a:rPr>
              <a:t> </a:t>
            </a:r>
            <a:r>
              <a:rPr sz="1500" spc="0" baseline="-2843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  <a:p>
            <a:pPr marL="54419">
              <a:lnSpc>
                <a:spcPts val="905"/>
              </a:lnSpc>
              <a:spcBef>
                <a:spcPts val="2"/>
              </a:spcBef>
            </a:pPr>
            <a:r>
              <a:rPr sz="1000" spc="0" dirty="0" smtClean="0">
                <a:latin typeface="+mj-lt"/>
                <a:cs typeface="Cambria"/>
              </a:rPr>
              <a:t>744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4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509904" y="3583305"/>
            <a:ext cx="447167" cy="5393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7365">
              <a:lnSpc>
                <a:spcPct val="97696"/>
              </a:lnSpc>
              <a:spcBef>
                <a:spcPts val="190"/>
              </a:spcBef>
            </a:pPr>
            <a:r>
              <a:rPr sz="900" spc="0" dirty="0" smtClean="0">
                <a:latin typeface="+mj-lt"/>
                <a:cs typeface="Cambria"/>
              </a:rPr>
              <a:t>C</a:t>
            </a:r>
            <a:r>
              <a:rPr sz="900" spc="-4" dirty="0" smtClean="0">
                <a:latin typeface="+mj-lt"/>
                <a:cs typeface="Cambria"/>
              </a:rPr>
              <a:t>u</a:t>
            </a:r>
            <a:r>
              <a:rPr sz="900" spc="0" dirty="0" smtClean="0">
                <a:latin typeface="+mj-lt"/>
                <a:cs typeface="Cambria"/>
              </a:rPr>
              <a:t>st</a:t>
            </a:r>
            <a:endParaRPr sz="900">
              <a:latin typeface="+mj-lt"/>
              <a:cs typeface="Cambria"/>
            </a:endParaRPr>
          </a:p>
          <a:p>
            <a:pPr marL="43053">
              <a:lnSpc>
                <a:spcPts val="1085"/>
              </a:lnSpc>
              <a:spcBef>
                <a:spcPts val="204"/>
              </a:spcBef>
            </a:pPr>
            <a:r>
              <a:rPr sz="1500" spc="0" baseline="-5686" dirty="0" smtClean="0">
                <a:latin typeface="+mj-lt"/>
                <a:cs typeface="Cambria"/>
              </a:rPr>
              <a:t>74</a:t>
            </a:r>
            <a:endParaRPr sz="1000">
              <a:latin typeface="+mj-lt"/>
              <a:cs typeface="Cambria"/>
            </a:endParaRPr>
          </a:p>
          <a:p>
            <a:pPr marL="52196">
              <a:lnSpc>
                <a:spcPts val="919"/>
              </a:lnSpc>
            </a:pPr>
            <a:r>
              <a:rPr sz="1000" spc="0" dirty="0" smtClean="0">
                <a:latin typeface="+mj-lt"/>
                <a:cs typeface="Cambria"/>
              </a:rPr>
              <a:t>77</a:t>
            </a:r>
            <a:endParaRPr sz="1000">
              <a:latin typeface="+mj-lt"/>
              <a:cs typeface="Cambria"/>
            </a:endParaRPr>
          </a:p>
          <a:p>
            <a:pPr marL="52196">
              <a:lnSpc>
                <a:spcPts val="844"/>
              </a:lnSpc>
            </a:pPr>
            <a:r>
              <a:rPr sz="1500" spc="0" baseline="-5686" dirty="0" smtClean="0">
                <a:latin typeface="+mj-lt"/>
                <a:cs typeface="Cambria"/>
              </a:rPr>
              <a:t>27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957071" y="3583305"/>
            <a:ext cx="703961" cy="5393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5052">
              <a:lnSpc>
                <a:spcPct val="97696"/>
              </a:lnSpc>
              <a:spcBef>
                <a:spcPts val="250"/>
              </a:spcBef>
            </a:pPr>
            <a:r>
              <a:rPr sz="900" spc="4" dirty="0" smtClean="0">
                <a:latin typeface="+mj-lt"/>
                <a:cs typeface="Cambria"/>
              </a:rPr>
              <a:t>R</a:t>
            </a:r>
            <a:r>
              <a:rPr sz="900" spc="0" dirty="0" smtClean="0">
                <a:latin typeface="+mj-lt"/>
                <a:cs typeface="Cambria"/>
              </a:rPr>
              <a:t>owID</a:t>
            </a:r>
            <a:endParaRPr sz="900">
              <a:latin typeface="+mj-lt"/>
              <a:cs typeface="Cambria"/>
            </a:endParaRPr>
          </a:p>
          <a:p>
            <a:pPr marL="24765">
              <a:lnSpc>
                <a:spcPts val="1085"/>
              </a:lnSpc>
              <a:spcBef>
                <a:spcPts val="144"/>
              </a:spcBef>
            </a:pPr>
            <a:r>
              <a:rPr sz="1500" spc="0" baseline="-5686" dirty="0" smtClean="0">
                <a:latin typeface="+mj-lt"/>
                <a:cs typeface="Cambria"/>
              </a:rPr>
              <a:t>884,</a:t>
            </a:r>
            <a:r>
              <a:rPr sz="1500" spc="-33" baseline="-5686" dirty="0" smtClean="0">
                <a:latin typeface="+mj-lt"/>
                <a:cs typeface="Cambria"/>
              </a:rPr>
              <a:t> </a:t>
            </a:r>
            <a:r>
              <a:rPr sz="1500" spc="0" baseline="-5686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  <a:p>
            <a:pPr marL="29337">
              <a:lnSpc>
                <a:spcPts val="944"/>
              </a:lnSpc>
            </a:pPr>
            <a:r>
              <a:rPr sz="1500" spc="0" baseline="2843" dirty="0" smtClean="0">
                <a:latin typeface="+mj-lt"/>
                <a:cs typeface="Cambria"/>
              </a:rPr>
              <a:t>639,</a:t>
            </a:r>
            <a:r>
              <a:rPr sz="1500" spc="-33" baseline="2843" dirty="0" smtClean="0">
                <a:latin typeface="+mj-lt"/>
                <a:cs typeface="Cambria"/>
              </a:rPr>
              <a:t> </a:t>
            </a:r>
            <a:r>
              <a:rPr sz="1500" spc="0" baseline="2843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678166" y="2839173"/>
            <a:ext cx="1880362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50"/>
              </a:lnSpc>
              <a:spcBef>
                <a:spcPts val="13"/>
              </a:spcBef>
            </a:pPr>
            <a:endParaRPr sz="650">
              <a:latin typeface="+mj-lt"/>
            </a:endParaRPr>
          </a:p>
          <a:p>
            <a:pPr marL="549655">
              <a:lnSpc>
                <a:spcPts val="1045"/>
              </a:lnSpc>
              <a:spcBef>
                <a:spcPts val="52"/>
              </a:spcBef>
            </a:pPr>
            <a:r>
              <a:rPr sz="1500" spc="4" baseline="-5686" dirty="0" smtClean="0">
                <a:latin typeface="+mj-lt"/>
                <a:cs typeface="Cambria"/>
              </a:rPr>
              <a:t>AM</a:t>
            </a:r>
            <a:r>
              <a:rPr sz="1500" spc="0" baseline="-5686" dirty="0" smtClean="0">
                <a:latin typeface="+mj-lt"/>
                <a:cs typeface="Cambria"/>
              </a:rPr>
              <a:t>P</a:t>
            </a:r>
            <a:r>
              <a:rPr sz="1500" spc="-39" baseline="-5686" dirty="0" smtClean="0">
                <a:latin typeface="+mj-lt"/>
                <a:cs typeface="Cambria"/>
              </a:rPr>
              <a:t> </a:t>
            </a:r>
            <a:r>
              <a:rPr sz="1500" spc="0" baseline="-5686" dirty="0" smtClean="0">
                <a:latin typeface="+mj-lt"/>
                <a:cs typeface="Cambria"/>
              </a:rPr>
              <a:t>4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378196" y="2839173"/>
            <a:ext cx="1880362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50"/>
              </a:lnSpc>
              <a:spcBef>
                <a:spcPts val="13"/>
              </a:spcBef>
            </a:pPr>
            <a:endParaRPr sz="650">
              <a:latin typeface="+mj-lt"/>
            </a:endParaRPr>
          </a:p>
          <a:p>
            <a:pPr marL="592836">
              <a:lnSpc>
                <a:spcPts val="1045"/>
              </a:lnSpc>
              <a:spcBef>
                <a:spcPts val="52"/>
              </a:spcBef>
            </a:pPr>
            <a:r>
              <a:rPr sz="1500" spc="4" baseline="-5686" dirty="0" smtClean="0">
                <a:latin typeface="+mj-lt"/>
                <a:cs typeface="Cambria"/>
              </a:rPr>
              <a:t>AM</a:t>
            </a:r>
            <a:r>
              <a:rPr sz="1500" spc="0" baseline="-5686" dirty="0" smtClean="0">
                <a:latin typeface="+mj-lt"/>
                <a:cs typeface="Cambria"/>
              </a:rPr>
              <a:t>P</a:t>
            </a:r>
            <a:r>
              <a:rPr sz="1500" spc="-39" baseline="-5686" dirty="0" smtClean="0">
                <a:latin typeface="+mj-lt"/>
                <a:cs typeface="Cambria"/>
              </a:rPr>
              <a:t> </a:t>
            </a:r>
            <a:r>
              <a:rPr sz="1500" spc="0" baseline="-5686" dirty="0" smtClean="0">
                <a:latin typeface="+mj-lt"/>
                <a:cs typeface="Cambria"/>
              </a:rPr>
              <a:t>3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078353" y="2839173"/>
            <a:ext cx="1880362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00"/>
              </a:lnSpc>
              <a:spcBef>
                <a:spcPts val="12"/>
              </a:spcBef>
            </a:pPr>
            <a:endParaRPr sz="500">
              <a:latin typeface="+mj-lt"/>
            </a:endParaRPr>
          </a:p>
          <a:p>
            <a:pPr marL="562737">
              <a:lnSpc>
                <a:spcPct val="97696"/>
              </a:lnSpc>
            </a:pPr>
            <a:r>
              <a:rPr sz="1000" spc="4" dirty="0" smtClean="0">
                <a:latin typeface="+mj-lt"/>
                <a:cs typeface="Cambria"/>
              </a:rPr>
              <a:t>AM</a:t>
            </a:r>
            <a:r>
              <a:rPr sz="1000" spc="0" dirty="0" smtClean="0">
                <a:latin typeface="+mj-lt"/>
                <a:cs typeface="Cambria"/>
              </a:rPr>
              <a:t>P</a:t>
            </a:r>
            <a:r>
              <a:rPr sz="1000" spc="-39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2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776097" y="2839173"/>
            <a:ext cx="1882648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50"/>
              </a:lnSpc>
              <a:spcBef>
                <a:spcPts val="38"/>
              </a:spcBef>
            </a:pPr>
            <a:endParaRPr sz="550">
              <a:latin typeface="+mj-lt"/>
            </a:endParaRPr>
          </a:p>
          <a:p>
            <a:pPr marL="626618">
              <a:lnSpc>
                <a:spcPts val="1120"/>
              </a:lnSpc>
              <a:spcBef>
                <a:spcPts val="55"/>
              </a:spcBef>
            </a:pPr>
            <a:r>
              <a:rPr sz="1500" spc="0" baseline="-2843" dirty="0" smtClean="0">
                <a:latin typeface="+mj-lt"/>
                <a:cs typeface="Cambria"/>
              </a:rPr>
              <a:t>A</a:t>
            </a:r>
            <a:r>
              <a:rPr sz="1500" spc="4" baseline="-2843" dirty="0" smtClean="0">
                <a:latin typeface="+mj-lt"/>
                <a:cs typeface="Cambria"/>
              </a:rPr>
              <a:t>M</a:t>
            </a:r>
            <a:r>
              <a:rPr sz="1500" spc="0" baseline="-2843" dirty="0" smtClean="0">
                <a:latin typeface="+mj-lt"/>
                <a:cs typeface="Cambria"/>
              </a:rPr>
              <a:t>P</a:t>
            </a:r>
            <a:r>
              <a:rPr sz="1500" spc="-39" baseline="-2843" dirty="0" smtClean="0">
                <a:latin typeface="+mj-lt"/>
                <a:cs typeface="Cambria"/>
              </a:rPr>
              <a:t> </a:t>
            </a:r>
            <a:r>
              <a:rPr sz="1500" spc="0" baseline="-2843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776098" y="2513037"/>
            <a:ext cx="8782431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136898" marR="4138278" algn="ctr">
              <a:lnSpc>
                <a:spcPts val="1305"/>
              </a:lnSpc>
              <a:spcBef>
                <a:spcPts val="465"/>
              </a:spcBef>
            </a:pPr>
            <a:r>
              <a:rPr sz="1800" spc="-25" baseline="-4738" dirty="0" smtClean="0">
                <a:latin typeface="+mj-lt"/>
                <a:cs typeface="Cambria"/>
              </a:rPr>
              <a:t>B</a:t>
            </a:r>
            <a:r>
              <a:rPr sz="1800" spc="0" baseline="-4738" dirty="0" smtClean="0">
                <a:latin typeface="+mj-lt"/>
                <a:cs typeface="Cambria"/>
              </a:rPr>
              <a:t>YN</a:t>
            </a:r>
            <a:r>
              <a:rPr sz="1800" spc="4" baseline="-4738" dirty="0" smtClean="0">
                <a:latin typeface="+mj-lt"/>
                <a:cs typeface="Cambria"/>
              </a:rPr>
              <a:t>E</a:t>
            </a:r>
            <a:r>
              <a:rPr sz="1800" spc="0" baseline="-4738" dirty="0" smtClean="0">
                <a:latin typeface="+mj-lt"/>
                <a:cs typeface="Cambria"/>
              </a:rPr>
              <a:t>T</a:t>
            </a:r>
            <a:endParaRPr sz="1200">
              <a:latin typeface="+mj-lt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105145" y="2078405"/>
            <a:ext cx="836949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3975">
              <a:lnSpc>
                <a:spcPts val="940"/>
              </a:lnSpc>
              <a:spcBef>
                <a:spcPts val="377"/>
              </a:spcBef>
            </a:pPr>
            <a:r>
              <a:rPr sz="1350" spc="-4" baseline="-6318" dirty="0" smtClean="0">
                <a:latin typeface="+mj-lt"/>
                <a:cs typeface="Cambria"/>
              </a:rPr>
              <a:t>T</a:t>
            </a:r>
            <a:r>
              <a:rPr sz="1350" spc="4" baseline="-6318" dirty="0" smtClean="0">
                <a:latin typeface="+mj-lt"/>
                <a:cs typeface="Cambria"/>
              </a:rPr>
              <a:t>a</a:t>
            </a:r>
            <a:r>
              <a:rPr sz="1350" spc="0" baseline="-6318" dirty="0" smtClean="0">
                <a:latin typeface="+mj-lt"/>
                <a:cs typeface="Cambria"/>
              </a:rPr>
              <a:t>b</a:t>
            </a:r>
            <a:r>
              <a:rPr sz="1350" spc="-4" baseline="-6318" dirty="0" smtClean="0">
                <a:latin typeface="+mj-lt"/>
                <a:cs typeface="Cambria"/>
              </a:rPr>
              <a:t>l</a:t>
            </a:r>
            <a:r>
              <a:rPr sz="1350" spc="0" baseline="-6318" dirty="0" smtClean="0">
                <a:latin typeface="+mj-lt"/>
                <a:cs typeface="Cambria"/>
              </a:rPr>
              <a:t>e</a:t>
            </a:r>
            <a:r>
              <a:rPr sz="1350" spc="-4" baseline="-6318" dirty="0" smtClean="0">
                <a:latin typeface="+mj-lt"/>
                <a:cs typeface="Cambria"/>
              </a:rPr>
              <a:t> I</a:t>
            </a:r>
            <a:r>
              <a:rPr sz="1350" spc="0" baseline="-6318" dirty="0" smtClean="0">
                <a:latin typeface="+mj-lt"/>
                <a:cs typeface="Cambria"/>
              </a:rPr>
              <a:t>D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942093" y="2078405"/>
            <a:ext cx="951642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4336">
              <a:lnSpc>
                <a:spcPts val="940"/>
              </a:lnSpc>
              <a:spcBef>
                <a:spcPts val="377"/>
              </a:spcBef>
            </a:pPr>
            <a:r>
              <a:rPr sz="1350" spc="4" baseline="-6318" dirty="0" smtClean="0">
                <a:latin typeface="+mj-lt"/>
                <a:cs typeface="Cambria"/>
              </a:rPr>
              <a:t>R</a:t>
            </a:r>
            <a:r>
              <a:rPr sz="1350" spc="0" baseline="-6318" dirty="0" smtClean="0">
                <a:latin typeface="+mj-lt"/>
                <a:cs typeface="Cambria"/>
              </a:rPr>
              <a:t>ow</a:t>
            </a:r>
            <a:r>
              <a:rPr sz="1350" spc="-14" baseline="-6318" dirty="0" smtClean="0">
                <a:latin typeface="+mj-lt"/>
                <a:cs typeface="Cambria"/>
              </a:rPr>
              <a:t> </a:t>
            </a:r>
            <a:r>
              <a:rPr sz="1350" spc="-4" baseline="-6318" dirty="0" smtClean="0">
                <a:latin typeface="+mj-lt"/>
                <a:cs typeface="Cambria"/>
              </a:rPr>
              <a:t>H</a:t>
            </a:r>
            <a:r>
              <a:rPr sz="1350" spc="4" baseline="-6318" dirty="0" smtClean="0">
                <a:latin typeface="+mj-lt"/>
                <a:cs typeface="Cambria"/>
              </a:rPr>
              <a:t>a</a:t>
            </a:r>
            <a:r>
              <a:rPr sz="1350" spc="0" baseline="-6318" dirty="0" smtClean="0">
                <a:latin typeface="+mj-lt"/>
                <a:cs typeface="Cambria"/>
              </a:rPr>
              <a:t>sh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7893735" y="2078405"/>
            <a:ext cx="928725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5189">
              <a:lnSpc>
                <a:spcPts val="880"/>
              </a:lnSpc>
              <a:spcBef>
                <a:spcPts val="429"/>
              </a:spcBef>
            </a:pPr>
            <a:r>
              <a:rPr sz="1350" spc="4" baseline="-9477" dirty="0" smtClean="0">
                <a:latin typeface="+mj-lt"/>
                <a:cs typeface="Cambria"/>
              </a:rPr>
              <a:t>U</a:t>
            </a:r>
            <a:r>
              <a:rPr sz="1350" spc="0" baseline="-9477" dirty="0" smtClean="0">
                <a:latin typeface="+mj-lt"/>
                <a:cs typeface="Cambria"/>
              </a:rPr>
              <a:t>SI</a:t>
            </a:r>
            <a:r>
              <a:rPr sz="1350" spc="-14" baseline="-9477" dirty="0" smtClean="0">
                <a:latin typeface="+mj-lt"/>
                <a:cs typeface="Cambria"/>
              </a:rPr>
              <a:t> </a:t>
            </a:r>
            <a:r>
              <a:rPr sz="1350" spc="-4" baseline="-9477" dirty="0" smtClean="0">
                <a:latin typeface="+mj-lt"/>
                <a:cs typeface="Cambria"/>
              </a:rPr>
              <a:t>V</a:t>
            </a:r>
            <a:r>
              <a:rPr sz="1350" spc="4" baseline="-9477" dirty="0" smtClean="0">
                <a:latin typeface="+mj-lt"/>
                <a:cs typeface="Cambria"/>
              </a:rPr>
              <a:t>a</a:t>
            </a:r>
            <a:r>
              <a:rPr sz="1350" spc="-4" baseline="-9477" dirty="0" smtClean="0">
                <a:latin typeface="+mj-lt"/>
                <a:cs typeface="Cambria"/>
              </a:rPr>
              <a:t>lu</a:t>
            </a:r>
            <a:r>
              <a:rPr sz="1350" spc="0" baseline="-9477" dirty="0" smtClean="0">
                <a:latin typeface="+mj-lt"/>
                <a:cs typeface="Cambria"/>
              </a:rPr>
              <a:t>e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105145" y="2239733"/>
            <a:ext cx="836949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62763">
              <a:lnSpc>
                <a:spcPts val="944"/>
              </a:lnSpc>
              <a:spcBef>
                <a:spcPts val="372"/>
              </a:spcBef>
            </a:pPr>
            <a:r>
              <a:rPr sz="1350" spc="4" baseline="-6318" dirty="0" smtClean="0">
                <a:latin typeface="+mj-lt"/>
                <a:cs typeface="Cambria"/>
              </a:rPr>
              <a:t>100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942093" y="2239733"/>
            <a:ext cx="951642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90556">
              <a:lnSpc>
                <a:spcPts val="885"/>
              </a:lnSpc>
              <a:spcBef>
                <a:spcPts val="424"/>
              </a:spcBef>
            </a:pPr>
            <a:r>
              <a:rPr sz="1350" spc="4" baseline="-9477" dirty="0" smtClean="0">
                <a:latin typeface="+mj-lt"/>
                <a:cs typeface="Cambria"/>
              </a:rPr>
              <a:t>602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7893735" y="2239733"/>
            <a:ext cx="928725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92925" marR="462104" algn="ctr">
              <a:lnSpc>
                <a:spcPts val="775"/>
              </a:lnSpc>
              <a:spcBef>
                <a:spcPts val="533"/>
              </a:spcBef>
            </a:pPr>
            <a:r>
              <a:rPr sz="1350" spc="4" baseline="-15795" dirty="0" smtClean="0">
                <a:latin typeface="+mj-lt"/>
                <a:cs typeface="Cambria"/>
              </a:rPr>
              <a:t>56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733413" y="1698663"/>
            <a:ext cx="1357502" cy="2690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37362">
              <a:lnSpc>
                <a:spcPct val="97696"/>
              </a:lnSpc>
              <a:spcBef>
                <a:spcPts val="405"/>
              </a:spcBef>
            </a:pPr>
            <a:r>
              <a:rPr sz="1000" spc="0" dirty="0" smtClean="0">
                <a:solidFill>
                  <a:srgbClr val="253046"/>
                </a:solidFill>
                <a:latin typeface="+mj-lt"/>
                <a:cs typeface="Cambria"/>
              </a:rPr>
              <a:t>H</a:t>
            </a:r>
            <a:r>
              <a:rPr sz="1000" spc="4" dirty="0" smtClean="0">
                <a:solidFill>
                  <a:srgbClr val="253046"/>
                </a:solidFill>
                <a:latin typeface="+mj-lt"/>
                <a:cs typeface="Cambria"/>
              </a:rPr>
              <a:t>as</a:t>
            </a:r>
            <a:r>
              <a:rPr sz="1000" spc="0" dirty="0" smtClean="0">
                <a:solidFill>
                  <a:srgbClr val="253046"/>
                </a:solidFill>
                <a:latin typeface="+mj-lt"/>
                <a:cs typeface="Cambria"/>
              </a:rPr>
              <a:t>hing</a:t>
            </a:r>
            <a:r>
              <a:rPr sz="1000" spc="-3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000" spc="4" dirty="0" smtClean="0">
                <a:solidFill>
                  <a:srgbClr val="253046"/>
                </a:solidFill>
                <a:latin typeface="+mj-lt"/>
                <a:cs typeface="Cambria"/>
              </a:rPr>
              <a:t>Al</a:t>
            </a:r>
            <a:r>
              <a:rPr sz="1000" spc="0" dirty="0" smtClean="0">
                <a:solidFill>
                  <a:srgbClr val="253046"/>
                </a:solidFill>
                <a:latin typeface="+mj-lt"/>
                <a:cs typeface="Cambria"/>
              </a:rPr>
              <a:t>go</a:t>
            </a:r>
            <a:r>
              <a:rPr sz="1000" spc="-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000" spc="0" dirty="0" smtClean="0">
                <a:solidFill>
                  <a:srgbClr val="253046"/>
                </a:solidFill>
                <a:latin typeface="+mj-lt"/>
                <a:cs typeface="Cambria"/>
              </a:rPr>
              <a:t>ithm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645159" y="1577174"/>
            <a:ext cx="2329688" cy="6469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456">
              <a:lnSpc>
                <a:spcPct val="97696"/>
              </a:lnSpc>
              <a:spcBef>
                <a:spcPts val="390"/>
              </a:spcBef>
            </a:pP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SELE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200" spc="238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*</a:t>
            </a:r>
            <a:endParaRPr sz="1200">
              <a:latin typeface="+mj-lt"/>
              <a:cs typeface="Cambria"/>
            </a:endParaRPr>
          </a:p>
          <a:p>
            <a:pPr marL="92456">
              <a:lnSpc>
                <a:spcPct val="97696"/>
              </a:lnSpc>
              <a:spcBef>
                <a:spcPts val="30"/>
              </a:spcBef>
            </a:pP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F</a:t>
            </a:r>
            <a:r>
              <a:rPr sz="1200" spc="-25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OM    </a:t>
            </a:r>
            <a:r>
              <a:rPr sz="1200" spc="25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cus</a:t>
            </a:r>
            <a:r>
              <a:rPr sz="1200" spc="-1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er</a:t>
            </a:r>
            <a:endParaRPr sz="1200">
              <a:latin typeface="+mj-lt"/>
              <a:cs typeface="Cambria"/>
            </a:endParaRPr>
          </a:p>
          <a:p>
            <a:pPr marL="92456">
              <a:lnSpc>
                <a:spcPct val="97696"/>
              </a:lnSpc>
              <a:spcBef>
                <a:spcPts val="30"/>
              </a:spcBef>
            </a:pP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WH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RE </a:t>
            </a:r>
            <a:r>
              <a:rPr sz="1200" spc="233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st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=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 56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;</a:t>
            </a:r>
            <a:endParaRPr sz="1200">
              <a:latin typeface="+mj-lt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417056" y="1010399"/>
            <a:ext cx="1985772" cy="2857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62585">
              <a:lnSpc>
                <a:spcPct val="97696"/>
              </a:lnSpc>
              <a:spcBef>
                <a:spcPts val="345"/>
              </a:spcBef>
            </a:pPr>
            <a:r>
              <a:rPr sz="1000" spc="0" dirty="0" smtClean="0">
                <a:latin typeface="+mj-lt"/>
                <a:cs typeface="Cambria"/>
              </a:rPr>
              <a:t>Cu</a:t>
            </a:r>
            <a:r>
              <a:rPr sz="1000" spc="4" dirty="0" smtClean="0">
                <a:latin typeface="+mj-lt"/>
                <a:cs typeface="Cambria"/>
              </a:rPr>
              <a:t>s</a:t>
            </a:r>
            <a:r>
              <a:rPr sz="1000" spc="0" dirty="0" smtClean="0">
                <a:latin typeface="+mj-lt"/>
                <a:cs typeface="Cambria"/>
              </a:rPr>
              <a:t>tom</a:t>
            </a:r>
            <a:r>
              <a:rPr sz="1000" spc="-9" dirty="0" smtClean="0">
                <a:latin typeface="+mj-lt"/>
                <a:cs typeface="Cambria"/>
              </a:rPr>
              <a:t>e</a:t>
            </a:r>
            <a:r>
              <a:rPr sz="1000" spc="0" dirty="0" smtClean="0">
                <a:latin typeface="+mj-lt"/>
                <a:cs typeface="Cambria"/>
              </a:rPr>
              <a:t>r</a:t>
            </a:r>
            <a:r>
              <a:rPr sz="1000" spc="-36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t</a:t>
            </a:r>
            <a:r>
              <a:rPr sz="1000" spc="4" dirty="0" smtClean="0">
                <a:latin typeface="+mj-lt"/>
                <a:cs typeface="Cambria"/>
              </a:rPr>
              <a:t>a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4" dirty="0" smtClean="0">
                <a:latin typeface="+mj-lt"/>
                <a:cs typeface="Cambria"/>
              </a:rPr>
              <a:t>l</a:t>
            </a:r>
            <a:r>
              <a:rPr sz="1000" spc="0" dirty="0" smtClean="0">
                <a:latin typeface="+mj-lt"/>
                <a:cs typeface="Cambria"/>
              </a:rPr>
              <a:t>e</a:t>
            </a:r>
            <a:r>
              <a:rPr sz="1000" spc="-21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Id</a:t>
            </a:r>
            <a:r>
              <a:rPr sz="1000" spc="-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= 100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417056" y="1296155"/>
            <a:ext cx="1985772" cy="2857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50"/>
              </a:lnSpc>
              <a:spcBef>
                <a:spcPts val="18"/>
              </a:spcBef>
            </a:pPr>
            <a:endParaRPr sz="950">
              <a:latin typeface="+mj-lt"/>
            </a:endParaRPr>
          </a:p>
          <a:p>
            <a:pPr marL="636270">
              <a:lnSpc>
                <a:spcPct val="97696"/>
              </a:lnSpc>
            </a:pPr>
            <a:r>
              <a:rPr sz="1000" spc="0" dirty="0" smtClean="0">
                <a:latin typeface="+mj-lt"/>
                <a:cs typeface="Cambria"/>
              </a:rPr>
              <a:t>USI</a:t>
            </a:r>
            <a:r>
              <a:rPr sz="1000" spc="-4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V</a:t>
            </a:r>
            <a:r>
              <a:rPr sz="1000" spc="4" dirty="0" smtClean="0">
                <a:latin typeface="+mj-lt"/>
                <a:cs typeface="Cambria"/>
              </a:rPr>
              <a:t>al</a:t>
            </a:r>
            <a:r>
              <a:rPr sz="1000" spc="0" dirty="0" smtClean="0">
                <a:latin typeface="+mj-lt"/>
                <a:cs typeface="Cambria"/>
              </a:rPr>
              <a:t>ue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= 56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1649731" y="996163"/>
            <a:ext cx="3024505" cy="46230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456" marR="694670">
              <a:lnSpc>
                <a:spcPct val="100041"/>
              </a:lnSpc>
              <a:spcBef>
                <a:spcPts val="385"/>
              </a:spcBef>
            </a:pP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200" spc="-75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UNI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Q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UE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 I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NDEX</a:t>
            </a:r>
            <a:r>
              <a:rPr sz="1200" spc="263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(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ust) 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n c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er;</a:t>
            </a:r>
            <a:endParaRPr sz="1200">
              <a:latin typeface="+mj-lt"/>
              <a:cs typeface="Cambria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object 244"/>
          <p:cNvSpPr/>
          <p:nvPr/>
        </p:nvSpPr>
        <p:spPr>
          <a:xfrm>
            <a:off x="1" y="649225"/>
            <a:ext cx="9906000" cy="8336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5" name="object 245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6" name="object 246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7" name="object 247"/>
          <p:cNvSpPr/>
          <p:nvPr/>
        </p:nvSpPr>
        <p:spPr>
          <a:xfrm>
            <a:off x="6448045" y="1146556"/>
            <a:ext cx="1999488" cy="276225"/>
          </a:xfrm>
          <a:custGeom>
            <a:avLst/>
            <a:gdLst/>
            <a:ahLst/>
            <a:cxnLst/>
            <a:rect l="l" t="t" r="r" b="b"/>
            <a:pathLst>
              <a:path w="1999488" h="276225">
                <a:moveTo>
                  <a:pt x="0" y="276225"/>
                </a:moveTo>
                <a:lnTo>
                  <a:pt x="1999488" y="276225"/>
                </a:lnTo>
                <a:lnTo>
                  <a:pt x="1999488" y="0"/>
                </a:lnTo>
                <a:lnTo>
                  <a:pt x="0" y="0"/>
                </a:lnTo>
                <a:lnTo>
                  <a:pt x="0" y="276225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8" name="object 248"/>
          <p:cNvSpPr/>
          <p:nvPr/>
        </p:nvSpPr>
        <p:spPr>
          <a:xfrm>
            <a:off x="6448045" y="1146556"/>
            <a:ext cx="1999488" cy="276225"/>
          </a:xfrm>
          <a:custGeom>
            <a:avLst/>
            <a:gdLst/>
            <a:ahLst/>
            <a:cxnLst/>
            <a:rect l="l" t="t" r="r" b="b"/>
            <a:pathLst>
              <a:path w="1999488" h="276225">
                <a:moveTo>
                  <a:pt x="0" y="276225"/>
                </a:moveTo>
                <a:lnTo>
                  <a:pt x="1999488" y="276225"/>
                </a:lnTo>
                <a:lnTo>
                  <a:pt x="1999488" y="0"/>
                </a:lnTo>
                <a:lnTo>
                  <a:pt x="0" y="0"/>
                </a:lnTo>
                <a:lnTo>
                  <a:pt x="0" y="276225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9" name="object 249"/>
          <p:cNvSpPr/>
          <p:nvPr/>
        </p:nvSpPr>
        <p:spPr>
          <a:xfrm>
            <a:off x="6452617" y="1430008"/>
            <a:ext cx="1985772" cy="279793"/>
          </a:xfrm>
          <a:custGeom>
            <a:avLst/>
            <a:gdLst/>
            <a:ahLst/>
            <a:cxnLst/>
            <a:rect l="l" t="t" r="r" b="b"/>
            <a:pathLst>
              <a:path w="1985772" h="279793">
                <a:moveTo>
                  <a:pt x="0" y="279793"/>
                </a:moveTo>
                <a:lnTo>
                  <a:pt x="1985772" y="279793"/>
                </a:lnTo>
                <a:lnTo>
                  <a:pt x="1985772" y="0"/>
                </a:lnTo>
                <a:lnTo>
                  <a:pt x="0" y="0"/>
                </a:lnTo>
                <a:lnTo>
                  <a:pt x="0" y="279793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0" name="object 250"/>
          <p:cNvSpPr/>
          <p:nvPr/>
        </p:nvSpPr>
        <p:spPr>
          <a:xfrm>
            <a:off x="6452617" y="1430008"/>
            <a:ext cx="1985772" cy="279793"/>
          </a:xfrm>
          <a:custGeom>
            <a:avLst/>
            <a:gdLst/>
            <a:ahLst/>
            <a:cxnLst/>
            <a:rect l="l" t="t" r="r" b="b"/>
            <a:pathLst>
              <a:path w="1985772" h="279793">
                <a:moveTo>
                  <a:pt x="0" y="279793"/>
                </a:moveTo>
                <a:lnTo>
                  <a:pt x="1985772" y="279793"/>
                </a:lnTo>
                <a:lnTo>
                  <a:pt x="1985772" y="0"/>
                </a:lnTo>
                <a:lnTo>
                  <a:pt x="0" y="0"/>
                </a:lnTo>
                <a:lnTo>
                  <a:pt x="0" y="279793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1" name="object 251"/>
          <p:cNvSpPr/>
          <p:nvPr/>
        </p:nvSpPr>
        <p:spPr>
          <a:xfrm>
            <a:off x="4870451" y="1219200"/>
            <a:ext cx="1651000" cy="685800"/>
          </a:xfrm>
          <a:custGeom>
            <a:avLst/>
            <a:gdLst/>
            <a:ahLst/>
            <a:cxnLst/>
            <a:rect l="l" t="t" r="r" b="b"/>
            <a:pathLst>
              <a:path w="1651000" h="685800">
                <a:moveTo>
                  <a:pt x="0" y="685800"/>
                </a:moveTo>
                <a:lnTo>
                  <a:pt x="16510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2" name="object 252"/>
          <p:cNvSpPr/>
          <p:nvPr/>
        </p:nvSpPr>
        <p:spPr>
          <a:xfrm>
            <a:off x="5828921" y="1394205"/>
            <a:ext cx="389889" cy="105918"/>
          </a:xfrm>
          <a:custGeom>
            <a:avLst/>
            <a:gdLst/>
            <a:ahLst/>
            <a:cxnLst/>
            <a:rect l="l" t="t" r="r" b="b"/>
            <a:pathLst>
              <a:path w="389889" h="105918">
                <a:moveTo>
                  <a:pt x="389889" y="0"/>
                </a:moveTo>
                <a:lnTo>
                  <a:pt x="0" y="34544"/>
                </a:lnTo>
                <a:lnTo>
                  <a:pt x="91693" y="105918"/>
                </a:lnTo>
                <a:lnTo>
                  <a:pt x="38988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3" name="object 253"/>
          <p:cNvSpPr/>
          <p:nvPr/>
        </p:nvSpPr>
        <p:spPr>
          <a:xfrm>
            <a:off x="6957188" y="2353869"/>
            <a:ext cx="940155" cy="160731"/>
          </a:xfrm>
          <a:custGeom>
            <a:avLst/>
            <a:gdLst/>
            <a:ahLst/>
            <a:cxnLst/>
            <a:rect l="l" t="t" r="r" b="b"/>
            <a:pathLst>
              <a:path w="940155" h="160731">
                <a:moveTo>
                  <a:pt x="0" y="160731"/>
                </a:moveTo>
                <a:lnTo>
                  <a:pt x="940155" y="160731"/>
                </a:lnTo>
                <a:lnTo>
                  <a:pt x="940155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4" name="object 254"/>
          <p:cNvSpPr/>
          <p:nvPr/>
        </p:nvSpPr>
        <p:spPr>
          <a:xfrm>
            <a:off x="6957188" y="2353869"/>
            <a:ext cx="940155" cy="160731"/>
          </a:xfrm>
          <a:custGeom>
            <a:avLst/>
            <a:gdLst/>
            <a:ahLst/>
            <a:cxnLst/>
            <a:rect l="l" t="t" r="r" b="b"/>
            <a:pathLst>
              <a:path w="940155" h="160731">
                <a:moveTo>
                  <a:pt x="0" y="160731"/>
                </a:moveTo>
                <a:lnTo>
                  <a:pt x="940155" y="160731"/>
                </a:lnTo>
                <a:lnTo>
                  <a:pt x="940155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5" name="object 255"/>
          <p:cNvSpPr/>
          <p:nvPr/>
        </p:nvSpPr>
        <p:spPr>
          <a:xfrm>
            <a:off x="6957188" y="2191944"/>
            <a:ext cx="940155" cy="160731"/>
          </a:xfrm>
          <a:custGeom>
            <a:avLst/>
            <a:gdLst/>
            <a:ahLst/>
            <a:cxnLst/>
            <a:rect l="l" t="t" r="r" b="b"/>
            <a:pathLst>
              <a:path w="940155" h="160731">
                <a:moveTo>
                  <a:pt x="0" y="160731"/>
                </a:moveTo>
                <a:lnTo>
                  <a:pt x="940155" y="160731"/>
                </a:lnTo>
                <a:lnTo>
                  <a:pt x="940155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6" name="object 256"/>
          <p:cNvSpPr/>
          <p:nvPr/>
        </p:nvSpPr>
        <p:spPr>
          <a:xfrm>
            <a:off x="6957188" y="2191944"/>
            <a:ext cx="940155" cy="160731"/>
          </a:xfrm>
          <a:custGeom>
            <a:avLst/>
            <a:gdLst/>
            <a:ahLst/>
            <a:cxnLst/>
            <a:rect l="l" t="t" r="r" b="b"/>
            <a:pathLst>
              <a:path w="940155" h="160731">
                <a:moveTo>
                  <a:pt x="0" y="160731"/>
                </a:moveTo>
                <a:lnTo>
                  <a:pt x="940155" y="160731"/>
                </a:lnTo>
                <a:lnTo>
                  <a:pt x="940155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7" name="object 257"/>
          <p:cNvSpPr/>
          <p:nvPr/>
        </p:nvSpPr>
        <p:spPr>
          <a:xfrm>
            <a:off x="7920228" y="2191944"/>
            <a:ext cx="917219" cy="160731"/>
          </a:xfrm>
          <a:custGeom>
            <a:avLst/>
            <a:gdLst/>
            <a:ahLst/>
            <a:cxnLst/>
            <a:rect l="l" t="t" r="r" b="b"/>
            <a:pathLst>
              <a:path w="917219" h="160731">
                <a:moveTo>
                  <a:pt x="0" y="160731"/>
                </a:moveTo>
                <a:lnTo>
                  <a:pt x="917219" y="160731"/>
                </a:lnTo>
                <a:lnTo>
                  <a:pt x="917219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8" name="object 258"/>
          <p:cNvSpPr/>
          <p:nvPr/>
        </p:nvSpPr>
        <p:spPr>
          <a:xfrm>
            <a:off x="7920228" y="2191944"/>
            <a:ext cx="917219" cy="160731"/>
          </a:xfrm>
          <a:custGeom>
            <a:avLst/>
            <a:gdLst/>
            <a:ahLst/>
            <a:cxnLst/>
            <a:rect l="l" t="t" r="r" b="b"/>
            <a:pathLst>
              <a:path w="917219" h="160731">
                <a:moveTo>
                  <a:pt x="0" y="160731"/>
                </a:moveTo>
                <a:lnTo>
                  <a:pt x="917219" y="160731"/>
                </a:lnTo>
                <a:lnTo>
                  <a:pt x="917219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9" name="object 259"/>
          <p:cNvSpPr/>
          <p:nvPr/>
        </p:nvSpPr>
        <p:spPr>
          <a:xfrm>
            <a:off x="7920228" y="2353869"/>
            <a:ext cx="917219" cy="160731"/>
          </a:xfrm>
          <a:custGeom>
            <a:avLst/>
            <a:gdLst/>
            <a:ahLst/>
            <a:cxnLst/>
            <a:rect l="l" t="t" r="r" b="b"/>
            <a:pathLst>
              <a:path w="917219" h="160731">
                <a:moveTo>
                  <a:pt x="0" y="160731"/>
                </a:moveTo>
                <a:lnTo>
                  <a:pt x="917219" y="160731"/>
                </a:lnTo>
                <a:lnTo>
                  <a:pt x="917219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0" name="object 260"/>
          <p:cNvSpPr/>
          <p:nvPr/>
        </p:nvSpPr>
        <p:spPr>
          <a:xfrm>
            <a:off x="7920228" y="2353869"/>
            <a:ext cx="917219" cy="160731"/>
          </a:xfrm>
          <a:custGeom>
            <a:avLst/>
            <a:gdLst/>
            <a:ahLst/>
            <a:cxnLst/>
            <a:rect l="l" t="t" r="r" b="b"/>
            <a:pathLst>
              <a:path w="917219" h="160731">
                <a:moveTo>
                  <a:pt x="0" y="160731"/>
                </a:moveTo>
                <a:lnTo>
                  <a:pt x="917219" y="160731"/>
                </a:lnTo>
                <a:lnTo>
                  <a:pt x="917219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1" name="object 261"/>
          <p:cNvSpPr/>
          <p:nvPr/>
        </p:nvSpPr>
        <p:spPr>
          <a:xfrm>
            <a:off x="6120131" y="2191944"/>
            <a:ext cx="836968" cy="160731"/>
          </a:xfrm>
          <a:custGeom>
            <a:avLst/>
            <a:gdLst/>
            <a:ahLst/>
            <a:cxnLst/>
            <a:rect l="l" t="t" r="r" b="b"/>
            <a:pathLst>
              <a:path w="836968" h="160731">
                <a:moveTo>
                  <a:pt x="0" y="160731"/>
                </a:moveTo>
                <a:lnTo>
                  <a:pt x="836968" y="160731"/>
                </a:lnTo>
                <a:lnTo>
                  <a:pt x="836968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2" name="object 262"/>
          <p:cNvSpPr/>
          <p:nvPr/>
        </p:nvSpPr>
        <p:spPr>
          <a:xfrm>
            <a:off x="6120131" y="2191944"/>
            <a:ext cx="836968" cy="160731"/>
          </a:xfrm>
          <a:custGeom>
            <a:avLst/>
            <a:gdLst/>
            <a:ahLst/>
            <a:cxnLst/>
            <a:rect l="l" t="t" r="r" b="b"/>
            <a:pathLst>
              <a:path w="836968" h="160731">
                <a:moveTo>
                  <a:pt x="0" y="160731"/>
                </a:moveTo>
                <a:lnTo>
                  <a:pt x="836968" y="160731"/>
                </a:lnTo>
                <a:lnTo>
                  <a:pt x="836968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3" name="object 263"/>
          <p:cNvSpPr/>
          <p:nvPr/>
        </p:nvSpPr>
        <p:spPr>
          <a:xfrm>
            <a:off x="6120131" y="2353869"/>
            <a:ext cx="836968" cy="160731"/>
          </a:xfrm>
          <a:custGeom>
            <a:avLst/>
            <a:gdLst/>
            <a:ahLst/>
            <a:cxnLst/>
            <a:rect l="l" t="t" r="r" b="b"/>
            <a:pathLst>
              <a:path w="836968" h="160731">
                <a:moveTo>
                  <a:pt x="0" y="160731"/>
                </a:moveTo>
                <a:lnTo>
                  <a:pt x="836968" y="160731"/>
                </a:lnTo>
                <a:lnTo>
                  <a:pt x="836968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4" name="object 264"/>
          <p:cNvSpPr/>
          <p:nvPr/>
        </p:nvSpPr>
        <p:spPr>
          <a:xfrm>
            <a:off x="6120131" y="2353869"/>
            <a:ext cx="836968" cy="160731"/>
          </a:xfrm>
          <a:custGeom>
            <a:avLst/>
            <a:gdLst/>
            <a:ahLst/>
            <a:cxnLst/>
            <a:rect l="l" t="t" r="r" b="b"/>
            <a:pathLst>
              <a:path w="836968" h="160731">
                <a:moveTo>
                  <a:pt x="0" y="160731"/>
                </a:moveTo>
                <a:lnTo>
                  <a:pt x="836968" y="160731"/>
                </a:lnTo>
                <a:lnTo>
                  <a:pt x="836968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5" name="object 265"/>
          <p:cNvSpPr/>
          <p:nvPr/>
        </p:nvSpPr>
        <p:spPr>
          <a:xfrm>
            <a:off x="7262114" y="2078864"/>
            <a:ext cx="417322" cy="107187"/>
          </a:xfrm>
          <a:custGeom>
            <a:avLst/>
            <a:gdLst/>
            <a:ahLst/>
            <a:cxnLst/>
            <a:rect l="l" t="t" r="r" b="b"/>
            <a:pathLst>
              <a:path w="417321" h="107187">
                <a:moveTo>
                  <a:pt x="208660" y="107187"/>
                </a:moveTo>
                <a:lnTo>
                  <a:pt x="417321" y="53594"/>
                </a:lnTo>
                <a:lnTo>
                  <a:pt x="314197" y="53594"/>
                </a:lnTo>
                <a:lnTo>
                  <a:pt x="314197" y="0"/>
                </a:lnTo>
                <a:lnTo>
                  <a:pt x="103124" y="0"/>
                </a:lnTo>
                <a:lnTo>
                  <a:pt x="103124" y="53594"/>
                </a:lnTo>
                <a:lnTo>
                  <a:pt x="0" y="53594"/>
                </a:lnTo>
                <a:lnTo>
                  <a:pt x="208660" y="1071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6" name="object 266"/>
          <p:cNvSpPr/>
          <p:nvPr/>
        </p:nvSpPr>
        <p:spPr>
          <a:xfrm>
            <a:off x="6748526" y="1812189"/>
            <a:ext cx="1357502" cy="269087"/>
          </a:xfrm>
          <a:custGeom>
            <a:avLst/>
            <a:gdLst/>
            <a:ahLst/>
            <a:cxnLst/>
            <a:rect l="l" t="t" r="r" b="b"/>
            <a:pathLst>
              <a:path w="1357502" h="269087">
                <a:moveTo>
                  <a:pt x="0" y="269087"/>
                </a:moveTo>
                <a:lnTo>
                  <a:pt x="1357502" y="269087"/>
                </a:lnTo>
                <a:lnTo>
                  <a:pt x="1357502" y="0"/>
                </a:lnTo>
                <a:lnTo>
                  <a:pt x="0" y="0"/>
                </a:lnTo>
                <a:lnTo>
                  <a:pt x="0" y="269087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7" name="object 267"/>
          <p:cNvSpPr/>
          <p:nvPr/>
        </p:nvSpPr>
        <p:spPr>
          <a:xfrm>
            <a:off x="6748526" y="1812189"/>
            <a:ext cx="1357502" cy="269087"/>
          </a:xfrm>
          <a:custGeom>
            <a:avLst/>
            <a:gdLst/>
            <a:ahLst/>
            <a:cxnLst/>
            <a:rect l="l" t="t" r="r" b="b"/>
            <a:pathLst>
              <a:path w="1357502" h="269087">
                <a:moveTo>
                  <a:pt x="0" y="269087"/>
                </a:moveTo>
                <a:lnTo>
                  <a:pt x="1357502" y="269087"/>
                </a:lnTo>
                <a:lnTo>
                  <a:pt x="1357502" y="0"/>
                </a:lnTo>
                <a:lnTo>
                  <a:pt x="0" y="0"/>
                </a:lnTo>
                <a:lnTo>
                  <a:pt x="0" y="26908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8" name="object 268"/>
          <p:cNvSpPr/>
          <p:nvPr/>
        </p:nvSpPr>
        <p:spPr>
          <a:xfrm>
            <a:off x="7262114" y="1708531"/>
            <a:ext cx="417322" cy="97663"/>
          </a:xfrm>
          <a:custGeom>
            <a:avLst/>
            <a:gdLst/>
            <a:ahLst/>
            <a:cxnLst/>
            <a:rect l="l" t="t" r="r" b="b"/>
            <a:pathLst>
              <a:path w="417321" h="97663">
                <a:moveTo>
                  <a:pt x="208660" y="97663"/>
                </a:moveTo>
                <a:lnTo>
                  <a:pt x="417321" y="48768"/>
                </a:lnTo>
                <a:lnTo>
                  <a:pt x="314197" y="48768"/>
                </a:lnTo>
                <a:lnTo>
                  <a:pt x="314197" y="0"/>
                </a:lnTo>
                <a:lnTo>
                  <a:pt x="103124" y="0"/>
                </a:lnTo>
                <a:lnTo>
                  <a:pt x="103124" y="48768"/>
                </a:lnTo>
                <a:lnTo>
                  <a:pt x="0" y="48768"/>
                </a:lnTo>
                <a:lnTo>
                  <a:pt x="208660" y="9766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9" name="object 269"/>
          <p:cNvSpPr/>
          <p:nvPr/>
        </p:nvSpPr>
        <p:spPr>
          <a:xfrm>
            <a:off x="6425185" y="1699005"/>
            <a:ext cx="208661" cy="483362"/>
          </a:xfrm>
          <a:custGeom>
            <a:avLst/>
            <a:gdLst/>
            <a:ahLst/>
            <a:cxnLst/>
            <a:rect l="l" t="t" r="r" b="b"/>
            <a:pathLst>
              <a:path w="208661" h="483362">
                <a:moveTo>
                  <a:pt x="105410" y="483362"/>
                </a:moveTo>
                <a:lnTo>
                  <a:pt x="208661" y="241681"/>
                </a:lnTo>
                <a:lnTo>
                  <a:pt x="155829" y="241681"/>
                </a:lnTo>
                <a:lnTo>
                  <a:pt x="155829" y="0"/>
                </a:lnTo>
                <a:lnTo>
                  <a:pt x="52704" y="0"/>
                </a:lnTo>
                <a:lnTo>
                  <a:pt x="52704" y="241681"/>
                </a:lnTo>
                <a:lnTo>
                  <a:pt x="0" y="241681"/>
                </a:lnTo>
                <a:lnTo>
                  <a:pt x="105410" y="48336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0" name="object 270"/>
          <p:cNvSpPr/>
          <p:nvPr/>
        </p:nvSpPr>
        <p:spPr>
          <a:xfrm>
            <a:off x="8202294" y="1699005"/>
            <a:ext cx="208660" cy="483362"/>
          </a:xfrm>
          <a:custGeom>
            <a:avLst/>
            <a:gdLst/>
            <a:ahLst/>
            <a:cxnLst/>
            <a:rect l="l" t="t" r="r" b="b"/>
            <a:pathLst>
              <a:path w="208660" h="483362">
                <a:moveTo>
                  <a:pt x="105409" y="483362"/>
                </a:moveTo>
                <a:lnTo>
                  <a:pt x="208660" y="241681"/>
                </a:lnTo>
                <a:lnTo>
                  <a:pt x="158241" y="241681"/>
                </a:lnTo>
                <a:lnTo>
                  <a:pt x="158241" y="0"/>
                </a:lnTo>
                <a:lnTo>
                  <a:pt x="52704" y="0"/>
                </a:lnTo>
                <a:lnTo>
                  <a:pt x="52704" y="241681"/>
                </a:lnTo>
                <a:lnTo>
                  <a:pt x="0" y="241681"/>
                </a:lnTo>
                <a:lnTo>
                  <a:pt x="105409" y="48336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1" name="object 271"/>
          <p:cNvSpPr/>
          <p:nvPr/>
        </p:nvSpPr>
        <p:spPr>
          <a:xfrm>
            <a:off x="811746" y="2602699"/>
            <a:ext cx="8782431" cy="216700"/>
          </a:xfrm>
          <a:custGeom>
            <a:avLst/>
            <a:gdLst/>
            <a:ahLst/>
            <a:cxnLst/>
            <a:rect l="l" t="t" r="r" b="b"/>
            <a:pathLst>
              <a:path w="8782431" h="216700">
                <a:moveTo>
                  <a:pt x="0" y="216700"/>
                </a:moveTo>
                <a:lnTo>
                  <a:pt x="8782431" y="216700"/>
                </a:lnTo>
                <a:lnTo>
                  <a:pt x="8782431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2" name="object 272"/>
          <p:cNvSpPr/>
          <p:nvPr/>
        </p:nvSpPr>
        <p:spPr>
          <a:xfrm>
            <a:off x="811746" y="2602699"/>
            <a:ext cx="8782431" cy="216700"/>
          </a:xfrm>
          <a:custGeom>
            <a:avLst/>
            <a:gdLst/>
            <a:ahLst/>
            <a:cxnLst/>
            <a:rect l="l" t="t" r="r" b="b"/>
            <a:pathLst>
              <a:path w="8782431" h="216700">
                <a:moveTo>
                  <a:pt x="0" y="216700"/>
                </a:moveTo>
                <a:lnTo>
                  <a:pt x="8782431" y="216700"/>
                </a:lnTo>
                <a:lnTo>
                  <a:pt x="8782431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3" name="object 273"/>
          <p:cNvSpPr/>
          <p:nvPr/>
        </p:nvSpPr>
        <p:spPr>
          <a:xfrm>
            <a:off x="5354321" y="3180168"/>
            <a:ext cx="1880362" cy="216700"/>
          </a:xfrm>
          <a:custGeom>
            <a:avLst/>
            <a:gdLst/>
            <a:ahLst/>
            <a:cxnLst/>
            <a:rect l="l" t="t" r="r" b="b"/>
            <a:pathLst>
              <a:path w="1880362" h="216700">
                <a:moveTo>
                  <a:pt x="0" y="216700"/>
                </a:moveTo>
                <a:lnTo>
                  <a:pt x="1880362" y="216700"/>
                </a:lnTo>
                <a:lnTo>
                  <a:pt x="1880362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4" name="object 274"/>
          <p:cNvSpPr/>
          <p:nvPr/>
        </p:nvSpPr>
        <p:spPr>
          <a:xfrm>
            <a:off x="5354321" y="3180168"/>
            <a:ext cx="1880362" cy="216700"/>
          </a:xfrm>
          <a:custGeom>
            <a:avLst/>
            <a:gdLst/>
            <a:ahLst/>
            <a:cxnLst/>
            <a:rect l="l" t="t" r="r" b="b"/>
            <a:pathLst>
              <a:path w="1880362" h="216700">
                <a:moveTo>
                  <a:pt x="0" y="216700"/>
                </a:moveTo>
                <a:lnTo>
                  <a:pt x="1880362" y="216700"/>
                </a:lnTo>
                <a:lnTo>
                  <a:pt x="1880362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5" name="object 275"/>
          <p:cNvSpPr/>
          <p:nvPr/>
        </p:nvSpPr>
        <p:spPr>
          <a:xfrm>
            <a:off x="6136259" y="2819401"/>
            <a:ext cx="417322" cy="333755"/>
          </a:xfrm>
          <a:custGeom>
            <a:avLst/>
            <a:gdLst/>
            <a:ahLst/>
            <a:cxnLst/>
            <a:rect l="l" t="t" r="r" b="b"/>
            <a:pathLst>
              <a:path w="417321" h="333755">
                <a:moveTo>
                  <a:pt x="208661" y="333755"/>
                </a:moveTo>
                <a:lnTo>
                  <a:pt x="417321" y="164591"/>
                </a:lnTo>
                <a:lnTo>
                  <a:pt x="314070" y="164591"/>
                </a:lnTo>
                <a:lnTo>
                  <a:pt x="314070" y="0"/>
                </a:lnTo>
                <a:lnTo>
                  <a:pt x="103124" y="0"/>
                </a:lnTo>
                <a:lnTo>
                  <a:pt x="103124" y="164591"/>
                </a:lnTo>
                <a:lnTo>
                  <a:pt x="0" y="164591"/>
                </a:lnTo>
                <a:lnTo>
                  <a:pt x="208661" y="33375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6" name="object 276"/>
          <p:cNvSpPr/>
          <p:nvPr/>
        </p:nvSpPr>
        <p:spPr>
          <a:xfrm>
            <a:off x="7654162" y="3180168"/>
            <a:ext cx="1880362" cy="216700"/>
          </a:xfrm>
          <a:custGeom>
            <a:avLst/>
            <a:gdLst/>
            <a:ahLst/>
            <a:cxnLst/>
            <a:rect l="l" t="t" r="r" b="b"/>
            <a:pathLst>
              <a:path w="1880361" h="216700">
                <a:moveTo>
                  <a:pt x="0" y="216700"/>
                </a:moveTo>
                <a:lnTo>
                  <a:pt x="1880361" y="216700"/>
                </a:lnTo>
                <a:lnTo>
                  <a:pt x="1880361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7" name="object 277"/>
          <p:cNvSpPr/>
          <p:nvPr/>
        </p:nvSpPr>
        <p:spPr>
          <a:xfrm>
            <a:off x="7654162" y="3180168"/>
            <a:ext cx="1880362" cy="216700"/>
          </a:xfrm>
          <a:custGeom>
            <a:avLst/>
            <a:gdLst/>
            <a:ahLst/>
            <a:cxnLst/>
            <a:rect l="l" t="t" r="r" b="b"/>
            <a:pathLst>
              <a:path w="1880361" h="216700">
                <a:moveTo>
                  <a:pt x="0" y="216700"/>
                </a:moveTo>
                <a:lnTo>
                  <a:pt x="1880361" y="216700"/>
                </a:lnTo>
                <a:lnTo>
                  <a:pt x="1880361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8" name="object 278"/>
          <p:cNvSpPr/>
          <p:nvPr/>
        </p:nvSpPr>
        <p:spPr>
          <a:xfrm>
            <a:off x="8436102" y="2819401"/>
            <a:ext cx="417449" cy="333755"/>
          </a:xfrm>
          <a:custGeom>
            <a:avLst/>
            <a:gdLst/>
            <a:ahLst/>
            <a:cxnLst/>
            <a:rect l="l" t="t" r="r" b="b"/>
            <a:pathLst>
              <a:path w="417449" h="333755">
                <a:moveTo>
                  <a:pt x="208661" y="333755"/>
                </a:moveTo>
                <a:lnTo>
                  <a:pt x="417449" y="164591"/>
                </a:lnTo>
                <a:lnTo>
                  <a:pt x="314198" y="164591"/>
                </a:lnTo>
                <a:lnTo>
                  <a:pt x="314198" y="0"/>
                </a:lnTo>
                <a:lnTo>
                  <a:pt x="105537" y="0"/>
                </a:lnTo>
                <a:lnTo>
                  <a:pt x="105537" y="164591"/>
                </a:lnTo>
                <a:lnTo>
                  <a:pt x="0" y="164591"/>
                </a:lnTo>
                <a:lnTo>
                  <a:pt x="208661" y="33375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9" name="object 279"/>
          <p:cNvSpPr/>
          <p:nvPr/>
        </p:nvSpPr>
        <p:spPr>
          <a:xfrm>
            <a:off x="3054350" y="3180168"/>
            <a:ext cx="1880362" cy="216700"/>
          </a:xfrm>
          <a:custGeom>
            <a:avLst/>
            <a:gdLst/>
            <a:ahLst/>
            <a:cxnLst/>
            <a:rect l="l" t="t" r="r" b="b"/>
            <a:pathLst>
              <a:path w="1880362" h="216700">
                <a:moveTo>
                  <a:pt x="0" y="216700"/>
                </a:moveTo>
                <a:lnTo>
                  <a:pt x="1880362" y="216700"/>
                </a:lnTo>
                <a:lnTo>
                  <a:pt x="1880362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0" name="object 280"/>
          <p:cNvSpPr/>
          <p:nvPr/>
        </p:nvSpPr>
        <p:spPr>
          <a:xfrm>
            <a:off x="3054350" y="3180168"/>
            <a:ext cx="1880362" cy="216700"/>
          </a:xfrm>
          <a:custGeom>
            <a:avLst/>
            <a:gdLst/>
            <a:ahLst/>
            <a:cxnLst/>
            <a:rect l="l" t="t" r="r" b="b"/>
            <a:pathLst>
              <a:path w="1880362" h="216700">
                <a:moveTo>
                  <a:pt x="0" y="216700"/>
                </a:moveTo>
                <a:lnTo>
                  <a:pt x="1880362" y="216700"/>
                </a:lnTo>
                <a:lnTo>
                  <a:pt x="1880362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1" name="object 281"/>
          <p:cNvSpPr/>
          <p:nvPr/>
        </p:nvSpPr>
        <p:spPr>
          <a:xfrm>
            <a:off x="3524378" y="3195599"/>
            <a:ext cx="541819" cy="246862"/>
          </a:xfrm>
          <a:custGeom>
            <a:avLst/>
            <a:gdLst/>
            <a:ahLst/>
            <a:cxnLst/>
            <a:rect l="l" t="t" r="r" b="b"/>
            <a:pathLst>
              <a:path w="541820" h="246862">
                <a:moveTo>
                  <a:pt x="0" y="246862"/>
                </a:moveTo>
                <a:lnTo>
                  <a:pt x="541820" y="246862"/>
                </a:lnTo>
                <a:lnTo>
                  <a:pt x="541820" y="0"/>
                </a:lnTo>
                <a:lnTo>
                  <a:pt x="0" y="0"/>
                </a:lnTo>
                <a:lnTo>
                  <a:pt x="0" y="246862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2" name="object 282"/>
          <p:cNvSpPr/>
          <p:nvPr/>
        </p:nvSpPr>
        <p:spPr>
          <a:xfrm>
            <a:off x="3850005" y="3413506"/>
            <a:ext cx="307340" cy="227457"/>
          </a:xfrm>
          <a:custGeom>
            <a:avLst/>
            <a:gdLst/>
            <a:ahLst/>
            <a:cxnLst/>
            <a:rect l="l" t="t" r="r" b="b"/>
            <a:pathLst>
              <a:path w="307340" h="227457">
                <a:moveTo>
                  <a:pt x="153670" y="227457"/>
                </a:moveTo>
                <a:lnTo>
                  <a:pt x="307340" y="113157"/>
                </a:lnTo>
                <a:lnTo>
                  <a:pt x="229362" y="113157"/>
                </a:lnTo>
                <a:lnTo>
                  <a:pt x="229362" y="0"/>
                </a:lnTo>
                <a:lnTo>
                  <a:pt x="77978" y="0"/>
                </a:lnTo>
                <a:lnTo>
                  <a:pt x="77978" y="113157"/>
                </a:lnTo>
                <a:lnTo>
                  <a:pt x="0" y="113157"/>
                </a:lnTo>
                <a:lnTo>
                  <a:pt x="153670" y="227457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3" name="object 283"/>
          <p:cNvSpPr/>
          <p:nvPr/>
        </p:nvSpPr>
        <p:spPr>
          <a:xfrm>
            <a:off x="3850005" y="3413506"/>
            <a:ext cx="307340" cy="227457"/>
          </a:xfrm>
          <a:custGeom>
            <a:avLst/>
            <a:gdLst/>
            <a:ahLst/>
            <a:cxnLst/>
            <a:rect l="l" t="t" r="r" b="b"/>
            <a:pathLst>
              <a:path w="307340" h="227457">
                <a:moveTo>
                  <a:pt x="153670" y="227457"/>
                </a:moveTo>
                <a:lnTo>
                  <a:pt x="307340" y="113157"/>
                </a:lnTo>
                <a:lnTo>
                  <a:pt x="229362" y="113157"/>
                </a:lnTo>
                <a:lnTo>
                  <a:pt x="229362" y="0"/>
                </a:lnTo>
                <a:lnTo>
                  <a:pt x="77978" y="0"/>
                </a:lnTo>
                <a:lnTo>
                  <a:pt x="77978" y="113157"/>
                </a:lnTo>
                <a:lnTo>
                  <a:pt x="0" y="113157"/>
                </a:lnTo>
                <a:lnTo>
                  <a:pt x="153670" y="2274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4" name="object 284"/>
          <p:cNvSpPr/>
          <p:nvPr/>
        </p:nvSpPr>
        <p:spPr>
          <a:xfrm>
            <a:off x="3836290" y="2819401"/>
            <a:ext cx="417322" cy="333755"/>
          </a:xfrm>
          <a:custGeom>
            <a:avLst/>
            <a:gdLst/>
            <a:ahLst/>
            <a:cxnLst/>
            <a:rect l="l" t="t" r="r" b="b"/>
            <a:pathLst>
              <a:path w="417322" h="333755">
                <a:moveTo>
                  <a:pt x="208661" y="333755"/>
                </a:moveTo>
                <a:lnTo>
                  <a:pt x="417322" y="164591"/>
                </a:lnTo>
                <a:lnTo>
                  <a:pt x="314198" y="164591"/>
                </a:lnTo>
                <a:lnTo>
                  <a:pt x="314198" y="0"/>
                </a:lnTo>
                <a:lnTo>
                  <a:pt x="103124" y="0"/>
                </a:lnTo>
                <a:lnTo>
                  <a:pt x="103124" y="164591"/>
                </a:lnTo>
                <a:lnTo>
                  <a:pt x="0" y="164591"/>
                </a:lnTo>
                <a:lnTo>
                  <a:pt x="208661" y="33375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5" name="object 285"/>
          <p:cNvSpPr/>
          <p:nvPr/>
        </p:nvSpPr>
        <p:spPr>
          <a:xfrm>
            <a:off x="752119" y="3180168"/>
            <a:ext cx="1882648" cy="216700"/>
          </a:xfrm>
          <a:custGeom>
            <a:avLst/>
            <a:gdLst/>
            <a:ahLst/>
            <a:cxnLst/>
            <a:rect l="l" t="t" r="r" b="b"/>
            <a:pathLst>
              <a:path w="1882648" h="216700">
                <a:moveTo>
                  <a:pt x="0" y="216700"/>
                </a:moveTo>
                <a:lnTo>
                  <a:pt x="1882648" y="216700"/>
                </a:lnTo>
                <a:lnTo>
                  <a:pt x="1882648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6" name="object 286"/>
          <p:cNvSpPr/>
          <p:nvPr/>
        </p:nvSpPr>
        <p:spPr>
          <a:xfrm>
            <a:off x="752119" y="3180168"/>
            <a:ext cx="1882648" cy="216700"/>
          </a:xfrm>
          <a:custGeom>
            <a:avLst/>
            <a:gdLst/>
            <a:ahLst/>
            <a:cxnLst/>
            <a:rect l="l" t="t" r="r" b="b"/>
            <a:pathLst>
              <a:path w="1882648" h="216700">
                <a:moveTo>
                  <a:pt x="0" y="216700"/>
                </a:moveTo>
                <a:lnTo>
                  <a:pt x="1882648" y="216700"/>
                </a:lnTo>
                <a:lnTo>
                  <a:pt x="1882648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7" name="object 287"/>
          <p:cNvSpPr/>
          <p:nvPr/>
        </p:nvSpPr>
        <p:spPr>
          <a:xfrm>
            <a:off x="1536319" y="2819401"/>
            <a:ext cx="417322" cy="333755"/>
          </a:xfrm>
          <a:custGeom>
            <a:avLst/>
            <a:gdLst/>
            <a:ahLst/>
            <a:cxnLst/>
            <a:rect l="l" t="t" r="r" b="b"/>
            <a:pathLst>
              <a:path w="417322" h="333755">
                <a:moveTo>
                  <a:pt x="208661" y="333755"/>
                </a:moveTo>
                <a:lnTo>
                  <a:pt x="417322" y="164591"/>
                </a:lnTo>
                <a:lnTo>
                  <a:pt x="311912" y="164591"/>
                </a:lnTo>
                <a:lnTo>
                  <a:pt x="311912" y="0"/>
                </a:lnTo>
                <a:lnTo>
                  <a:pt x="103250" y="0"/>
                </a:lnTo>
                <a:lnTo>
                  <a:pt x="103250" y="164591"/>
                </a:lnTo>
                <a:lnTo>
                  <a:pt x="0" y="164591"/>
                </a:lnTo>
                <a:lnTo>
                  <a:pt x="208661" y="33375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8" name="object 288"/>
          <p:cNvSpPr/>
          <p:nvPr/>
        </p:nvSpPr>
        <p:spPr>
          <a:xfrm>
            <a:off x="7264400" y="2514600"/>
            <a:ext cx="417322" cy="227837"/>
          </a:xfrm>
          <a:custGeom>
            <a:avLst/>
            <a:gdLst/>
            <a:ahLst/>
            <a:cxnLst/>
            <a:rect l="l" t="t" r="r" b="b"/>
            <a:pathLst>
              <a:path w="417322" h="227837">
                <a:moveTo>
                  <a:pt x="208660" y="227837"/>
                </a:moveTo>
                <a:lnTo>
                  <a:pt x="417322" y="114680"/>
                </a:lnTo>
                <a:lnTo>
                  <a:pt x="314198" y="114680"/>
                </a:lnTo>
                <a:lnTo>
                  <a:pt x="314198" y="0"/>
                </a:lnTo>
                <a:lnTo>
                  <a:pt x="103250" y="0"/>
                </a:lnTo>
                <a:lnTo>
                  <a:pt x="103250" y="114680"/>
                </a:lnTo>
                <a:lnTo>
                  <a:pt x="0" y="114680"/>
                </a:lnTo>
                <a:lnTo>
                  <a:pt x="208660" y="22783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9" name="object 289"/>
          <p:cNvSpPr/>
          <p:nvPr/>
        </p:nvSpPr>
        <p:spPr>
          <a:xfrm>
            <a:off x="1664716" y="1134224"/>
            <a:ext cx="3024505" cy="277634"/>
          </a:xfrm>
          <a:custGeom>
            <a:avLst/>
            <a:gdLst/>
            <a:ahLst/>
            <a:cxnLst/>
            <a:rect l="l" t="t" r="r" b="b"/>
            <a:pathLst>
              <a:path w="3024505" h="277634">
                <a:moveTo>
                  <a:pt x="0" y="277634"/>
                </a:moveTo>
                <a:lnTo>
                  <a:pt x="3024505" y="277634"/>
                </a:lnTo>
                <a:lnTo>
                  <a:pt x="3024505" y="0"/>
                </a:lnTo>
                <a:lnTo>
                  <a:pt x="0" y="0"/>
                </a:lnTo>
                <a:lnTo>
                  <a:pt x="0" y="277634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0" name="object 290"/>
          <p:cNvSpPr/>
          <p:nvPr/>
        </p:nvSpPr>
        <p:spPr>
          <a:xfrm>
            <a:off x="1660145" y="1715223"/>
            <a:ext cx="3201161" cy="646976"/>
          </a:xfrm>
          <a:custGeom>
            <a:avLst/>
            <a:gdLst/>
            <a:ahLst/>
            <a:cxnLst/>
            <a:rect l="l" t="t" r="r" b="b"/>
            <a:pathLst>
              <a:path w="3201161" h="646976">
                <a:moveTo>
                  <a:pt x="0" y="646976"/>
                </a:moveTo>
                <a:lnTo>
                  <a:pt x="3201161" y="646976"/>
                </a:lnTo>
                <a:lnTo>
                  <a:pt x="3201161" y="0"/>
                </a:lnTo>
                <a:lnTo>
                  <a:pt x="0" y="0"/>
                </a:lnTo>
                <a:lnTo>
                  <a:pt x="0" y="646976"/>
                </a:lnTo>
                <a:close/>
              </a:path>
            </a:pathLst>
          </a:custGeom>
          <a:ln w="2539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1" name="object 291"/>
          <p:cNvSpPr/>
          <p:nvPr/>
        </p:nvSpPr>
        <p:spPr>
          <a:xfrm>
            <a:off x="1286385" y="3205124"/>
            <a:ext cx="541819" cy="246862"/>
          </a:xfrm>
          <a:custGeom>
            <a:avLst/>
            <a:gdLst/>
            <a:ahLst/>
            <a:cxnLst/>
            <a:rect l="l" t="t" r="r" b="b"/>
            <a:pathLst>
              <a:path w="541820" h="246862">
                <a:moveTo>
                  <a:pt x="0" y="246862"/>
                </a:moveTo>
                <a:lnTo>
                  <a:pt x="541820" y="246862"/>
                </a:lnTo>
                <a:lnTo>
                  <a:pt x="541820" y="0"/>
                </a:lnTo>
                <a:lnTo>
                  <a:pt x="0" y="0"/>
                </a:lnTo>
                <a:lnTo>
                  <a:pt x="0" y="246862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2" name="object 292"/>
          <p:cNvSpPr/>
          <p:nvPr/>
        </p:nvSpPr>
        <p:spPr>
          <a:xfrm>
            <a:off x="2925954" y="4014755"/>
            <a:ext cx="2100453" cy="126206"/>
          </a:xfrm>
          <a:custGeom>
            <a:avLst/>
            <a:gdLst/>
            <a:ahLst/>
            <a:cxnLst/>
            <a:rect l="l" t="t" r="r" b="b"/>
            <a:pathLst>
              <a:path w="2100453" h="126206">
                <a:moveTo>
                  <a:pt x="0" y="126206"/>
                </a:moveTo>
                <a:lnTo>
                  <a:pt x="2100453" y="126206"/>
                </a:lnTo>
                <a:lnTo>
                  <a:pt x="2100453" y="0"/>
                </a:lnTo>
                <a:lnTo>
                  <a:pt x="0" y="0"/>
                </a:lnTo>
                <a:lnTo>
                  <a:pt x="0" y="126206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3" name="object 293"/>
          <p:cNvSpPr/>
          <p:nvPr/>
        </p:nvSpPr>
        <p:spPr>
          <a:xfrm>
            <a:off x="2925954" y="4014755"/>
            <a:ext cx="2100453" cy="126206"/>
          </a:xfrm>
          <a:custGeom>
            <a:avLst/>
            <a:gdLst/>
            <a:ahLst/>
            <a:cxnLst/>
            <a:rect l="l" t="t" r="r" b="b"/>
            <a:pathLst>
              <a:path w="2100453" h="126206">
                <a:moveTo>
                  <a:pt x="0" y="126206"/>
                </a:moveTo>
                <a:lnTo>
                  <a:pt x="2100453" y="126206"/>
                </a:lnTo>
                <a:lnTo>
                  <a:pt x="2100453" y="0"/>
                </a:lnTo>
                <a:lnTo>
                  <a:pt x="0" y="0"/>
                </a:lnTo>
                <a:lnTo>
                  <a:pt x="0" y="126206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4" name="object 294"/>
          <p:cNvSpPr/>
          <p:nvPr/>
        </p:nvSpPr>
        <p:spPr>
          <a:xfrm>
            <a:off x="4031489" y="4175505"/>
            <a:ext cx="332231" cy="0"/>
          </a:xfrm>
          <a:custGeom>
            <a:avLst/>
            <a:gdLst/>
            <a:ahLst/>
            <a:cxnLst/>
            <a:rect l="l" t="t" r="r" b="b"/>
            <a:pathLst>
              <a:path w="332232">
                <a:moveTo>
                  <a:pt x="0" y="0"/>
                </a:moveTo>
                <a:lnTo>
                  <a:pt x="332232" y="0"/>
                </a:lnTo>
              </a:path>
            </a:pathLst>
          </a:custGeom>
          <a:ln w="889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5" name="object 295"/>
          <p:cNvSpPr/>
          <p:nvPr/>
        </p:nvSpPr>
        <p:spPr>
          <a:xfrm>
            <a:off x="2900680" y="3900551"/>
            <a:ext cx="2134871" cy="2286"/>
          </a:xfrm>
          <a:custGeom>
            <a:avLst/>
            <a:gdLst/>
            <a:ahLst/>
            <a:cxnLst/>
            <a:rect l="l" t="t" r="r" b="b"/>
            <a:pathLst>
              <a:path w="2134870" h="2286">
                <a:moveTo>
                  <a:pt x="0" y="2286"/>
                </a:moveTo>
                <a:lnTo>
                  <a:pt x="213487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6" name="object 296"/>
          <p:cNvSpPr/>
          <p:nvPr/>
        </p:nvSpPr>
        <p:spPr>
          <a:xfrm>
            <a:off x="2909951" y="4442207"/>
            <a:ext cx="2116454" cy="1143"/>
          </a:xfrm>
          <a:custGeom>
            <a:avLst/>
            <a:gdLst/>
            <a:ahLst/>
            <a:cxnLst/>
            <a:rect l="l" t="t" r="r" b="b"/>
            <a:pathLst>
              <a:path w="2116454" h="1143">
                <a:moveTo>
                  <a:pt x="0" y="0"/>
                </a:moveTo>
                <a:lnTo>
                  <a:pt x="2116454" y="11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7" name="object 297"/>
          <p:cNvSpPr/>
          <p:nvPr/>
        </p:nvSpPr>
        <p:spPr>
          <a:xfrm>
            <a:off x="3480815" y="3895726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6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8" name="object 298"/>
          <p:cNvSpPr/>
          <p:nvPr/>
        </p:nvSpPr>
        <p:spPr>
          <a:xfrm>
            <a:off x="4040378" y="3902838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9" name="object 299"/>
          <p:cNvSpPr/>
          <p:nvPr/>
        </p:nvSpPr>
        <p:spPr>
          <a:xfrm>
            <a:off x="2930526" y="3658743"/>
            <a:ext cx="2091309" cy="208406"/>
          </a:xfrm>
          <a:custGeom>
            <a:avLst/>
            <a:gdLst/>
            <a:ahLst/>
            <a:cxnLst/>
            <a:rect l="l" t="t" r="r" b="b"/>
            <a:pathLst>
              <a:path w="2091309" h="208406">
                <a:moveTo>
                  <a:pt x="0" y="104266"/>
                </a:moveTo>
                <a:lnTo>
                  <a:pt x="30387" y="79228"/>
                </a:lnTo>
                <a:lnTo>
                  <a:pt x="82167" y="63704"/>
                </a:lnTo>
                <a:lnTo>
                  <a:pt x="116706" y="56374"/>
                </a:lnTo>
                <a:lnTo>
                  <a:pt x="156652" y="49367"/>
                </a:lnTo>
                <a:lnTo>
                  <a:pt x="201736" y="42711"/>
                </a:lnTo>
                <a:lnTo>
                  <a:pt x="251690" y="36433"/>
                </a:lnTo>
                <a:lnTo>
                  <a:pt x="306244" y="30559"/>
                </a:lnTo>
                <a:lnTo>
                  <a:pt x="365129" y="25116"/>
                </a:lnTo>
                <a:lnTo>
                  <a:pt x="428076" y="20133"/>
                </a:lnTo>
                <a:lnTo>
                  <a:pt x="494816" y="15634"/>
                </a:lnTo>
                <a:lnTo>
                  <a:pt x="565079" y="11648"/>
                </a:lnTo>
                <a:lnTo>
                  <a:pt x="638597" y="8201"/>
                </a:lnTo>
                <a:lnTo>
                  <a:pt x="715101" y="5320"/>
                </a:lnTo>
                <a:lnTo>
                  <a:pt x="794321" y="3033"/>
                </a:lnTo>
                <a:lnTo>
                  <a:pt x="875989" y="1366"/>
                </a:lnTo>
                <a:lnTo>
                  <a:pt x="959835" y="346"/>
                </a:lnTo>
                <a:lnTo>
                  <a:pt x="1045590" y="0"/>
                </a:lnTo>
                <a:lnTo>
                  <a:pt x="1131347" y="346"/>
                </a:lnTo>
                <a:lnTo>
                  <a:pt x="1215196" y="1366"/>
                </a:lnTo>
                <a:lnTo>
                  <a:pt x="1296867" y="3033"/>
                </a:lnTo>
                <a:lnTo>
                  <a:pt x="1376093" y="5320"/>
                </a:lnTo>
                <a:lnTo>
                  <a:pt x="1452604" y="8201"/>
                </a:lnTo>
                <a:lnTo>
                  <a:pt x="1526129" y="11648"/>
                </a:lnTo>
                <a:lnTo>
                  <a:pt x="1596401" y="15634"/>
                </a:lnTo>
                <a:lnTo>
                  <a:pt x="1663150" y="20133"/>
                </a:lnTo>
                <a:lnTo>
                  <a:pt x="1726106" y="25116"/>
                </a:lnTo>
                <a:lnTo>
                  <a:pt x="1785000" y="30559"/>
                </a:lnTo>
                <a:lnTo>
                  <a:pt x="1839564" y="36433"/>
                </a:lnTo>
                <a:lnTo>
                  <a:pt x="1889527" y="42711"/>
                </a:lnTo>
                <a:lnTo>
                  <a:pt x="1934620" y="49367"/>
                </a:lnTo>
                <a:lnTo>
                  <a:pt x="1974575" y="56374"/>
                </a:lnTo>
                <a:lnTo>
                  <a:pt x="2009122" y="63704"/>
                </a:lnTo>
                <a:lnTo>
                  <a:pt x="2060913" y="79228"/>
                </a:lnTo>
                <a:lnTo>
                  <a:pt x="2091309" y="104266"/>
                </a:lnTo>
                <a:lnTo>
                  <a:pt x="2087842" y="112810"/>
                </a:lnTo>
                <a:lnTo>
                  <a:pt x="2077620" y="121162"/>
                </a:lnTo>
                <a:lnTo>
                  <a:pt x="2037991" y="137189"/>
                </a:lnTo>
                <a:lnTo>
                  <a:pt x="1974575" y="152132"/>
                </a:lnTo>
                <a:lnTo>
                  <a:pt x="1934620" y="159130"/>
                </a:lnTo>
                <a:lnTo>
                  <a:pt x="1889527" y="165777"/>
                </a:lnTo>
                <a:lnTo>
                  <a:pt x="1839564" y="172046"/>
                </a:lnTo>
                <a:lnTo>
                  <a:pt x="1785000" y="177911"/>
                </a:lnTo>
                <a:lnTo>
                  <a:pt x="1726106" y="183344"/>
                </a:lnTo>
                <a:lnTo>
                  <a:pt x="1663150" y="188318"/>
                </a:lnTo>
                <a:lnTo>
                  <a:pt x="1596401" y="192808"/>
                </a:lnTo>
                <a:lnTo>
                  <a:pt x="1526129" y="196786"/>
                </a:lnTo>
                <a:lnTo>
                  <a:pt x="1452604" y="200225"/>
                </a:lnTo>
                <a:lnTo>
                  <a:pt x="1376093" y="203099"/>
                </a:lnTo>
                <a:lnTo>
                  <a:pt x="1296867" y="205381"/>
                </a:lnTo>
                <a:lnTo>
                  <a:pt x="1215196" y="207044"/>
                </a:lnTo>
                <a:lnTo>
                  <a:pt x="1131347" y="208061"/>
                </a:lnTo>
                <a:lnTo>
                  <a:pt x="1045590" y="208406"/>
                </a:lnTo>
                <a:lnTo>
                  <a:pt x="959835" y="208061"/>
                </a:lnTo>
                <a:lnTo>
                  <a:pt x="875989" y="207044"/>
                </a:lnTo>
                <a:lnTo>
                  <a:pt x="794321" y="205381"/>
                </a:lnTo>
                <a:lnTo>
                  <a:pt x="715101" y="203099"/>
                </a:lnTo>
                <a:lnTo>
                  <a:pt x="638597" y="200225"/>
                </a:lnTo>
                <a:lnTo>
                  <a:pt x="565079" y="196786"/>
                </a:lnTo>
                <a:lnTo>
                  <a:pt x="494816" y="192808"/>
                </a:lnTo>
                <a:lnTo>
                  <a:pt x="428076" y="188318"/>
                </a:lnTo>
                <a:lnTo>
                  <a:pt x="365129" y="183344"/>
                </a:lnTo>
                <a:lnTo>
                  <a:pt x="306244" y="177911"/>
                </a:lnTo>
                <a:lnTo>
                  <a:pt x="251690" y="172046"/>
                </a:lnTo>
                <a:lnTo>
                  <a:pt x="201736" y="165777"/>
                </a:lnTo>
                <a:lnTo>
                  <a:pt x="156652" y="159130"/>
                </a:lnTo>
                <a:lnTo>
                  <a:pt x="116706" y="152132"/>
                </a:lnTo>
                <a:lnTo>
                  <a:pt x="82167" y="144809"/>
                </a:lnTo>
                <a:lnTo>
                  <a:pt x="53304" y="137189"/>
                </a:lnTo>
                <a:lnTo>
                  <a:pt x="13684" y="121162"/>
                </a:lnTo>
                <a:lnTo>
                  <a:pt x="0" y="10426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0" name="object 300"/>
          <p:cNvSpPr/>
          <p:nvPr/>
        </p:nvSpPr>
        <p:spPr>
          <a:xfrm>
            <a:off x="3934843" y="4432681"/>
            <a:ext cx="1100708" cy="109600"/>
          </a:xfrm>
          <a:custGeom>
            <a:avLst/>
            <a:gdLst/>
            <a:ahLst/>
            <a:cxnLst/>
            <a:rect l="l" t="t" r="r" b="b"/>
            <a:pathLst>
              <a:path w="1100709" h="109600">
                <a:moveTo>
                  <a:pt x="1100709" y="0"/>
                </a:moveTo>
                <a:lnTo>
                  <a:pt x="1068722" y="26312"/>
                </a:lnTo>
                <a:lnTo>
                  <a:pt x="1014216" y="42628"/>
                </a:lnTo>
                <a:lnTo>
                  <a:pt x="977858" y="50333"/>
                </a:lnTo>
                <a:lnTo>
                  <a:pt x="935808" y="57698"/>
                </a:lnTo>
                <a:lnTo>
                  <a:pt x="888348" y="64694"/>
                </a:lnTo>
                <a:lnTo>
                  <a:pt x="835763" y="71294"/>
                </a:lnTo>
                <a:lnTo>
                  <a:pt x="778335" y="77470"/>
                </a:lnTo>
                <a:lnTo>
                  <a:pt x="716347" y="83191"/>
                </a:lnTo>
                <a:lnTo>
                  <a:pt x="650083" y="88431"/>
                </a:lnTo>
                <a:lnTo>
                  <a:pt x="579826" y="93161"/>
                </a:lnTo>
                <a:lnTo>
                  <a:pt x="505858" y="97352"/>
                </a:lnTo>
                <a:lnTo>
                  <a:pt x="428464" y="100976"/>
                </a:lnTo>
                <a:lnTo>
                  <a:pt x="347926" y="104005"/>
                </a:lnTo>
                <a:lnTo>
                  <a:pt x="264527" y="106411"/>
                </a:lnTo>
                <a:lnTo>
                  <a:pt x="178551" y="108164"/>
                </a:lnTo>
                <a:lnTo>
                  <a:pt x="90281" y="109237"/>
                </a:lnTo>
                <a:lnTo>
                  <a:pt x="0" y="10960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1" name="object 301"/>
          <p:cNvSpPr/>
          <p:nvPr/>
        </p:nvSpPr>
        <p:spPr>
          <a:xfrm>
            <a:off x="2923667" y="4432681"/>
            <a:ext cx="1100708" cy="109600"/>
          </a:xfrm>
          <a:custGeom>
            <a:avLst/>
            <a:gdLst/>
            <a:ahLst/>
            <a:cxnLst/>
            <a:rect l="l" t="t" r="r" b="b"/>
            <a:pathLst>
              <a:path w="1100708" h="109600">
                <a:moveTo>
                  <a:pt x="1100708" y="109601"/>
                </a:moveTo>
                <a:lnTo>
                  <a:pt x="1010427" y="109237"/>
                </a:lnTo>
                <a:lnTo>
                  <a:pt x="922157" y="108164"/>
                </a:lnTo>
                <a:lnTo>
                  <a:pt x="836181" y="106411"/>
                </a:lnTo>
                <a:lnTo>
                  <a:pt x="752782" y="104005"/>
                </a:lnTo>
                <a:lnTo>
                  <a:pt x="672244" y="100976"/>
                </a:lnTo>
                <a:lnTo>
                  <a:pt x="594850" y="97352"/>
                </a:lnTo>
                <a:lnTo>
                  <a:pt x="520882" y="93161"/>
                </a:lnTo>
                <a:lnTo>
                  <a:pt x="450625" y="88431"/>
                </a:lnTo>
                <a:lnTo>
                  <a:pt x="384361" y="83191"/>
                </a:lnTo>
                <a:lnTo>
                  <a:pt x="322373" y="77470"/>
                </a:lnTo>
                <a:lnTo>
                  <a:pt x="264945" y="71294"/>
                </a:lnTo>
                <a:lnTo>
                  <a:pt x="212360" y="64694"/>
                </a:lnTo>
                <a:lnTo>
                  <a:pt x="164900" y="57698"/>
                </a:lnTo>
                <a:lnTo>
                  <a:pt x="122850" y="50333"/>
                </a:lnTo>
                <a:lnTo>
                  <a:pt x="86492" y="42628"/>
                </a:lnTo>
                <a:lnTo>
                  <a:pt x="31986" y="26312"/>
                </a:lnTo>
                <a:lnTo>
                  <a:pt x="3648" y="8978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2" name="object 302"/>
          <p:cNvSpPr/>
          <p:nvPr/>
        </p:nvSpPr>
        <p:spPr>
          <a:xfrm>
            <a:off x="2921381" y="3758820"/>
            <a:ext cx="0" cy="683387"/>
          </a:xfrm>
          <a:custGeom>
            <a:avLst/>
            <a:gdLst/>
            <a:ahLst/>
            <a:cxnLst/>
            <a:rect l="l" t="t" r="r" b="b"/>
            <a:pathLst>
              <a:path h="683387">
                <a:moveTo>
                  <a:pt x="0" y="0"/>
                </a:moveTo>
                <a:lnTo>
                  <a:pt x="0" y="68338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3" name="object 303"/>
          <p:cNvSpPr/>
          <p:nvPr/>
        </p:nvSpPr>
        <p:spPr>
          <a:xfrm>
            <a:off x="5040122" y="3775456"/>
            <a:ext cx="0" cy="684657"/>
          </a:xfrm>
          <a:custGeom>
            <a:avLst/>
            <a:gdLst/>
            <a:ahLst/>
            <a:cxnLst/>
            <a:rect l="l" t="t" r="r" b="b"/>
            <a:pathLst>
              <a:path h="684656">
                <a:moveTo>
                  <a:pt x="0" y="0"/>
                </a:moveTo>
                <a:lnTo>
                  <a:pt x="0" y="6846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4" name="object 304"/>
          <p:cNvSpPr/>
          <p:nvPr/>
        </p:nvSpPr>
        <p:spPr>
          <a:xfrm>
            <a:off x="781939" y="4222020"/>
            <a:ext cx="1825244" cy="97631"/>
          </a:xfrm>
          <a:custGeom>
            <a:avLst/>
            <a:gdLst/>
            <a:ahLst/>
            <a:cxnLst/>
            <a:rect l="l" t="t" r="r" b="b"/>
            <a:pathLst>
              <a:path w="1825244" h="97631">
                <a:moveTo>
                  <a:pt x="0" y="97631"/>
                </a:moveTo>
                <a:lnTo>
                  <a:pt x="1825244" y="97631"/>
                </a:lnTo>
                <a:lnTo>
                  <a:pt x="1825244" y="0"/>
                </a:lnTo>
                <a:lnTo>
                  <a:pt x="0" y="0"/>
                </a:lnTo>
                <a:lnTo>
                  <a:pt x="0" y="976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5" name="object 305"/>
          <p:cNvSpPr/>
          <p:nvPr/>
        </p:nvSpPr>
        <p:spPr>
          <a:xfrm>
            <a:off x="781939" y="4222020"/>
            <a:ext cx="1825244" cy="97631"/>
          </a:xfrm>
          <a:custGeom>
            <a:avLst/>
            <a:gdLst/>
            <a:ahLst/>
            <a:cxnLst/>
            <a:rect l="l" t="t" r="r" b="b"/>
            <a:pathLst>
              <a:path w="1825244" h="97631">
                <a:moveTo>
                  <a:pt x="0" y="97631"/>
                </a:moveTo>
                <a:lnTo>
                  <a:pt x="1825244" y="97631"/>
                </a:lnTo>
                <a:lnTo>
                  <a:pt x="1825244" y="0"/>
                </a:lnTo>
                <a:lnTo>
                  <a:pt x="0" y="0"/>
                </a:lnTo>
                <a:lnTo>
                  <a:pt x="0" y="97631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6" name="object 306"/>
          <p:cNvSpPr/>
          <p:nvPr/>
        </p:nvSpPr>
        <p:spPr>
          <a:xfrm>
            <a:off x="763588" y="3895725"/>
            <a:ext cx="1884870" cy="0"/>
          </a:xfrm>
          <a:custGeom>
            <a:avLst/>
            <a:gdLst/>
            <a:ahLst/>
            <a:cxnLst/>
            <a:rect l="l" t="t" r="r" b="b"/>
            <a:pathLst>
              <a:path w="1884870">
                <a:moveTo>
                  <a:pt x="0" y="0"/>
                </a:moveTo>
                <a:lnTo>
                  <a:pt x="188487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7" name="object 307"/>
          <p:cNvSpPr/>
          <p:nvPr/>
        </p:nvSpPr>
        <p:spPr>
          <a:xfrm>
            <a:off x="786522" y="4011168"/>
            <a:ext cx="1845932" cy="3556"/>
          </a:xfrm>
          <a:custGeom>
            <a:avLst/>
            <a:gdLst/>
            <a:ahLst/>
            <a:cxnLst/>
            <a:rect l="l" t="t" r="r" b="b"/>
            <a:pathLst>
              <a:path w="1845932" h="3555">
                <a:moveTo>
                  <a:pt x="0" y="0"/>
                </a:moveTo>
                <a:lnTo>
                  <a:pt x="1845932" y="355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8" name="object 308"/>
          <p:cNvSpPr/>
          <p:nvPr/>
        </p:nvSpPr>
        <p:spPr>
          <a:xfrm>
            <a:off x="775056" y="4435094"/>
            <a:ext cx="1884832" cy="0"/>
          </a:xfrm>
          <a:custGeom>
            <a:avLst/>
            <a:gdLst/>
            <a:ahLst/>
            <a:cxnLst/>
            <a:rect l="l" t="t" r="r" b="b"/>
            <a:pathLst>
              <a:path w="1884832">
                <a:moveTo>
                  <a:pt x="0" y="0"/>
                </a:moveTo>
                <a:lnTo>
                  <a:pt x="1884832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9" name="object 309"/>
          <p:cNvSpPr/>
          <p:nvPr/>
        </p:nvSpPr>
        <p:spPr>
          <a:xfrm>
            <a:off x="770469" y="3895725"/>
            <a:ext cx="4584" cy="538226"/>
          </a:xfrm>
          <a:custGeom>
            <a:avLst/>
            <a:gdLst/>
            <a:ahLst/>
            <a:cxnLst/>
            <a:rect l="l" t="t" r="r" b="b"/>
            <a:pathLst>
              <a:path w="4584" h="538226">
                <a:moveTo>
                  <a:pt x="4584" y="0"/>
                </a:moveTo>
                <a:lnTo>
                  <a:pt x="0" y="538226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0" name="object 310"/>
          <p:cNvSpPr/>
          <p:nvPr/>
        </p:nvSpPr>
        <p:spPr>
          <a:xfrm>
            <a:off x="1485900" y="3895725"/>
            <a:ext cx="0" cy="538226"/>
          </a:xfrm>
          <a:custGeom>
            <a:avLst/>
            <a:gdLst/>
            <a:ahLst/>
            <a:cxnLst/>
            <a:rect l="l" t="t" r="r" b="b"/>
            <a:pathLst>
              <a:path h="538226">
                <a:moveTo>
                  <a:pt x="0" y="0"/>
                </a:moveTo>
                <a:lnTo>
                  <a:pt x="0" y="53822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1" name="object 311"/>
          <p:cNvSpPr/>
          <p:nvPr/>
        </p:nvSpPr>
        <p:spPr>
          <a:xfrm>
            <a:off x="2079752" y="3905251"/>
            <a:ext cx="2286" cy="538226"/>
          </a:xfrm>
          <a:custGeom>
            <a:avLst/>
            <a:gdLst/>
            <a:ahLst/>
            <a:cxnLst/>
            <a:rect l="l" t="t" r="r" b="b"/>
            <a:pathLst>
              <a:path w="2286" h="538226">
                <a:moveTo>
                  <a:pt x="0" y="0"/>
                </a:moveTo>
                <a:lnTo>
                  <a:pt x="2286" y="53822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2" name="object 312"/>
          <p:cNvSpPr/>
          <p:nvPr/>
        </p:nvSpPr>
        <p:spPr>
          <a:xfrm>
            <a:off x="2641599" y="3890899"/>
            <a:ext cx="4573" cy="533400"/>
          </a:xfrm>
          <a:custGeom>
            <a:avLst/>
            <a:gdLst/>
            <a:ahLst/>
            <a:cxnLst/>
            <a:rect l="l" t="t" r="r" b="b"/>
            <a:pathLst>
              <a:path w="4572" h="533400">
                <a:moveTo>
                  <a:pt x="4572" y="0"/>
                </a:moveTo>
                <a:lnTo>
                  <a:pt x="0" y="533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3" name="object 313"/>
          <p:cNvSpPr/>
          <p:nvPr/>
        </p:nvSpPr>
        <p:spPr>
          <a:xfrm>
            <a:off x="630593" y="3658743"/>
            <a:ext cx="2088984" cy="208406"/>
          </a:xfrm>
          <a:custGeom>
            <a:avLst/>
            <a:gdLst/>
            <a:ahLst/>
            <a:cxnLst/>
            <a:rect l="l" t="t" r="r" b="b"/>
            <a:pathLst>
              <a:path w="2088984" h="208406">
                <a:moveTo>
                  <a:pt x="0" y="104266"/>
                </a:moveTo>
                <a:lnTo>
                  <a:pt x="30356" y="79228"/>
                </a:lnTo>
                <a:lnTo>
                  <a:pt x="82082" y="63704"/>
                </a:lnTo>
                <a:lnTo>
                  <a:pt x="116586" y="56374"/>
                </a:lnTo>
                <a:lnTo>
                  <a:pt x="156491" y="49367"/>
                </a:lnTo>
                <a:lnTo>
                  <a:pt x="201530" y="42711"/>
                </a:lnTo>
                <a:lnTo>
                  <a:pt x="251433" y="36433"/>
                </a:lnTo>
                <a:lnTo>
                  <a:pt x="305931" y="30559"/>
                </a:lnTo>
                <a:lnTo>
                  <a:pt x="364757" y="25116"/>
                </a:lnTo>
                <a:lnTo>
                  <a:pt x="427640" y="20133"/>
                </a:lnTo>
                <a:lnTo>
                  <a:pt x="494312" y="15634"/>
                </a:lnTo>
                <a:lnTo>
                  <a:pt x="564505" y="11648"/>
                </a:lnTo>
                <a:lnTo>
                  <a:pt x="637949" y="8201"/>
                </a:lnTo>
                <a:lnTo>
                  <a:pt x="714376" y="5320"/>
                </a:lnTo>
                <a:lnTo>
                  <a:pt x="793517" y="3033"/>
                </a:lnTo>
                <a:lnTo>
                  <a:pt x="875103" y="1366"/>
                </a:lnTo>
                <a:lnTo>
                  <a:pt x="958866" y="346"/>
                </a:lnTo>
                <a:lnTo>
                  <a:pt x="1044536" y="0"/>
                </a:lnTo>
                <a:lnTo>
                  <a:pt x="1130198" y="346"/>
                </a:lnTo>
                <a:lnTo>
                  <a:pt x="1213952" y="1366"/>
                </a:lnTo>
                <a:lnTo>
                  <a:pt x="1295530" y="3033"/>
                </a:lnTo>
                <a:lnTo>
                  <a:pt x="1374663" y="5320"/>
                </a:lnTo>
                <a:lnTo>
                  <a:pt x="1451083" y="8201"/>
                </a:lnTo>
                <a:lnTo>
                  <a:pt x="1524521" y="11648"/>
                </a:lnTo>
                <a:lnTo>
                  <a:pt x="1594708" y="15634"/>
                </a:lnTo>
                <a:lnTo>
                  <a:pt x="1661374" y="20133"/>
                </a:lnTo>
                <a:lnTo>
                  <a:pt x="1724252" y="25116"/>
                </a:lnTo>
                <a:lnTo>
                  <a:pt x="1783073" y="30559"/>
                </a:lnTo>
                <a:lnTo>
                  <a:pt x="1837568" y="36433"/>
                </a:lnTo>
                <a:lnTo>
                  <a:pt x="1887467" y="42711"/>
                </a:lnTo>
                <a:lnTo>
                  <a:pt x="1932502" y="49367"/>
                </a:lnTo>
                <a:lnTo>
                  <a:pt x="1972405" y="56374"/>
                </a:lnTo>
                <a:lnTo>
                  <a:pt x="2006907" y="63704"/>
                </a:lnTo>
                <a:lnTo>
                  <a:pt x="2058630" y="79228"/>
                </a:lnTo>
                <a:lnTo>
                  <a:pt x="2088984" y="104266"/>
                </a:lnTo>
                <a:lnTo>
                  <a:pt x="2085522" y="112810"/>
                </a:lnTo>
                <a:lnTo>
                  <a:pt x="2075314" y="121162"/>
                </a:lnTo>
                <a:lnTo>
                  <a:pt x="2035738" y="137189"/>
                </a:lnTo>
                <a:lnTo>
                  <a:pt x="1972405" y="152132"/>
                </a:lnTo>
                <a:lnTo>
                  <a:pt x="1932502" y="159130"/>
                </a:lnTo>
                <a:lnTo>
                  <a:pt x="1887467" y="165777"/>
                </a:lnTo>
                <a:lnTo>
                  <a:pt x="1837568" y="172046"/>
                </a:lnTo>
                <a:lnTo>
                  <a:pt x="1783073" y="177911"/>
                </a:lnTo>
                <a:lnTo>
                  <a:pt x="1724252" y="183344"/>
                </a:lnTo>
                <a:lnTo>
                  <a:pt x="1661374" y="188318"/>
                </a:lnTo>
                <a:lnTo>
                  <a:pt x="1594708" y="192808"/>
                </a:lnTo>
                <a:lnTo>
                  <a:pt x="1524521" y="196786"/>
                </a:lnTo>
                <a:lnTo>
                  <a:pt x="1451083" y="200225"/>
                </a:lnTo>
                <a:lnTo>
                  <a:pt x="1374663" y="203099"/>
                </a:lnTo>
                <a:lnTo>
                  <a:pt x="1295530" y="205381"/>
                </a:lnTo>
                <a:lnTo>
                  <a:pt x="1213952" y="207044"/>
                </a:lnTo>
                <a:lnTo>
                  <a:pt x="1130198" y="208061"/>
                </a:lnTo>
                <a:lnTo>
                  <a:pt x="1044536" y="208406"/>
                </a:lnTo>
                <a:lnTo>
                  <a:pt x="958864" y="208061"/>
                </a:lnTo>
                <a:lnTo>
                  <a:pt x="875100" y="207044"/>
                </a:lnTo>
                <a:lnTo>
                  <a:pt x="793513" y="205381"/>
                </a:lnTo>
                <a:lnTo>
                  <a:pt x="714371" y="203099"/>
                </a:lnTo>
                <a:lnTo>
                  <a:pt x="637944" y="200225"/>
                </a:lnTo>
                <a:lnTo>
                  <a:pt x="564499" y="196786"/>
                </a:lnTo>
                <a:lnTo>
                  <a:pt x="494306" y="192808"/>
                </a:lnTo>
                <a:lnTo>
                  <a:pt x="427634" y="188318"/>
                </a:lnTo>
                <a:lnTo>
                  <a:pt x="364751" y="183344"/>
                </a:lnTo>
                <a:lnTo>
                  <a:pt x="305927" y="177911"/>
                </a:lnTo>
                <a:lnTo>
                  <a:pt x="251429" y="172046"/>
                </a:lnTo>
                <a:lnTo>
                  <a:pt x="201526" y="165777"/>
                </a:lnTo>
                <a:lnTo>
                  <a:pt x="156488" y="159130"/>
                </a:lnTo>
                <a:lnTo>
                  <a:pt x="116583" y="152132"/>
                </a:lnTo>
                <a:lnTo>
                  <a:pt x="82080" y="144809"/>
                </a:lnTo>
                <a:lnTo>
                  <a:pt x="53248" y="137189"/>
                </a:lnTo>
                <a:lnTo>
                  <a:pt x="13670" y="121162"/>
                </a:lnTo>
                <a:lnTo>
                  <a:pt x="0" y="104266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4" name="object 314"/>
          <p:cNvSpPr/>
          <p:nvPr/>
        </p:nvSpPr>
        <p:spPr>
          <a:xfrm>
            <a:off x="1634998" y="4432681"/>
            <a:ext cx="1100582" cy="109600"/>
          </a:xfrm>
          <a:custGeom>
            <a:avLst/>
            <a:gdLst/>
            <a:ahLst/>
            <a:cxnLst/>
            <a:rect l="l" t="t" r="r" b="b"/>
            <a:pathLst>
              <a:path w="1100582" h="109600">
                <a:moveTo>
                  <a:pt x="1100582" y="0"/>
                </a:moveTo>
                <a:lnTo>
                  <a:pt x="1068595" y="26312"/>
                </a:lnTo>
                <a:lnTo>
                  <a:pt x="1014091" y="42628"/>
                </a:lnTo>
                <a:lnTo>
                  <a:pt x="977734" y="50333"/>
                </a:lnTo>
                <a:lnTo>
                  <a:pt x="935686" y="57698"/>
                </a:lnTo>
                <a:lnTo>
                  <a:pt x="888229" y="64694"/>
                </a:lnTo>
                <a:lnTo>
                  <a:pt x="835648" y="71294"/>
                </a:lnTo>
                <a:lnTo>
                  <a:pt x="778224" y="77470"/>
                </a:lnTo>
                <a:lnTo>
                  <a:pt x="716241" y="83191"/>
                </a:lnTo>
                <a:lnTo>
                  <a:pt x="649983" y="88431"/>
                </a:lnTo>
                <a:lnTo>
                  <a:pt x="579734" y="93161"/>
                </a:lnTo>
                <a:lnTo>
                  <a:pt x="505775" y="97352"/>
                </a:lnTo>
                <a:lnTo>
                  <a:pt x="428390" y="100976"/>
                </a:lnTo>
                <a:lnTo>
                  <a:pt x="347864" y="104005"/>
                </a:lnTo>
                <a:lnTo>
                  <a:pt x="264478" y="106411"/>
                </a:lnTo>
                <a:lnTo>
                  <a:pt x="178517" y="108164"/>
                </a:lnTo>
                <a:lnTo>
                  <a:pt x="90263" y="109237"/>
                </a:lnTo>
                <a:lnTo>
                  <a:pt x="0" y="10960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5" name="object 315"/>
          <p:cNvSpPr/>
          <p:nvPr/>
        </p:nvSpPr>
        <p:spPr>
          <a:xfrm>
            <a:off x="623710" y="4432681"/>
            <a:ext cx="1100695" cy="109600"/>
          </a:xfrm>
          <a:custGeom>
            <a:avLst/>
            <a:gdLst/>
            <a:ahLst/>
            <a:cxnLst/>
            <a:rect l="l" t="t" r="r" b="b"/>
            <a:pathLst>
              <a:path w="1100696" h="109600">
                <a:moveTo>
                  <a:pt x="1100696" y="109601"/>
                </a:moveTo>
                <a:lnTo>
                  <a:pt x="1010416" y="109237"/>
                </a:lnTo>
                <a:lnTo>
                  <a:pt x="922148" y="108164"/>
                </a:lnTo>
                <a:lnTo>
                  <a:pt x="836173" y="106411"/>
                </a:lnTo>
                <a:lnTo>
                  <a:pt x="752776" y="104005"/>
                </a:lnTo>
                <a:lnTo>
                  <a:pt x="672239" y="100976"/>
                </a:lnTo>
                <a:lnTo>
                  <a:pt x="594845" y="97352"/>
                </a:lnTo>
                <a:lnTo>
                  <a:pt x="520879" y="93161"/>
                </a:lnTo>
                <a:lnTo>
                  <a:pt x="450622" y="88431"/>
                </a:lnTo>
                <a:lnTo>
                  <a:pt x="384359" y="83191"/>
                </a:lnTo>
                <a:lnTo>
                  <a:pt x="322372" y="77470"/>
                </a:lnTo>
                <a:lnTo>
                  <a:pt x="264944" y="71294"/>
                </a:lnTo>
                <a:lnTo>
                  <a:pt x="212359" y="64694"/>
                </a:lnTo>
                <a:lnTo>
                  <a:pt x="164900" y="57698"/>
                </a:lnTo>
                <a:lnTo>
                  <a:pt x="122850" y="50333"/>
                </a:lnTo>
                <a:lnTo>
                  <a:pt x="86492" y="42628"/>
                </a:lnTo>
                <a:lnTo>
                  <a:pt x="31986" y="26312"/>
                </a:lnTo>
                <a:lnTo>
                  <a:pt x="3648" y="8978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6" name="object 316"/>
          <p:cNvSpPr/>
          <p:nvPr/>
        </p:nvSpPr>
        <p:spPr>
          <a:xfrm>
            <a:off x="621423" y="3758820"/>
            <a:ext cx="0" cy="683387"/>
          </a:xfrm>
          <a:custGeom>
            <a:avLst/>
            <a:gdLst/>
            <a:ahLst/>
            <a:cxnLst/>
            <a:rect l="l" t="t" r="r" b="b"/>
            <a:pathLst>
              <a:path h="683387">
                <a:moveTo>
                  <a:pt x="0" y="0"/>
                </a:moveTo>
                <a:lnTo>
                  <a:pt x="0" y="68338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7" name="object 317"/>
          <p:cNvSpPr/>
          <p:nvPr/>
        </p:nvSpPr>
        <p:spPr>
          <a:xfrm>
            <a:off x="2712720" y="3761231"/>
            <a:ext cx="0" cy="684530"/>
          </a:xfrm>
          <a:custGeom>
            <a:avLst/>
            <a:gdLst/>
            <a:ahLst/>
            <a:cxnLst/>
            <a:rect l="l" t="t" r="r" b="b"/>
            <a:pathLst>
              <a:path h="684529">
                <a:moveTo>
                  <a:pt x="0" y="0"/>
                </a:moveTo>
                <a:lnTo>
                  <a:pt x="0" y="68453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8" name="object 318"/>
          <p:cNvSpPr/>
          <p:nvPr/>
        </p:nvSpPr>
        <p:spPr>
          <a:xfrm>
            <a:off x="1538606" y="3413506"/>
            <a:ext cx="307339" cy="227457"/>
          </a:xfrm>
          <a:custGeom>
            <a:avLst/>
            <a:gdLst/>
            <a:ahLst/>
            <a:cxnLst/>
            <a:rect l="l" t="t" r="r" b="b"/>
            <a:pathLst>
              <a:path w="307339" h="227457">
                <a:moveTo>
                  <a:pt x="153669" y="227457"/>
                </a:moveTo>
                <a:lnTo>
                  <a:pt x="307339" y="113157"/>
                </a:lnTo>
                <a:lnTo>
                  <a:pt x="229362" y="113157"/>
                </a:lnTo>
                <a:lnTo>
                  <a:pt x="229362" y="0"/>
                </a:lnTo>
                <a:lnTo>
                  <a:pt x="77978" y="0"/>
                </a:lnTo>
                <a:lnTo>
                  <a:pt x="77978" y="113157"/>
                </a:lnTo>
                <a:lnTo>
                  <a:pt x="0" y="113157"/>
                </a:lnTo>
                <a:lnTo>
                  <a:pt x="153669" y="227457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9" name="object 319"/>
          <p:cNvSpPr/>
          <p:nvPr/>
        </p:nvSpPr>
        <p:spPr>
          <a:xfrm>
            <a:off x="1538606" y="3413506"/>
            <a:ext cx="307339" cy="227457"/>
          </a:xfrm>
          <a:custGeom>
            <a:avLst/>
            <a:gdLst/>
            <a:ahLst/>
            <a:cxnLst/>
            <a:rect l="l" t="t" r="r" b="b"/>
            <a:pathLst>
              <a:path w="307339" h="227457">
                <a:moveTo>
                  <a:pt x="153669" y="227457"/>
                </a:moveTo>
                <a:lnTo>
                  <a:pt x="307339" y="113157"/>
                </a:lnTo>
                <a:lnTo>
                  <a:pt x="229362" y="113157"/>
                </a:lnTo>
                <a:lnTo>
                  <a:pt x="229362" y="0"/>
                </a:lnTo>
                <a:lnTo>
                  <a:pt x="77978" y="0"/>
                </a:lnTo>
                <a:lnTo>
                  <a:pt x="77978" y="113157"/>
                </a:lnTo>
                <a:lnTo>
                  <a:pt x="0" y="113157"/>
                </a:lnTo>
                <a:lnTo>
                  <a:pt x="153669" y="2274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0" name="object 320"/>
          <p:cNvSpPr/>
          <p:nvPr/>
        </p:nvSpPr>
        <p:spPr>
          <a:xfrm>
            <a:off x="5482717" y="3881501"/>
            <a:ext cx="1884934" cy="0"/>
          </a:xfrm>
          <a:custGeom>
            <a:avLst/>
            <a:gdLst/>
            <a:ahLst/>
            <a:cxnLst/>
            <a:rect l="l" t="t" r="r" b="b"/>
            <a:pathLst>
              <a:path w="1884934">
                <a:moveTo>
                  <a:pt x="0" y="0"/>
                </a:moveTo>
                <a:lnTo>
                  <a:pt x="1884934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1" name="object 321"/>
          <p:cNvSpPr/>
          <p:nvPr/>
        </p:nvSpPr>
        <p:spPr>
          <a:xfrm>
            <a:off x="5505577" y="3995802"/>
            <a:ext cx="1843658" cy="1143"/>
          </a:xfrm>
          <a:custGeom>
            <a:avLst/>
            <a:gdLst/>
            <a:ahLst/>
            <a:cxnLst/>
            <a:rect l="l" t="t" r="r" b="b"/>
            <a:pathLst>
              <a:path w="1843658" h="1143">
                <a:moveTo>
                  <a:pt x="0" y="1143"/>
                </a:moveTo>
                <a:lnTo>
                  <a:pt x="184365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2" name="object 322"/>
          <p:cNvSpPr/>
          <p:nvPr/>
        </p:nvSpPr>
        <p:spPr>
          <a:xfrm>
            <a:off x="5494148" y="4420743"/>
            <a:ext cx="1884933" cy="0"/>
          </a:xfrm>
          <a:custGeom>
            <a:avLst/>
            <a:gdLst/>
            <a:ahLst/>
            <a:cxnLst/>
            <a:rect l="l" t="t" r="r" b="b"/>
            <a:pathLst>
              <a:path w="1884933">
                <a:moveTo>
                  <a:pt x="0" y="0"/>
                </a:moveTo>
                <a:lnTo>
                  <a:pt x="188493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3" name="object 323"/>
          <p:cNvSpPr/>
          <p:nvPr/>
        </p:nvSpPr>
        <p:spPr>
          <a:xfrm>
            <a:off x="5494147" y="3881501"/>
            <a:ext cx="0" cy="551180"/>
          </a:xfrm>
          <a:custGeom>
            <a:avLst/>
            <a:gdLst/>
            <a:ahLst/>
            <a:cxnLst/>
            <a:rect l="l" t="t" r="r" b="b"/>
            <a:pathLst>
              <a:path h="551179">
                <a:moveTo>
                  <a:pt x="0" y="0"/>
                </a:moveTo>
                <a:lnTo>
                  <a:pt x="0" y="55118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4" name="object 324"/>
          <p:cNvSpPr/>
          <p:nvPr/>
        </p:nvSpPr>
        <p:spPr>
          <a:xfrm>
            <a:off x="6204967" y="3881501"/>
            <a:ext cx="0" cy="551180"/>
          </a:xfrm>
          <a:custGeom>
            <a:avLst/>
            <a:gdLst/>
            <a:ahLst/>
            <a:cxnLst/>
            <a:rect l="l" t="t" r="r" b="b"/>
            <a:pathLst>
              <a:path h="551179">
                <a:moveTo>
                  <a:pt x="0" y="0"/>
                </a:moveTo>
                <a:lnTo>
                  <a:pt x="0" y="55118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5" name="object 325"/>
          <p:cNvSpPr/>
          <p:nvPr/>
        </p:nvSpPr>
        <p:spPr>
          <a:xfrm>
            <a:off x="6757669" y="3881501"/>
            <a:ext cx="4573" cy="535686"/>
          </a:xfrm>
          <a:custGeom>
            <a:avLst/>
            <a:gdLst/>
            <a:ahLst/>
            <a:cxnLst/>
            <a:rect l="l" t="t" r="r" b="b"/>
            <a:pathLst>
              <a:path w="4572" h="535686">
                <a:moveTo>
                  <a:pt x="4572" y="0"/>
                </a:moveTo>
                <a:lnTo>
                  <a:pt x="0" y="53568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6" name="object 326"/>
          <p:cNvSpPr/>
          <p:nvPr/>
        </p:nvSpPr>
        <p:spPr>
          <a:xfrm>
            <a:off x="7356094" y="3881501"/>
            <a:ext cx="0" cy="551180"/>
          </a:xfrm>
          <a:custGeom>
            <a:avLst/>
            <a:gdLst/>
            <a:ahLst/>
            <a:cxnLst/>
            <a:rect l="l" t="t" r="r" b="b"/>
            <a:pathLst>
              <a:path h="551179">
                <a:moveTo>
                  <a:pt x="0" y="0"/>
                </a:moveTo>
                <a:lnTo>
                  <a:pt x="0" y="55118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7" name="object 327"/>
          <p:cNvSpPr/>
          <p:nvPr/>
        </p:nvSpPr>
        <p:spPr>
          <a:xfrm>
            <a:off x="5349749" y="3644519"/>
            <a:ext cx="2088895" cy="208406"/>
          </a:xfrm>
          <a:custGeom>
            <a:avLst/>
            <a:gdLst/>
            <a:ahLst/>
            <a:cxnLst/>
            <a:rect l="l" t="t" r="r" b="b"/>
            <a:pathLst>
              <a:path w="2088896" h="208406">
                <a:moveTo>
                  <a:pt x="0" y="104139"/>
                </a:moveTo>
                <a:lnTo>
                  <a:pt x="30354" y="79108"/>
                </a:lnTo>
                <a:lnTo>
                  <a:pt x="82077" y="63597"/>
                </a:lnTo>
                <a:lnTo>
                  <a:pt x="116579" y="56274"/>
                </a:lnTo>
                <a:lnTo>
                  <a:pt x="156482" y="49276"/>
                </a:lnTo>
                <a:lnTo>
                  <a:pt x="201517" y="42629"/>
                </a:lnTo>
                <a:lnTo>
                  <a:pt x="251416" y="36360"/>
                </a:lnTo>
                <a:lnTo>
                  <a:pt x="305911" y="30495"/>
                </a:lnTo>
                <a:lnTo>
                  <a:pt x="364731" y="25062"/>
                </a:lnTo>
                <a:lnTo>
                  <a:pt x="427610" y="20088"/>
                </a:lnTo>
                <a:lnTo>
                  <a:pt x="494276" y="15598"/>
                </a:lnTo>
                <a:lnTo>
                  <a:pt x="564463" y="11620"/>
                </a:lnTo>
                <a:lnTo>
                  <a:pt x="637901" y="8181"/>
                </a:lnTo>
                <a:lnTo>
                  <a:pt x="714321" y="5307"/>
                </a:lnTo>
                <a:lnTo>
                  <a:pt x="793454" y="3025"/>
                </a:lnTo>
                <a:lnTo>
                  <a:pt x="875032" y="1362"/>
                </a:lnTo>
                <a:lnTo>
                  <a:pt x="958786" y="345"/>
                </a:lnTo>
                <a:lnTo>
                  <a:pt x="1044448" y="0"/>
                </a:lnTo>
                <a:lnTo>
                  <a:pt x="1130109" y="345"/>
                </a:lnTo>
                <a:lnTo>
                  <a:pt x="1213863" y="1362"/>
                </a:lnTo>
                <a:lnTo>
                  <a:pt x="1295441" y="3025"/>
                </a:lnTo>
                <a:lnTo>
                  <a:pt x="1374574" y="5307"/>
                </a:lnTo>
                <a:lnTo>
                  <a:pt x="1450994" y="8181"/>
                </a:lnTo>
                <a:lnTo>
                  <a:pt x="1524432" y="11620"/>
                </a:lnTo>
                <a:lnTo>
                  <a:pt x="1594619" y="15598"/>
                </a:lnTo>
                <a:lnTo>
                  <a:pt x="1661285" y="20088"/>
                </a:lnTo>
                <a:lnTo>
                  <a:pt x="1724164" y="25062"/>
                </a:lnTo>
                <a:lnTo>
                  <a:pt x="1782984" y="30495"/>
                </a:lnTo>
                <a:lnTo>
                  <a:pt x="1837479" y="36360"/>
                </a:lnTo>
                <a:lnTo>
                  <a:pt x="1887378" y="42629"/>
                </a:lnTo>
                <a:lnTo>
                  <a:pt x="1932413" y="49276"/>
                </a:lnTo>
                <a:lnTo>
                  <a:pt x="1972316" y="56274"/>
                </a:lnTo>
                <a:lnTo>
                  <a:pt x="2006818" y="63597"/>
                </a:lnTo>
                <a:lnTo>
                  <a:pt x="2058541" y="79108"/>
                </a:lnTo>
                <a:lnTo>
                  <a:pt x="2088896" y="104139"/>
                </a:lnTo>
                <a:lnTo>
                  <a:pt x="2085433" y="112684"/>
                </a:lnTo>
                <a:lnTo>
                  <a:pt x="2075225" y="121039"/>
                </a:lnTo>
                <a:lnTo>
                  <a:pt x="2035649" y="137075"/>
                </a:lnTo>
                <a:lnTo>
                  <a:pt x="1972316" y="152032"/>
                </a:lnTo>
                <a:lnTo>
                  <a:pt x="1932413" y="159039"/>
                </a:lnTo>
                <a:lnTo>
                  <a:pt x="1887378" y="165695"/>
                </a:lnTo>
                <a:lnTo>
                  <a:pt x="1837479" y="171973"/>
                </a:lnTo>
                <a:lnTo>
                  <a:pt x="1782984" y="177847"/>
                </a:lnTo>
                <a:lnTo>
                  <a:pt x="1724164" y="183290"/>
                </a:lnTo>
                <a:lnTo>
                  <a:pt x="1661285" y="188273"/>
                </a:lnTo>
                <a:lnTo>
                  <a:pt x="1594619" y="192772"/>
                </a:lnTo>
                <a:lnTo>
                  <a:pt x="1524432" y="196758"/>
                </a:lnTo>
                <a:lnTo>
                  <a:pt x="1450994" y="200205"/>
                </a:lnTo>
                <a:lnTo>
                  <a:pt x="1374574" y="203086"/>
                </a:lnTo>
                <a:lnTo>
                  <a:pt x="1295441" y="205373"/>
                </a:lnTo>
                <a:lnTo>
                  <a:pt x="1213863" y="207040"/>
                </a:lnTo>
                <a:lnTo>
                  <a:pt x="1130109" y="208060"/>
                </a:lnTo>
                <a:lnTo>
                  <a:pt x="1044448" y="208406"/>
                </a:lnTo>
                <a:lnTo>
                  <a:pt x="958786" y="208060"/>
                </a:lnTo>
                <a:lnTo>
                  <a:pt x="875032" y="207040"/>
                </a:lnTo>
                <a:lnTo>
                  <a:pt x="793454" y="205373"/>
                </a:lnTo>
                <a:lnTo>
                  <a:pt x="714321" y="203086"/>
                </a:lnTo>
                <a:lnTo>
                  <a:pt x="637901" y="200205"/>
                </a:lnTo>
                <a:lnTo>
                  <a:pt x="564463" y="196758"/>
                </a:lnTo>
                <a:lnTo>
                  <a:pt x="494276" y="192772"/>
                </a:lnTo>
                <a:lnTo>
                  <a:pt x="427610" y="188273"/>
                </a:lnTo>
                <a:lnTo>
                  <a:pt x="364731" y="183290"/>
                </a:lnTo>
                <a:lnTo>
                  <a:pt x="305911" y="177847"/>
                </a:lnTo>
                <a:lnTo>
                  <a:pt x="251416" y="171973"/>
                </a:lnTo>
                <a:lnTo>
                  <a:pt x="201517" y="165695"/>
                </a:lnTo>
                <a:lnTo>
                  <a:pt x="156482" y="159039"/>
                </a:lnTo>
                <a:lnTo>
                  <a:pt x="116579" y="152032"/>
                </a:lnTo>
                <a:lnTo>
                  <a:pt x="82077" y="144702"/>
                </a:lnTo>
                <a:lnTo>
                  <a:pt x="53246" y="137075"/>
                </a:lnTo>
                <a:lnTo>
                  <a:pt x="13670" y="121039"/>
                </a:lnTo>
                <a:lnTo>
                  <a:pt x="0" y="104139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8" name="object 328"/>
          <p:cNvSpPr/>
          <p:nvPr/>
        </p:nvSpPr>
        <p:spPr>
          <a:xfrm>
            <a:off x="6354065" y="4418457"/>
            <a:ext cx="1100708" cy="109474"/>
          </a:xfrm>
          <a:custGeom>
            <a:avLst/>
            <a:gdLst/>
            <a:ahLst/>
            <a:cxnLst/>
            <a:rect l="l" t="t" r="r" b="b"/>
            <a:pathLst>
              <a:path w="1100709" h="109474">
                <a:moveTo>
                  <a:pt x="1100709" y="0"/>
                </a:moveTo>
                <a:lnTo>
                  <a:pt x="1068714" y="26305"/>
                </a:lnTo>
                <a:lnTo>
                  <a:pt x="1014198" y="42608"/>
                </a:lnTo>
                <a:lnTo>
                  <a:pt x="977834" y="50305"/>
                </a:lnTo>
                <a:lnTo>
                  <a:pt x="935777" y="57662"/>
                </a:lnTo>
                <a:lnTo>
                  <a:pt x="888312" y="64650"/>
                </a:lnTo>
                <a:lnTo>
                  <a:pt x="835721" y="71240"/>
                </a:lnTo>
                <a:lnTo>
                  <a:pt x="778287" y="77406"/>
                </a:lnTo>
                <a:lnTo>
                  <a:pt x="716295" y="83118"/>
                </a:lnTo>
                <a:lnTo>
                  <a:pt x="650028" y="88349"/>
                </a:lnTo>
                <a:lnTo>
                  <a:pt x="579769" y="93070"/>
                </a:lnTo>
                <a:lnTo>
                  <a:pt x="505802" y="97253"/>
                </a:lnTo>
                <a:lnTo>
                  <a:pt x="428410" y="100869"/>
                </a:lnTo>
                <a:lnTo>
                  <a:pt x="347877" y="103892"/>
                </a:lnTo>
                <a:lnTo>
                  <a:pt x="264486" y="106291"/>
                </a:lnTo>
                <a:lnTo>
                  <a:pt x="178520" y="108040"/>
                </a:lnTo>
                <a:lnTo>
                  <a:pt x="90264" y="109111"/>
                </a:lnTo>
                <a:lnTo>
                  <a:pt x="0" y="10947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9" name="object 329"/>
          <p:cNvSpPr/>
          <p:nvPr/>
        </p:nvSpPr>
        <p:spPr>
          <a:xfrm>
            <a:off x="5342764" y="4418457"/>
            <a:ext cx="1100708" cy="109474"/>
          </a:xfrm>
          <a:custGeom>
            <a:avLst/>
            <a:gdLst/>
            <a:ahLst/>
            <a:cxnLst/>
            <a:rect l="l" t="t" r="r" b="b"/>
            <a:pathLst>
              <a:path w="1100709" h="109474">
                <a:moveTo>
                  <a:pt x="1100709" y="109474"/>
                </a:moveTo>
                <a:lnTo>
                  <a:pt x="1010427" y="109111"/>
                </a:lnTo>
                <a:lnTo>
                  <a:pt x="922157" y="108040"/>
                </a:lnTo>
                <a:lnTo>
                  <a:pt x="836181" y="106291"/>
                </a:lnTo>
                <a:lnTo>
                  <a:pt x="752782" y="103892"/>
                </a:lnTo>
                <a:lnTo>
                  <a:pt x="672244" y="100869"/>
                </a:lnTo>
                <a:lnTo>
                  <a:pt x="594850" y="97253"/>
                </a:lnTo>
                <a:lnTo>
                  <a:pt x="520882" y="93070"/>
                </a:lnTo>
                <a:lnTo>
                  <a:pt x="450625" y="88349"/>
                </a:lnTo>
                <a:lnTo>
                  <a:pt x="384361" y="83118"/>
                </a:lnTo>
                <a:lnTo>
                  <a:pt x="322373" y="77406"/>
                </a:lnTo>
                <a:lnTo>
                  <a:pt x="264945" y="71240"/>
                </a:lnTo>
                <a:lnTo>
                  <a:pt x="212360" y="64650"/>
                </a:lnTo>
                <a:lnTo>
                  <a:pt x="164900" y="57662"/>
                </a:lnTo>
                <a:lnTo>
                  <a:pt x="122850" y="50305"/>
                </a:lnTo>
                <a:lnTo>
                  <a:pt x="86492" y="42608"/>
                </a:lnTo>
                <a:lnTo>
                  <a:pt x="31986" y="26305"/>
                </a:lnTo>
                <a:lnTo>
                  <a:pt x="3648" y="8977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0" name="object 330"/>
          <p:cNvSpPr/>
          <p:nvPr/>
        </p:nvSpPr>
        <p:spPr>
          <a:xfrm>
            <a:off x="5340477" y="3744469"/>
            <a:ext cx="0" cy="683513"/>
          </a:xfrm>
          <a:custGeom>
            <a:avLst/>
            <a:gdLst/>
            <a:ahLst/>
            <a:cxnLst/>
            <a:rect l="l" t="t" r="r" b="b"/>
            <a:pathLst>
              <a:path h="683513">
                <a:moveTo>
                  <a:pt x="0" y="0"/>
                </a:moveTo>
                <a:lnTo>
                  <a:pt x="0" y="68351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1" name="object 331"/>
          <p:cNvSpPr/>
          <p:nvPr/>
        </p:nvSpPr>
        <p:spPr>
          <a:xfrm>
            <a:off x="7431785" y="3746880"/>
            <a:ext cx="0" cy="684657"/>
          </a:xfrm>
          <a:custGeom>
            <a:avLst/>
            <a:gdLst/>
            <a:ahLst/>
            <a:cxnLst/>
            <a:rect l="l" t="t" r="r" b="b"/>
            <a:pathLst>
              <a:path h="684656">
                <a:moveTo>
                  <a:pt x="0" y="0"/>
                </a:moveTo>
                <a:lnTo>
                  <a:pt x="0" y="6846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2" name="object 332"/>
          <p:cNvSpPr/>
          <p:nvPr/>
        </p:nvSpPr>
        <p:spPr>
          <a:xfrm>
            <a:off x="6202680" y="3413506"/>
            <a:ext cx="307340" cy="227457"/>
          </a:xfrm>
          <a:custGeom>
            <a:avLst/>
            <a:gdLst/>
            <a:ahLst/>
            <a:cxnLst/>
            <a:rect l="l" t="t" r="r" b="b"/>
            <a:pathLst>
              <a:path w="307340" h="227457">
                <a:moveTo>
                  <a:pt x="153670" y="227457"/>
                </a:moveTo>
                <a:lnTo>
                  <a:pt x="307340" y="113157"/>
                </a:lnTo>
                <a:lnTo>
                  <a:pt x="229362" y="113157"/>
                </a:lnTo>
                <a:lnTo>
                  <a:pt x="229362" y="0"/>
                </a:lnTo>
                <a:lnTo>
                  <a:pt x="77978" y="0"/>
                </a:lnTo>
                <a:lnTo>
                  <a:pt x="77978" y="113157"/>
                </a:lnTo>
                <a:lnTo>
                  <a:pt x="0" y="113157"/>
                </a:lnTo>
                <a:lnTo>
                  <a:pt x="153670" y="227457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3" name="object 333"/>
          <p:cNvSpPr/>
          <p:nvPr/>
        </p:nvSpPr>
        <p:spPr>
          <a:xfrm>
            <a:off x="6202680" y="3413506"/>
            <a:ext cx="307340" cy="227457"/>
          </a:xfrm>
          <a:custGeom>
            <a:avLst/>
            <a:gdLst/>
            <a:ahLst/>
            <a:cxnLst/>
            <a:rect l="l" t="t" r="r" b="b"/>
            <a:pathLst>
              <a:path w="307340" h="227457">
                <a:moveTo>
                  <a:pt x="153670" y="227457"/>
                </a:moveTo>
                <a:lnTo>
                  <a:pt x="307340" y="113157"/>
                </a:lnTo>
                <a:lnTo>
                  <a:pt x="229362" y="113157"/>
                </a:lnTo>
                <a:lnTo>
                  <a:pt x="229362" y="0"/>
                </a:lnTo>
                <a:lnTo>
                  <a:pt x="77978" y="0"/>
                </a:lnTo>
                <a:lnTo>
                  <a:pt x="77978" y="113157"/>
                </a:lnTo>
                <a:lnTo>
                  <a:pt x="0" y="113157"/>
                </a:lnTo>
                <a:lnTo>
                  <a:pt x="153670" y="2274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4" name="object 334"/>
          <p:cNvSpPr/>
          <p:nvPr/>
        </p:nvSpPr>
        <p:spPr>
          <a:xfrm>
            <a:off x="7780401" y="3881501"/>
            <a:ext cx="1884806" cy="0"/>
          </a:xfrm>
          <a:custGeom>
            <a:avLst/>
            <a:gdLst/>
            <a:ahLst/>
            <a:cxnLst/>
            <a:rect l="l" t="t" r="r" b="b"/>
            <a:pathLst>
              <a:path w="1884806">
                <a:moveTo>
                  <a:pt x="0" y="0"/>
                </a:moveTo>
                <a:lnTo>
                  <a:pt x="1884806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5" name="object 335"/>
          <p:cNvSpPr/>
          <p:nvPr/>
        </p:nvSpPr>
        <p:spPr>
          <a:xfrm>
            <a:off x="7803261" y="3995802"/>
            <a:ext cx="1843659" cy="1143"/>
          </a:xfrm>
          <a:custGeom>
            <a:avLst/>
            <a:gdLst/>
            <a:ahLst/>
            <a:cxnLst/>
            <a:rect l="l" t="t" r="r" b="b"/>
            <a:pathLst>
              <a:path w="1843659" h="1143">
                <a:moveTo>
                  <a:pt x="0" y="1143"/>
                </a:moveTo>
                <a:lnTo>
                  <a:pt x="184365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6" name="object 336"/>
          <p:cNvSpPr/>
          <p:nvPr/>
        </p:nvSpPr>
        <p:spPr>
          <a:xfrm>
            <a:off x="7791833" y="4420743"/>
            <a:ext cx="1884806" cy="0"/>
          </a:xfrm>
          <a:custGeom>
            <a:avLst/>
            <a:gdLst/>
            <a:ahLst/>
            <a:cxnLst/>
            <a:rect l="l" t="t" r="r" b="b"/>
            <a:pathLst>
              <a:path w="1884807">
                <a:moveTo>
                  <a:pt x="0" y="0"/>
                </a:moveTo>
                <a:lnTo>
                  <a:pt x="188480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7" name="object 337"/>
          <p:cNvSpPr/>
          <p:nvPr/>
        </p:nvSpPr>
        <p:spPr>
          <a:xfrm>
            <a:off x="7791832" y="3881501"/>
            <a:ext cx="0" cy="551180"/>
          </a:xfrm>
          <a:custGeom>
            <a:avLst/>
            <a:gdLst/>
            <a:ahLst/>
            <a:cxnLst/>
            <a:rect l="l" t="t" r="r" b="b"/>
            <a:pathLst>
              <a:path h="551179">
                <a:moveTo>
                  <a:pt x="0" y="0"/>
                </a:moveTo>
                <a:lnTo>
                  <a:pt x="0" y="55118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8" name="object 338"/>
          <p:cNvSpPr/>
          <p:nvPr/>
        </p:nvSpPr>
        <p:spPr>
          <a:xfrm>
            <a:off x="8502650" y="3881501"/>
            <a:ext cx="0" cy="551180"/>
          </a:xfrm>
          <a:custGeom>
            <a:avLst/>
            <a:gdLst/>
            <a:ahLst/>
            <a:cxnLst/>
            <a:rect l="l" t="t" r="r" b="b"/>
            <a:pathLst>
              <a:path h="551179">
                <a:moveTo>
                  <a:pt x="0" y="0"/>
                </a:moveTo>
                <a:lnTo>
                  <a:pt x="0" y="55118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9" name="object 339"/>
          <p:cNvSpPr/>
          <p:nvPr/>
        </p:nvSpPr>
        <p:spPr>
          <a:xfrm>
            <a:off x="9055228" y="3881501"/>
            <a:ext cx="4699" cy="535686"/>
          </a:xfrm>
          <a:custGeom>
            <a:avLst/>
            <a:gdLst/>
            <a:ahLst/>
            <a:cxnLst/>
            <a:rect l="l" t="t" r="r" b="b"/>
            <a:pathLst>
              <a:path w="4699" h="535686">
                <a:moveTo>
                  <a:pt x="4699" y="0"/>
                </a:moveTo>
                <a:lnTo>
                  <a:pt x="0" y="53568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0" name="object 340"/>
          <p:cNvSpPr/>
          <p:nvPr/>
        </p:nvSpPr>
        <p:spPr>
          <a:xfrm>
            <a:off x="9653778" y="3881501"/>
            <a:ext cx="0" cy="551180"/>
          </a:xfrm>
          <a:custGeom>
            <a:avLst/>
            <a:gdLst/>
            <a:ahLst/>
            <a:cxnLst/>
            <a:rect l="l" t="t" r="r" b="b"/>
            <a:pathLst>
              <a:path h="551179">
                <a:moveTo>
                  <a:pt x="0" y="0"/>
                </a:moveTo>
                <a:lnTo>
                  <a:pt x="0" y="55118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1" name="object 341"/>
          <p:cNvSpPr/>
          <p:nvPr/>
        </p:nvSpPr>
        <p:spPr>
          <a:xfrm>
            <a:off x="7647306" y="3644519"/>
            <a:ext cx="2089023" cy="208406"/>
          </a:xfrm>
          <a:custGeom>
            <a:avLst/>
            <a:gdLst/>
            <a:ahLst/>
            <a:cxnLst/>
            <a:rect l="l" t="t" r="r" b="b"/>
            <a:pathLst>
              <a:path w="2089023" h="208406">
                <a:moveTo>
                  <a:pt x="0" y="104139"/>
                </a:moveTo>
                <a:lnTo>
                  <a:pt x="30354" y="79108"/>
                </a:lnTo>
                <a:lnTo>
                  <a:pt x="82079" y="63597"/>
                </a:lnTo>
                <a:lnTo>
                  <a:pt x="116582" y="56274"/>
                </a:lnTo>
                <a:lnTo>
                  <a:pt x="156487" y="49276"/>
                </a:lnTo>
                <a:lnTo>
                  <a:pt x="201525" y="42629"/>
                </a:lnTo>
                <a:lnTo>
                  <a:pt x="251428" y="36360"/>
                </a:lnTo>
                <a:lnTo>
                  <a:pt x="305927" y="30495"/>
                </a:lnTo>
                <a:lnTo>
                  <a:pt x="364753" y="25062"/>
                </a:lnTo>
                <a:lnTo>
                  <a:pt x="427637" y="20088"/>
                </a:lnTo>
                <a:lnTo>
                  <a:pt x="494311" y="15598"/>
                </a:lnTo>
                <a:lnTo>
                  <a:pt x="564506" y="11620"/>
                </a:lnTo>
                <a:lnTo>
                  <a:pt x="637954" y="8181"/>
                </a:lnTo>
                <a:lnTo>
                  <a:pt x="714386" y="5307"/>
                </a:lnTo>
                <a:lnTo>
                  <a:pt x="793532" y="3025"/>
                </a:lnTo>
                <a:lnTo>
                  <a:pt x="875125" y="1362"/>
                </a:lnTo>
                <a:lnTo>
                  <a:pt x="958895" y="345"/>
                </a:lnTo>
                <a:lnTo>
                  <a:pt x="1044575" y="0"/>
                </a:lnTo>
                <a:lnTo>
                  <a:pt x="1130236" y="345"/>
                </a:lnTo>
                <a:lnTo>
                  <a:pt x="1213990" y="1362"/>
                </a:lnTo>
                <a:lnTo>
                  <a:pt x="1295568" y="3025"/>
                </a:lnTo>
                <a:lnTo>
                  <a:pt x="1374701" y="5307"/>
                </a:lnTo>
                <a:lnTo>
                  <a:pt x="1451121" y="8181"/>
                </a:lnTo>
                <a:lnTo>
                  <a:pt x="1524559" y="11620"/>
                </a:lnTo>
                <a:lnTo>
                  <a:pt x="1594746" y="15598"/>
                </a:lnTo>
                <a:lnTo>
                  <a:pt x="1661412" y="20088"/>
                </a:lnTo>
                <a:lnTo>
                  <a:pt x="1724291" y="25062"/>
                </a:lnTo>
                <a:lnTo>
                  <a:pt x="1783111" y="30495"/>
                </a:lnTo>
                <a:lnTo>
                  <a:pt x="1837606" y="36360"/>
                </a:lnTo>
                <a:lnTo>
                  <a:pt x="1887505" y="42629"/>
                </a:lnTo>
                <a:lnTo>
                  <a:pt x="1932540" y="49276"/>
                </a:lnTo>
                <a:lnTo>
                  <a:pt x="1972443" y="56274"/>
                </a:lnTo>
                <a:lnTo>
                  <a:pt x="2006945" y="63597"/>
                </a:lnTo>
                <a:lnTo>
                  <a:pt x="2058668" y="79108"/>
                </a:lnTo>
                <a:lnTo>
                  <a:pt x="2089023" y="104139"/>
                </a:lnTo>
                <a:lnTo>
                  <a:pt x="2085560" y="112684"/>
                </a:lnTo>
                <a:lnTo>
                  <a:pt x="2075352" y="121039"/>
                </a:lnTo>
                <a:lnTo>
                  <a:pt x="2035776" y="137075"/>
                </a:lnTo>
                <a:lnTo>
                  <a:pt x="1972443" y="152032"/>
                </a:lnTo>
                <a:lnTo>
                  <a:pt x="1932540" y="159039"/>
                </a:lnTo>
                <a:lnTo>
                  <a:pt x="1887505" y="165695"/>
                </a:lnTo>
                <a:lnTo>
                  <a:pt x="1837606" y="171973"/>
                </a:lnTo>
                <a:lnTo>
                  <a:pt x="1783111" y="177847"/>
                </a:lnTo>
                <a:lnTo>
                  <a:pt x="1724291" y="183290"/>
                </a:lnTo>
                <a:lnTo>
                  <a:pt x="1661412" y="188273"/>
                </a:lnTo>
                <a:lnTo>
                  <a:pt x="1594746" y="192772"/>
                </a:lnTo>
                <a:lnTo>
                  <a:pt x="1524559" y="196758"/>
                </a:lnTo>
                <a:lnTo>
                  <a:pt x="1451121" y="200205"/>
                </a:lnTo>
                <a:lnTo>
                  <a:pt x="1374701" y="203086"/>
                </a:lnTo>
                <a:lnTo>
                  <a:pt x="1295568" y="205373"/>
                </a:lnTo>
                <a:lnTo>
                  <a:pt x="1213990" y="207040"/>
                </a:lnTo>
                <a:lnTo>
                  <a:pt x="1130236" y="208060"/>
                </a:lnTo>
                <a:lnTo>
                  <a:pt x="1044575" y="208406"/>
                </a:lnTo>
                <a:lnTo>
                  <a:pt x="958895" y="208060"/>
                </a:lnTo>
                <a:lnTo>
                  <a:pt x="875125" y="207040"/>
                </a:lnTo>
                <a:lnTo>
                  <a:pt x="793532" y="205373"/>
                </a:lnTo>
                <a:lnTo>
                  <a:pt x="714386" y="203086"/>
                </a:lnTo>
                <a:lnTo>
                  <a:pt x="637954" y="200205"/>
                </a:lnTo>
                <a:lnTo>
                  <a:pt x="564506" y="196758"/>
                </a:lnTo>
                <a:lnTo>
                  <a:pt x="494311" y="192772"/>
                </a:lnTo>
                <a:lnTo>
                  <a:pt x="427637" y="188273"/>
                </a:lnTo>
                <a:lnTo>
                  <a:pt x="364753" y="183290"/>
                </a:lnTo>
                <a:lnTo>
                  <a:pt x="305927" y="177847"/>
                </a:lnTo>
                <a:lnTo>
                  <a:pt x="251428" y="171973"/>
                </a:lnTo>
                <a:lnTo>
                  <a:pt x="201525" y="165695"/>
                </a:lnTo>
                <a:lnTo>
                  <a:pt x="156487" y="159039"/>
                </a:lnTo>
                <a:lnTo>
                  <a:pt x="116582" y="152032"/>
                </a:lnTo>
                <a:lnTo>
                  <a:pt x="82079" y="144702"/>
                </a:lnTo>
                <a:lnTo>
                  <a:pt x="53247" y="137075"/>
                </a:lnTo>
                <a:lnTo>
                  <a:pt x="13670" y="121039"/>
                </a:lnTo>
                <a:lnTo>
                  <a:pt x="0" y="10413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2" name="object 342"/>
          <p:cNvSpPr/>
          <p:nvPr/>
        </p:nvSpPr>
        <p:spPr>
          <a:xfrm>
            <a:off x="8651749" y="4418457"/>
            <a:ext cx="1100581" cy="109474"/>
          </a:xfrm>
          <a:custGeom>
            <a:avLst/>
            <a:gdLst/>
            <a:ahLst/>
            <a:cxnLst/>
            <a:rect l="l" t="t" r="r" b="b"/>
            <a:pathLst>
              <a:path w="1100581" h="109474">
                <a:moveTo>
                  <a:pt x="1100581" y="0"/>
                </a:moveTo>
                <a:lnTo>
                  <a:pt x="1068595" y="26305"/>
                </a:lnTo>
                <a:lnTo>
                  <a:pt x="1014091" y="42608"/>
                </a:lnTo>
                <a:lnTo>
                  <a:pt x="977734" y="50305"/>
                </a:lnTo>
                <a:lnTo>
                  <a:pt x="935686" y="57662"/>
                </a:lnTo>
                <a:lnTo>
                  <a:pt x="888229" y="64650"/>
                </a:lnTo>
                <a:lnTo>
                  <a:pt x="835648" y="71240"/>
                </a:lnTo>
                <a:lnTo>
                  <a:pt x="778224" y="77406"/>
                </a:lnTo>
                <a:lnTo>
                  <a:pt x="716241" y="83118"/>
                </a:lnTo>
                <a:lnTo>
                  <a:pt x="649983" y="88349"/>
                </a:lnTo>
                <a:lnTo>
                  <a:pt x="579734" y="93070"/>
                </a:lnTo>
                <a:lnTo>
                  <a:pt x="505775" y="97253"/>
                </a:lnTo>
                <a:lnTo>
                  <a:pt x="428390" y="100869"/>
                </a:lnTo>
                <a:lnTo>
                  <a:pt x="347864" y="103892"/>
                </a:lnTo>
                <a:lnTo>
                  <a:pt x="264478" y="106291"/>
                </a:lnTo>
                <a:lnTo>
                  <a:pt x="178517" y="108040"/>
                </a:lnTo>
                <a:lnTo>
                  <a:pt x="90263" y="109111"/>
                </a:lnTo>
                <a:lnTo>
                  <a:pt x="0" y="10947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3" name="object 343"/>
          <p:cNvSpPr/>
          <p:nvPr/>
        </p:nvSpPr>
        <p:spPr>
          <a:xfrm>
            <a:off x="7640447" y="4418457"/>
            <a:ext cx="1100708" cy="109474"/>
          </a:xfrm>
          <a:custGeom>
            <a:avLst/>
            <a:gdLst/>
            <a:ahLst/>
            <a:cxnLst/>
            <a:rect l="l" t="t" r="r" b="b"/>
            <a:pathLst>
              <a:path w="1100708" h="109474">
                <a:moveTo>
                  <a:pt x="1100708" y="109474"/>
                </a:moveTo>
                <a:lnTo>
                  <a:pt x="1010427" y="109111"/>
                </a:lnTo>
                <a:lnTo>
                  <a:pt x="922157" y="108040"/>
                </a:lnTo>
                <a:lnTo>
                  <a:pt x="836181" y="106291"/>
                </a:lnTo>
                <a:lnTo>
                  <a:pt x="752782" y="103892"/>
                </a:lnTo>
                <a:lnTo>
                  <a:pt x="672244" y="100869"/>
                </a:lnTo>
                <a:lnTo>
                  <a:pt x="594850" y="97253"/>
                </a:lnTo>
                <a:lnTo>
                  <a:pt x="520882" y="93070"/>
                </a:lnTo>
                <a:lnTo>
                  <a:pt x="450625" y="88349"/>
                </a:lnTo>
                <a:lnTo>
                  <a:pt x="384361" y="83118"/>
                </a:lnTo>
                <a:lnTo>
                  <a:pt x="322373" y="77406"/>
                </a:lnTo>
                <a:lnTo>
                  <a:pt x="264945" y="71240"/>
                </a:lnTo>
                <a:lnTo>
                  <a:pt x="212360" y="64650"/>
                </a:lnTo>
                <a:lnTo>
                  <a:pt x="164900" y="57662"/>
                </a:lnTo>
                <a:lnTo>
                  <a:pt x="122850" y="50305"/>
                </a:lnTo>
                <a:lnTo>
                  <a:pt x="86492" y="42608"/>
                </a:lnTo>
                <a:lnTo>
                  <a:pt x="31986" y="26305"/>
                </a:lnTo>
                <a:lnTo>
                  <a:pt x="3648" y="8977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4" name="object 344"/>
          <p:cNvSpPr/>
          <p:nvPr/>
        </p:nvSpPr>
        <p:spPr>
          <a:xfrm>
            <a:off x="7638160" y="3744469"/>
            <a:ext cx="0" cy="683513"/>
          </a:xfrm>
          <a:custGeom>
            <a:avLst/>
            <a:gdLst/>
            <a:ahLst/>
            <a:cxnLst/>
            <a:rect l="l" t="t" r="r" b="b"/>
            <a:pathLst>
              <a:path h="683513">
                <a:moveTo>
                  <a:pt x="0" y="0"/>
                </a:moveTo>
                <a:lnTo>
                  <a:pt x="0" y="68351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5" name="object 345"/>
          <p:cNvSpPr/>
          <p:nvPr/>
        </p:nvSpPr>
        <p:spPr>
          <a:xfrm>
            <a:off x="9729469" y="3746880"/>
            <a:ext cx="0" cy="684657"/>
          </a:xfrm>
          <a:custGeom>
            <a:avLst/>
            <a:gdLst/>
            <a:ahLst/>
            <a:cxnLst/>
            <a:rect l="l" t="t" r="r" b="b"/>
            <a:pathLst>
              <a:path h="684656">
                <a:moveTo>
                  <a:pt x="0" y="0"/>
                </a:moveTo>
                <a:lnTo>
                  <a:pt x="0" y="6846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6" name="object 346"/>
          <p:cNvSpPr/>
          <p:nvPr/>
        </p:nvSpPr>
        <p:spPr>
          <a:xfrm>
            <a:off x="8486648" y="3413506"/>
            <a:ext cx="307213" cy="227457"/>
          </a:xfrm>
          <a:custGeom>
            <a:avLst/>
            <a:gdLst/>
            <a:ahLst/>
            <a:cxnLst/>
            <a:rect l="l" t="t" r="r" b="b"/>
            <a:pathLst>
              <a:path w="307212" h="227457">
                <a:moveTo>
                  <a:pt x="153543" y="227457"/>
                </a:moveTo>
                <a:lnTo>
                  <a:pt x="307212" y="113157"/>
                </a:lnTo>
                <a:lnTo>
                  <a:pt x="229234" y="113157"/>
                </a:lnTo>
                <a:lnTo>
                  <a:pt x="229234" y="0"/>
                </a:lnTo>
                <a:lnTo>
                  <a:pt x="77977" y="0"/>
                </a:lnTo>
                <a:lnTo>
                  <a:pt x="77977" y="113157"/>
                </a:lnTo>
                <a:lnTo>
                  <a:pt x="0" y="113157"/>
                </a:lnTo>
                <a:lnTo>
                  <a:pt x="153543" y="227457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7" name="object 347"/>
          <p:cNvSpPr/>
          <p:nvPr/>
        </p:nvSpPr>
        <p:spPr>
          <a:xfrm>
            <a:off x="8486648" y="3413506"/>
            <a:ext cx="307213" cy="227457"/>
          </a:xfrm>
          <a:custGeom>
            <a:avLst/>
            <a:gdLst/>
            <a:ahLst/>
            <a:cxnLst/>
            <a:rect l="l" t="t" r="r" b="b"/>
            <a:pathLst>
              <a:path w="307212" h="227457">
                <a:moveTo>
                  <a:pt x="153543" y="227457"/>
                </a:moveTo>
                <a:lnTo>
                  <a:pt x="307212" y="113157"/>
                </a:lnTo>
                <a:lnTo>
                  <a:pt x="229234" y="113157"/>
                </a:lnTo>
                <a:lnTo>
                  <a:pt x="229234" y="0"/>
                </a:lnTo>
                <a:lnTo>
                  <a:pt x="77977" y="0"/>
                </a:lnTo>
                <a:lnTo>
                  <a:pt x="77977" y="113157"/>
                </a:lnTo>
                <a:lnTo>
                  <a:pt x="0" y="113157"/>
                </a:lnTo>
                <a:lnTo>
                  <a:pt x="153543" y="2274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8" name="object 348"/>
          <p:cNvSpPr/>
          <p:nvPr/>
        </p:nvSpPr>
        <p:spPr>
          <a:xfrm>
            <a:off x="1566166" y="4542283"/>
            <a:ext cx="307213" cy="439293"/>
          </a:xfrm>
          <a:custGeom>
            <a:avLst/>
            <a:gdLst/>
            <a:ahLst/>
            <a:cxnLst/>
            <a:rect l="l" t="t" r="r" b="b"/>
            <a:pathLst>
              <a:path w="307213" h="439293">
                <a:moveTo>
                  <a:pt x="153669" y="439293"/>
                </a:moveTo>
                <a:lnTo>
                  <a:pt x="307213" y="217805"/>
                </a:lnTo>
                <a:lnTo>
                  <a:pt x="229235" y="217805"/>
                </a:lnTo>
                <a:lnTo>
                  <a:pt x="229235" y="0"/>
                </a:lnTo>
                <a:lnTo>
                  <a:pt x="77978" y="0"/>
                </a:lnTo>
                <a:lnTo>
                  <a:pt x="77978" y="217805"/>
                </a:lnTo>
                <a:lnTo>
                  <a:pt x="0" y="217805"/>
                </a:lnTo>
                <a:lnTo>
                  <a:pt x="153669" y="439293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9" name="object 349"/>
          <p:cNvSpPr/>
          <p:nvPr/>
        </p:nvSpPr>
        <p:spPr>
          <a:xfrm>
            <a:off x="1566166" y="4542283"/>
            <a:ext cx="307213" cy="439293"/>
          </a:xfrm>
          <a:custGeom>
            <a:avLst/>
            <a:gdLst/>
            <a:ahLst/>
            <a:cxnLst/>
            <a:rect l="l" t="t" r="r" b="b"/>
            <a:pathLst>
              <a:path w="307213" h="439293">
                <a:moveTo>
                  <a:pt x="153669" y="439293"/>
                </a:moveTo>
                <a:lnTo>
                  <a:pt x="307213" y="217805"/>
                </a:lnTo>
                <a:lnTo>
                  <a:pt x="229235" y="217805"/>
                </a:lnTo>
                <a:lnTo>
                  <a:pt x="229235" y="0"/>
                </a:lnTo>
                <a:lnTo>
                  <a:pt x="77978" y="0"/>
                </a:lnTo>
                <a:lnTo>
                  <a:pt x="77978" y="217805"/>
                </a:lnTo>
                <a:lnTo>
                  <a:pt x="0" y="217805"/>
                </a:lnTo>
                <a:lnTo>
                  <a:pt x="153669" y="43929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0" name="object 350"/>
          <p:cNvSpPr/>
          <p:nvPr/>
        </p:nvSpPr>
        <p:spPr>
          <a:xfrm>
            <a:off x="3795015" y="4549394"/>
            <a:ext cx="307213" cy="432181"/>
          </a:xfrm>
          <a:custGeom>
            <a:avLst/>
            <a:gdLst/>
            <a:ahLst/>
            <a:cxnLst/>
            <a:rect l="l" t="t" r="r" b="b"/>
            <a:pathLst>
              <a:path w="307213" h="432180">
                <a:moveTo>
                  <a:pt x="153670" y="432180"/>
                </a:moveTo>
                <a:lnTo>
                  <a:pt x="307213" y="214248"/>
                </a:lnTo>
                <a:lnTo>
                  <a:pt x="229235" y="214248"/>
                </a:lnTo>
                <a:lnTo>
                  <a:pt x="229235" y="0"/>
                </a:lnTo>
                <a:lnTo>
                  <a:pt x="77977" y="0"/>
                </a:lnTo>
                <a:lnTo>
                  <a:pt x="77977" y="214248"/>
                </a:lnTo>
                <a:lnTo>
                  <a:pt x="0" y="214248"/>
                </a:lnTo>
                <a:lnTo>
                  <a:pt x="153670" y="432180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1" name="object 351"/>
          <p:cNvSpPr/>
          <p:nvPr/>
        </p:nvSpPr>
        <p:spPr>
          <a:xfrm>
            <a:off x="3795015" y="4549394"/>
            <a:ext cx="307213" cy="432181"/>
          </a:xfrm>
          <a:custGeom>
            <a:avLst/>
            <a:gdLst/>
            <a:ahLst/>
            <a:cxnLst/>
            <a:rect l="l" t="t" r="r" b="b"/>
            <a:pathLst>
              <a:path w="307213" h="432180">
                <a:moveTo>
                  <a:pt x="153670" y="432180"/>
                </a:moveTo>
                <a:lnTo>
                  <a:pt x="307213" y="214248"/>
                </a:lnTo>
                <a:lnTo>
                  <a:pt x="229235" y="214248"/>
                </a:lnTo>
                <a:lnTo>
                  <a:pt x="229235" y="0"/>
                </a:lnTo>
                <a:lnTo>
                  <a:pt x="77977" y="0"/>
                </a:lnTo>
                <a:lnTo>
                  <a:pt x="77977" y="214248"/>
                </a:lnTo>
                <a:lnTo>
                  <a:pt x="0" y="214248"/>
                </a:lnTo>
                <a:lnTo>
                  <a:pt x="153670" y="43218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2" name="object 352"/>
          <p:cNvSpPr/>
          <p:nvPr/>
        </p:nvSpPr>
        <p:spPr>
          <a:xfrm>
            <a:off x="639762" y="4970908"/>
            <a:ext cx="2088959" cy="208280"/>
          </a:xfrm>
          <a:custGeom>
            <a:avLst/>
            <a:gdLst/>
            <a:ahLst/>
            <a:cxnLst/>
            <a:rect l="l" t="t" r="r" b="b"/>
            <a:pathLst>
              <a:path w="2088959" h="208279">
                <a:moveTo>
                  <a:pt x="0" y="104140"/>
                </a:moveTo>
                <a:lnTo>
                  <a:pt x="3462" y="112683"/>
                </a:lnTo>
                <a:lnTo>
                  <a:pt x="13670" y="121035"/>
                </a:lnTo>
                <a:lnTo>
                  <a:pt x="53249" y="137062"/>
                </a:lnTo>
                <a:lnTo>
                  <a:pt x="116585" y="152005"/>
                </a:lnTo>
                <a:lnTo>
                  <a:pt x="156490" y="159003"/>
                </a:lnTo>
                <a:lnTo>
                  <a:pt x="201528" y="165650"/>
                </a:lnTo>
                <a:lnTo>
                  <a:pt x="251431" y="171919"/>
                </a:lnTo>
                <a:lnTo>
                  <a:pt x="305928" y="177784"/>
                </a:lnTo>
                <a:lnTo>
                  <a:pt x="364752" y="183217"/>
                </a:lnTo>
                <a:lnTo>
                  <a:pt x="427634" y="188191"/>
                </a:lnTo>
                <a:lnTo>
                  <a:pt x="494305" y="192681"/>
                </a:lnTo>
                <a:lnTo>
                  <a:pt x="564496" y="196659"/>
                </a:lnTo>
                <a:lnTo>
                  <a:pt x="637938" y="200098"/>
                </a:lnTo>
                <a:lnTo>
                  <a:pt x="714363" y="202972"/>
                </a:lnTo>
                <a:lnTo>
                  <a:pt x="793501" y="205254"/>
                </a:lnTo>
                <a:lnTo>
                  <a:pt x="875085" y="206917"/>
                </a:lnTo>
                <a:lnTo>
                  <a:pt x="958844" y="207934"/>
                </a:lnTo>
                <a:lnTo>
                  <a:pt x="1044511" y="208280"/>
                </a:lnTo>
                <a:lnTo>
                  <a:pt x="1130172" y="207934"/>
                </a:lnTo>
                <a:lnTo>
                  <a:pt x="1213926" y="206917"/>
                </a:lnTo>
                <a:lnTo>
                  <a:pt x="1295504" y="205254"/>
                </a:lnTo>
                <a:lnTo>
                  <a:pt x="1374638" y="202972"/>
                </a:lnTo>
                <a:lnTo>
                  <a:pt x="1451058" y="200098"/>
                </a:lnTo>
                <a:lnTo>
                  <a:pt x="1524496" y="196659"/>
                </a:lnTo>
                <a:lnTo>
                  <a:pt x="1594682" y="192681"/>
                </a:lnTo>
                <a:lnTo>
                  <a:pt x="1661349" y="188191"/>
                </a:lnTo>
                <a:lnTo>
                  <a:pt x="1724227" y="183217"/>
                </a:lnTo>
                <a:lnTo>
                  <a:pt x="1783048" y="177784"/>
                </a:lnTo>
                <a:lnTo>
                  <a:pt x="1837542" y="171919"/>
                </a:lnTo>
                <a:lnTo>
                  <a:pt x="1887441" y="165650"/>
                </a:lnTo>
                <a:lnTo>
                  <a:pt x="1932477" y="159003"/>
                </a:lnTo>
                <a:lnTo>
                  <a:pt x="1972380" y="152005"/>
                </a:lnTo>
                <a:lnTo>
                  <a:pt x="2006881" y="144682"/>
                </a:lnTo>
                <a:lnTo>
                  <a:pt x="2058605" y="129171"/>
                </a:lnTo>
                <a:lnTo>
                  <a:pt x="2088959" y="104140"/>
                </a:lnTo>
                <a:lnTo>
                  <a:pt x="2058605" y="79108"/>
                </a:lnTo>
                <a:lnTo>
                  <a:pt x="2006881" y="63597"/>
                </a:lnTo>
                <a:lnTo>
                  <a:pt x="1972380" y="56274"/>
                </a:lnTo>
                <a:lnTo>
                  <a:pt x="1932477" y="49276"/>
                </a:lnTo>
                <a:lnTo>
                  <a:pt x="1887441" y="42629"/>
                </a:lnTo>
                <a:lnTo>
                  <a:pt x="1837542" y="36360"/>
                </a:lnTo>
                <a:lnTo>
                  <a:pt x="1783048" y="30495"/>
                </a:lnTo>
                <a:lnTo>
                  <a:pt x="1724227" y="25062"/>
                </a:lnTo>
                <a:lnTo>
                  <a:pt x="1661349" y="20088"/>
                </a:lnTo>
                <a:lnTo>
                  <a:pt x="1594682" y="15598"/>
                </a:lnTo>
                <a:lnTo>
                  <a:pt x="1524496" y="11620"/>
                </a:lnTo>
                <a:lnTo>
                  <a:pt x="1451058" y="8181"/>
                </a:lnTo>
                <a:lnTo>
                  <a:pt x="1374638" y="5307"/>
                </a:lnTo>
                <a:lnTo>
                  <a:pt x="1295504" y="3025"/>
                </a:lnTo>
                <a:lnTo>
                  <a:pt x="1213926" y="1362"/>
                </a:lnTo>
                <a:lnTo>
                  <a:pt x="1130172" y="345"/>
                </a:lnTo>
                <a:lnTo>
                  <a:pt x="1044511" y="0"/>
                </a:lnTo>
                <a:lnTo>
                  <a:pt x="958844" y="345"/>
                </a:lnTo>
                <a:lnTo>
                  <a:pt x="875085" y="1362"/>
                </a:lnTo>
                <a:lnTo>
                  <a:pt x="793502" y="3025"/>
                </a:lnTo>
                <a:lnTo>
                  <a:pt x="714364" y="5307"/>
                </a:lnTo>
                <a:lnTo>
                  <a:pt x="637940" y="8181"/>
                </a:lnTo>
                <a:lnTo>
                  <a:pt x="564498" y="11620"/>
                </a:lnTo>
                <a:lnTo>
                  <a:pt x="494308" y="15598"/>
                </a:lnTo>
                <a:lnTo>
                  <a:pt x="427638" y="20088"/>
                </a:lnTo>
                <a:lnTo>
                  <a:pt x="364757" y="25062"/>
                </a:lnTo>
                <a:lnTo>
                  <a:pt x="305933" y="30495"/>
                </a:lnTo>
                <a:lnTo>
                  <a:pt x="251436" y="36360"/>
                </a:lnTo>
                <a:lnTo>
                  <a:pt x="201534" y="42629"/>
                </a:lnTo>
                <a:lnTo>
                  <a:pt x="156496" y="49276"/>
                </a:lnTo>
                <a:lnTo>
                  <a:pt x="116591" y="56274"/>
                </a:lnTo>
                <a:lnTo>
                  <a:pt x="82087" y="63597"/>
                </a:lnTo>
                <a:lnTo>
                  <a:pt x="30360" y="79108"/>
                </a:lnTo>
                <a:lnTo>
                  <a:pt x="3464" y="95596"/>
                </a:lnTo>
                <a:lnTo>
                  <a:pt x="0" y="104140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3" name="object 353"/>
          <p:cNvSpPr/>
          <p:nvPr/>
        </p:nvSpPr>
        <p:spPr>
          <a:xfrm>
            <a:off x="639762" y="4970908"/>
            <a:ext cx="2088959" cy="208280"/>
          </a:xfrm>
          <a:custGeom>
            <a:avLst/>
            <a:gdLst/>
            <a:ahLst/>
            <a:cxnLst/>
            <a:rect l="l" t="t" r="r" b="b"/>
            <a:pathLst>
              <a:path w="2088959" h="208279">
                <a:moveTo>
                  <a:pt x="0" y="104140"/>
                </a:moveTo>
                <a:lnTo>
                  <a:pt x="30360" y="79108"/>
                </a:lnTo>
                <a:lnTo>
                  <a:pt x="82087" y="63597"/>
                </a:lnTo>
                <a:lnTo>
                  <a:pt x="116591" y="56274"/>
                </a:lnTo>
                <a:lnTo>
                  <a:pt x="156496" y="49276"/>
                </a:lnTo>
                <a:lnTo>
                  <a:pt x="201534" y="42629"/>
                </a:lnTo>
                <a:lnTo>
                  <a:pt x="251436" y="36360"/>
                </a:lnTo>
                <a:lnTo>
                  <a:pt x="305933" y="30495"/>
                </a:lnTo>
                <a:lnTo>
                  <a:pt x="364757" y="25062"/>
                </a:lnTo>
                <a:lnTo>
                  <a:pt x="427638" y="20088"/>
                </a:lnTo>
                <a:lnTo>
                  <a:pt x="494308" y="15598"/>
                </a:lnTo>
                <a:lnTo>
                  <a:pt x="564498" y="11620"/>
                </a:lnTo>
                <a:lnTo>
                  <a:pt x="637940" y="8181"/>
                </a:lnTo>
                <a:lnTo>
                  <a:pt x="714364" y="5307"/>
                </a:lnTo>
                <a:lnTo>
                  <a:pt x="793502" y="3025"/>
                </a:lnTo>
                <a:lnTo>
                  <a:pt x="875085" y="1362"/>
                </a:lnTo>
                <a:lnTo>
                  <a:pt x="958844" y="345"/>
                </a:lnTo>
                <a:lnTo>
                  <a:pt x="1044511" y="0"/>
                </a:lnTo>
                <a:lnTo>
                  <a:pt x="1130172" y="345"/>
                </a:lnTo>
                <a:lnTo>
                  <a:pt x="1213926" y="1362"/>
                </a:lnTo>
                <a:lnTo>
                  <a:pt x="1295504" y="3025"/>
                </a:lnTo>
                <a:lnTo>
                  <a:pt x="1374638" y="5307"/>
                </a:lnTo>
                <a:lnTo>
                  <a:pt x="1451058" y="8181"/>
                </a:lnTo>
                <a:lnTo>
                  <a:pt x="1524496" y="11620"/>
                </a:lnTo>
                <a:lnTo>
                  <a:pt x="1594682" y="15598"/>
                </a:lnTo>
                <a:lnTo>
                  <a:pt x="1661349" y="20088"/>
                </a:lnTo>
                <a:lnTo>
                  <a:pt x="1724227" y="25062"/>
                </a:lnTo>
                <a:lnTo>
                  <a:pt x="1783048" y="30495"/>
                </a:lnTo>
                <a:lnTo>
                  <a:pt x="1837542" y="36360"/>
                </a:lnTo>
                <a:lnTo>
                  <a:pt x="1887441" y="42629"/>
                </a:lnTo>
                <a:lnTo>
                  <a:pt x="1932477" y="49276"/>
                </a:lnTo>
                <a:lnTo>
                  <a:pt x="1972380" y="56274"/>
                </a:lnTo>
                <a:lnTo>
                  <a:pt x="2006881" y="63597"/>
                </a:lnTo>
                <a:lnTo>
                  <a:pt x="2058605" y="79108"/>
                </a:lnTo>
                <a:lnTo>
                  <a:pt x="2088959" y="104140"/>
                </a:lnTo>
                <a:lnTo>
                  <a:pt x="2085497" y="112683"/>
                </a:lnTo>
                <a:lnTo>
                  <a:pt x="2075289" y="121035"/>
                </a:lnTo>
                <a:lnTo>
                  <a:pt x="2035712" y="137062"/>
                </a:lnTo>
                <a:lnTo>
                  <a:pt x="1972380" y="152005"/>
                </a:lnTo>
                <a:lnTo>
                  <a:pt x="1932477" y="159003"/>
                </a:lnTo>
                <a:lnTo>
                  <a:pt x="1887441" y="165650"/>
                </a:lnTo>
                <a:lnTo>
                  <a:pt x="1837542" y="171919"/>
                </a:lnTo>
                <a:lnTo>
                  <a:pt x="1783048" y="177784"/>
                </a:lnTo>
                <a:lnTo>
                  <a:pt x="1724227" y="183217"/>
                </a:lnTo>
                <a:lnTo>
                  <a:pt x="1661349" y="188191"/>
                </a:lnTo>
                <a:lnTo>
                  <a:pt x="1594682" y="192681"/>
                </a:lnTo>
                <a:lnTo>
                  <a:pt x="1524496" y="196659"/>
                </a:lnTo>
                <a:lnTo>
                  <a:pt x="1451058" y="200098"/>
                </a:lnTo>
                <a:lnTo>
                  <a:pt x="1374638" y="202972"/>
                </a:lnTo>
                <a:lnTo>
                  <a:pt x="1295504" y="205254"/>
                </a:lnTo>
                <a:lnTo>
                  <a:pt x="1213926" y="206917"/>
                </a:lnTo>
                <a:lnTo>
                  <a:pt x="1130172" y="207934"/>
                </a:lnTo>
                <a:lnTo>
                  <a:pt x="1044511" y="208280"/>
                </a:lnTo>
                <a:lnTo>
                  <a:pt x="958844" y="207934"/>
                </a:lnTo>
                <a:lnTo>
                  <a:pt x="875085" y="206917"/>
                </a:lnTo>
                <a:lnTo>
                  <a:pt x="793501" y="205254"/>
                </a:lnTo>
                <a:lnTo>
                  <a:pt x="714363" y="202972"/>
                </a:lnTo>
                <a:lnTo>
                  <a:pt x="637938" y="200098"/>
                </a:lnTo>
                <a:lnTo>
                  <a:pt x="564496" y="196659"/>
                </a:lnTo>
                <a:lnTo>
                  <a:pt x="494305" y="192681"/>
                </a:lnTo>
                <a:lnTo>
                  <a:pt x="427634" y="188191"/>
                </a:lnTo>
                <a:lnTo>
                  <a:pt x="364752" y="183217"/>
                </a:lnTo>
                <a:lnTo>
                  <a:pt x="305928" y="177784"/>
                </a:lnTo>
                <a:lnTo>
                  <a:pt x="251431" y="171919"/>
                </a:lnTo>
                <a:lnTo>
                  <a:pt x="201528" y="165650"/>
                </a:lnTo>
                <a:lnTo>
                  <a:pt x="156490" y="159003"/>
                </a:lnTo>
                <a:lnTo>
                  <a:pt x="116585" y="152005"/>
                </a:lnTo>
                <a:lnTo>
                  <a:pt x="82082" y="144682"/>
                </a:lnTo>
                <a:lnTo>
                  <a:pt x="53249" y="137062"/>
                </a:lnTo>
                <a:lnTo>
                  <a:pt x="13670" y="121035"/>
                </a:lnTo>
                <a:lnTo>
                  <a:pt x="0" y="10414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4" name="object 354"/>
          <p:cNvSpPr/>
          <p:nvPr/>
        </p:nvSpPr>
        <p:spPr>
          <a:xfrm>
            <a:off x="621424" y="5678093"/>
            <a:ext cx="2091309" cy="100013"/>
          </a:xfrm>
          <a:custGeom>
            <a:avLst/>
            <a:gdLst/>
            <a:ahLst/>
            <a:cxnLst/>
            <a:rect l="l" t="t" r="r" b="b"/>
            <a:pathLst>
              <a:path w="2091309" h="100013">
                <a:moveTo>
                  <a:pt x="0" y="100013"/>
                </a:moveTo>
                <a:lnTo>
                  <a:pt x="2091309" y="100013"/>
                </a:lnTo>
                <a:lnTo>
                  <a:pt x="2091309" y="0"/>
                </a:lnTo>
                <a:lnTo>
                  <a:pt x="0" y="0"/>
                </a:lnTo>
                <a:lnTo>
                  <a:pt x="0" y="100013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5" name="object 355"/>
          <p:cNvSpPr/>
          <p:nvPr/>
        </p:nvSpPr>
        <p:spPr>
          <a:xfrm>
            <a:off x="623710" y="5235195"/>
            <a:ext cx="0" cy="659587"/>
          </a:xfrm>
          <a:custGeom>
            <a:avLst/>
            <a:gdLst/>
            <a:ahLst/>
            <a:cxnLst/>
            <a:rect l="l" t="t" r="r" b="b"/>
            <a:pathLst>
              <a:path h="659587">
                <a:moveTo>
                  <a:pt x="0" y="0"/>
                </a:moveTo>
                <a:lnTo>
                  <a:pt x="0" y="6595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6" name="object 356"/>
          <p:cNvSpPr/>
          <p:nvPr/>
        </p:nvSpPr>
        <p:spPr>
          <a:xfrm>
            <a:off x="621424" y="5348224"/>
            <a:ext cx="2091296" cy="0"/>
          </a:xfrm>
          <a:custGeom>
            <a:avLst/>
            <a:gdLst/>
            <a:ahLst/>
            <a:cxnLst/>
            <a:rect l="l" t="t" r="r" b="b"/>
            <a:pathLst>
              <a:path w="2091296">
                <a:moveTo>
                  <a:pt x="0" y="0"/>
                </a:moveTo>
                <a:lnTo>
                  <a:pt x="2091296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7" name="object 357"/>
          <p:cNvSpPr/>
          <p:nvPr/>
        </p:nvSpPr>
        <p:spPr>
          <a:xfrm>
            <a:off x="621424" y="5456682"/>
            <a:ext cx="2100440" cy="0"/>
          </a:xfrm>
          <a:custGeom>
            <a:avLst/>
            <a:gdLst/>
            <a:ahLst/>
            <a:cxnLst/>
            <a:rect l="l" t="t" r="r" b="b"/>
            <a:pathLst>
              <a:path w="2100440">
                <a:moveTo>
                  <a:pt x="0" y="0"/>
                </a:moveTo>
                <a:lnTo>
                  <a:pt x="210044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8" name="object 358"/>
          <p:cNvSpPr/>
          <p:nvPr/>
        </p:nvSpPr>
        <p:spPr>
          <a:xfrm>
            <a:off x="1151116" y="5235195"/>
            <a:ext cx="0" cy="659587"/>
          </a:xfrm>
          <a:custGeom>
            <a:avLst/>
            <a:gdLst/>
            <a:ahLst/>
            <a:cxnLst/>
            <a:rect l="l" t="t" r="r" b="b"/>
            <a:pathLst>
              <a:path h="659587">
                <a:moveTo>
                  <a:pt x="0" y="0"/>
                </a:moveTo>
                <a:lnTo>
                  <a:pt x="0" y="6595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9" name="object 359"/>
          <p:cNvSpPr/>
          <p:nvPr/>
        </p:nvSpPr>
        <p:spPr>
          <a:xfrm>
            <a:off x="1462912" y="5230368"/>
            <a:ext cx="0" cy="659650"/>
          </a:xfrm>
          <a:custGeom>
            <a:avLst/>
            <a:gdLst/>
            <a:ahLst/>
            <a:cxnLst/>
            <a:rect l="l" t="t" r="r" b="b"/>
            <a:pathLst>
              <a:path h="659650">
                <a:moveTo>
                  <a:pt x="0" y="0"/>
                </a:moveTo>
                <a:lnTo>
                  <a:pt x="0" y="6596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0" name="object 360"/>
          <p:cNvSpPr/>
          <p:nvPr/>
        </p:nvSpPr>
        <p:spPr>
          <a:xfrm>
            <a:off x="2020189" y="5235195"/>
            <a:ext cx="0" cy="659587"/>
          </a:xfrm>
          <a:custGeom>
            <a:avLst/>
            <a:gdLst/>
            <a:ahLst/>
            <a:cxnLst/>
            <a:rect l="l" t="t" r="r" b="b"/>
            <a:pathLst>
              <a:path h="659587">
                <a:moveTo>
                  <a:pt x="0" y="0"/>
                </a:moveTo>
                <a:lnTo>
                  <a:pt x="0" y="6595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1" name="object 361"/>
          <p:cNvSpPr/>
          <p:nvPr/>
        </p:nvSpPr>
        <p:spPr>
          <a:xfrm>
            <a:off x="593903" y="5895975"/>
            <a:ext cx="2109673" cy="0"/>
          </a:xfrm>
          <a:custGeom>
            <a:avLst/>
            <a:gdLst/>
            <a:ahLst/>
            <a:cxnLst/>
            <a:rect l="l" t="t" r="r" b="b"/>
            <a:pathLst>
              <a:path w="2109673">
                <a:moveTo>
                  <a:pt x="0" y="0"/>
                </a:moveTo>
                <a:lnTo>
                  <a:pt x="210967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2" name="object 362"/>
          <p:cNvSpPr/>
          <p:nvPr/>
        </p:nvSpPr>
        <p:spPr>
          <a:xfrm>
            <a:off x="612241" y="5230368"/>
            <a:ext cx="2118766" cy="0"/>
          </a:xfrm>
          <a:custGeom>
            <a:avLst/>
            <a:gdLst/>
            <a:ahLst/>
            <a:cxnLst/>
            <a:rect l="l" t="t" r="r" b="b"/>
            <a:pathLst>
              <a:path w="2118766">
                <a:moveTo>
                  <a:pt x="0" y="0"/>
                </a:moveTo>
                <a:lnTo>
                  <a:pt x="2118766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3" name="object 363"/>
          <p:cNvSpPr/>
          <p:nvPr/>
        </p:nvSpPr>
        <p:spPr>
          <a:xfrm>
            <a:off x="1644142" y="5911457"/>
            <a:ext cx="1100708" cy="110731"/>
          </a:xfrm>
          <a:custGeom>
            <a:avLst/>
            <a:gdLst/>
            <a:ahLst/>
            <a:cxnLst/>
            <a:rect l="l" t="t" r="r" b="b"/>
            <a:pathLst>
              <a:path w="1100708" h="110731">
                <a:moveTo>
                  <a:pt x="1100708" y="0"/>
                </a:moveTo>
                <a:lnTo>
                  <a:pt x="1068714" y="26607"/>
                </a:lnTo>
                <a:lnTo>
                  <a:pt x="1014198" y="43097"/>
                </a:lnTo>
                <a:lnTo>
                  <a:pt x="977834" y="50882"/>
                </a:lnTo>
                <a:lnTo>
                  <a:pt x="935777" y="58323"/>
                </a:lnTo>
                <a:lnTo>
                  <a:pt x="888312" y="65390"/>
                </a:lnTo>
                <a:lnTo>
                  <a:pt x="835721" y="72056"/>
                </a:lnTo>
                <a:lnTo>
                  <a:pt x="778287" y="78292"/>
                </a:lnTo>
                <a:lnTo>
                  <a:pt x="716295" y="84069"/>
                </a:lnTo>
                <a:lnTo>
                  <a:pt x="650028" y="89359"/>
                </a:lnTo>
                <a:lnTo>
                  <a:pt x="579769" y="94134"/>
                </a:lnTo>
                <a:lnTo>
                  <a:pt x="505802" y="98365"/>
                </a:lnTo>
                <a:lnTo>
                  <a:pt x="428410" y="102023"/>
                </a:lnTo>
                <a:lnTo>
                  <a:pt x="347877" y="105080"/>
                </a:lnTo>
                <a:lnTo>
                  <a:pt x="264486" y="107508"/>
                </a:lnTo>
                <a:lnTo>
                  <a:pt x="178520" y="109278"/>
                </a:lnTo>
                <a:lnTo>
                  <a:pt x="90264" y="110362"/>
                </a:lnTo>
                <a:lnTo>
                  <a:pt x="0" y="11073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4" name="object 364"/>
          <p:cNvSpPr/>
          <p:nvPr/>
        </p:nvSpPr>
        <p:spPr>
          <a:xfrm>
            <a:off x="632879" y="5911457"/>
            <a:ext cx="1100670" cy="110731"/>
          </a:xfrm>
          <a:custGeom>
            <a:avLst/>
            <a:gdLst/>
            <a:ahLst/>
            <a:cxnLst/>
            <a:rect l="l" t="t" r="r" b="b"/>
            <a:pathLst>
              <a:path w="1100670" h="110731">
                <a:moveTo>
                  <a:pt x="1100670" y="110731"/>
                </a:moveTo>
                <a:lnTo>
                  <a:pt x="1010395" y="110364"/>
                </a:lnTo>
                <a:lnTo>
                  <a:pt x="922129" y="109281"/>
                </a:lnTo>
                <a:lnTo>
                  <a:pt x="836158" y="107512"/>
                </a:lnTo>
                <a:lnTo>
                  <a:pt x="752763" y="105085"/>
                </a:lnTo>
                <a:lnTo>
                  <a:pt x="672228" y="102028"/>
                </a:lnTo>
                <a:lnTo>
                  <a:pt x="594837" y="98370"/>
                </a:lnTo>
                <a:lnTo>
                  <a:pt x="520872" y="94140"/>
                </a:lnTo>
                <a:lnTo>
                  <a:pt x="450617" y="89365"/>
                </a:lnTo>
                <a:lnTo>
                  <a:pt x="384354" y="84074"/>
                </a:lnTo>
                <a:lnTo>
                  <a:pt x="322368" y="78297"/>
                </a:lnTo>
                <a:lnTo>
                  <a:pt x="264942" y="72060"/>
                </a:lnTo>
                <a:lnTo>
                  <a:pt x="212357" y="65394"/>
                </a:lnTo>
                <a:lnTo>
                  <a:pt x="164899" y="58326"/>
                </a:lnTo>
                <a:lnTo>
                  <a:pt x="122849" y="50885"/>
                </a:lnTo>
                <a:lnTo>
                  <a:pt x="86492" y="43099"/>
                </a:lnTo>
                <a:lnTo>
                  <a:pt x="31986" y="26608"/>
                </a:lnTo>
                <a:lnTo>
                  <a:pt x="3648" y="9081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5" name="object 365"/>
          <p:cNvSpPr/>
          <p:nvPr/>
        </p:nvSpPr>
        <p:spPr>
          <a:xfrm>
            <a:off x="2721863" y="5070857"/>
            <a:ext cx="0" cy="860831"/>
          </a:xfrm>
          <a:custGeom>
            <a:avLst/>
            <a:gdLst/>
            <a:ahLst/>
            <a:cxnLst/>
            <a:rect l="l" t="t" r="r" b="b"/>
            <a:pathLst>
              <a:path h="860831">
                <a:moveTo>
                  <a:pt x="0" y="0"/>
                </a:moveTo>
                <a:lnTo>
                  <a:pt x="0" y="86083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6" name="object 366"/>
          <p:cNvSpPr/>
          <p:nvPr/>
        </p:nvSpPr>
        <p:spPr>
          <a:xfrm>
            <a:off x="637463" y="5063744"/>
            <a:ext cx="0" cy="860806"/>
          </a:xfrm>
          <a:custGeom>
            <a:avLst/>
            <a:gdLst/>
            <a:ahLst/>
            <a:cxnLst/>
            <a:rect l="l" t="t" r="r" b="b"/>
            <a:pathLst>
              <a:path h="860805">
                <a:moveTo>
                  <a:pt x="0" y="0"/>
                </a:moveTo>
                <a:lnTo>
                  <a:pt x="0" y="86080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7" name="object 367"/>
          <p:cNvSpPr/>
          <p:nvPr/>
        </p:nvSpPr>
        <p:spPr>
          <a:xfrm>
            <a:off x="2946528" y="5348224"/>
            <a:ext cx="2091309" cy="0"/>
          </a:xfrm>
          <a:custGeom>
            <a:avLst/>
            <a:gdLst/>
            <a:ahLst/>
            <a:cxnLst/>
            <a:rect l="l" t="t" r="r" b="b"/>
            <a:pathLst>
              <a:path w="2091309">
                <a:moveTo>
                  <a:pt x="0" y="0"/>
                </a:moveTo>
                <a:lnTo>
                  <a:pt x="209130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8" name="object 368"/>
          <p:cNvSpPr/>
          <p:nvPr/>
        </p:nvSpPr>
        <p:spPr>
          <a:xfrm>
            <a:off x="2951226" y="5449506"/>
            <a:ext cx="2091308" cy="100013"/>
          </a:xfrm>
          <a:custGeom>
            <a:avLst/>
            <a:gdLst/>
            <a:ahLst/>
            <a:cxnLst/>
            <a:rect l="l" t="t" r="r" b="b"/>
            <a:pathLst>
              <a:path w="2091308" h="100013">
                <a:moveTo>
                  <a:pt x="0" y="100013"/>
                </a:moveTo>
                <a:lnTo>
                  <a:pt x="2091308" y="100013"/>
                </a:lnTo>
                <a:lnTo>
                  <a:pt x="2091308" y="0"/>
                </a:lnTo>
                <a:lnTo>
                  <a:pt x="0" y="0"/>
                </a:lnTo>
                <a:lnTo>
                  <a:pt x="0" y="100013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9" name="object 369"/>
          <p:cNvSpPr/>
          <p:nvPr/>
        </p:nvSpPr>
        <p:spPr>
          <a:xfrm>
            <a:off x="2969515" y="5668568"/>
            <a:ext cx="2091309" cy="100013"/>
          </a:xfrm>
          <a:custGeom>
            <a:avLst/>
            <a:gdLst/>
            <a:ahLst/>
            <a:cxnLst/>
            <a:rect l="l" t="t" r="r" b="b"/>
            <a:pathLst>
              <a:path w="2091309" h="100013">
                <a:moveTo>
                  <a:pt x="0" y="100013"/>
                </a:moveTo>
                <a:lnTo>
                  <a:pt x="2091309" y="100013"/>
                </a:lnTo>
                <a:lnTo>
                  <a:pt x="2091309" y="0"/>
                </a:lnTo>
                <a:lnTo>
                  <a:pt x="0" y="0"/>
                </a:lnTo>
                <a:lnTo>
                  <a:pt x="0" y="100013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0" name="object 370"/>
          <p:cNvSpPr/>
          <p:nvPr/>
        </p:nvSpPr>
        <p:spPr>
          <a:xfrm>
            <a:off x="3448812" y="5235195"/>
            <a:ext cx="0" cy="659587"/>
          </a:xfrm>
          <a:custGeom>
            <a:avLst/>
            <a:gdLst/>
            <a:ahLst/>
            <a:cxnLst/>
            <a:rect l="l" t="t" r="r" b="b"/>
            <a:pathLst>
              <a:path h="659587">
                <a:moveTo>
                  <a:pt x="0" y="0"/>
                </a:moveTo>
                <a:lnTo>
                  <a:pt x="0" y="6595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1" name="object 371"/>
          <p:cNvSpPr/>
          <p:nvPr/>
        </p:nvSpPr>
        <p:spPr>
          <a:xfrm>
            <a:off x="3779012" y="5235195"/>
            <a:ext cx="0" cy="659587"/>
          </a:xfrm>
          <a:custGeom>
            <a:avLst/>
            <a:gdLst/>
            <a:ahLst/>
            <a:cxnLst/>
            <a:rect l="l" t="t" r="r" b="b"/>
            <a:pathLst>
              <a:path h="659587">
                <a:moveTo>
                  <a:pt x="0" y="0"/>
                </a:moveTo>
                <a:lnTo>
                  <a:pt x="0" y="6595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2" name="object 372"/>
          <p:cNvSpPr/>
          <p:nvPr/>
        </p:nvSpPr>
        <p:spPr>
          <a:xfrm>
            <a:off x="4317872" y="5239893"/>
            <a:ext cx="0" cy="659650"/>
          </a:xfrm>
          <a:custGeom>
            <a:avLst/>
            <a:gdLst/>
            <a:ahLst/>
            <a:cxnLst/>
            <a:rect l="l" t="t" r="r" b="b"/>
            <a:pathLst>
              <a:path h="659650">
                <a:moveTo>
                  <a:pt x="0" y="0"/>
                </a:moveTo>
                <a:lnTo>
                  <a:pt x="0" y="6596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3" name="object 373"/>
          <p:cNvSpPr/>
          <p:nvPr/>
        </p:nvSpPr>
        <p:spPr>
          <a:xfrm>
            <a:off x="2937383" y="5230368"/>
            <a:ext cx="2118868" cy="0"/>
          </a:xfrm>
          <a:custGeom>
            <a:avLst/>
            <a:gdLst/>
            <a:ahLst/>
            <a:cxnLst/>
            <a:rect l="l" t="t" r="r" b="b"/>
            <a:pathLst>
              <a:path w="2118868">
                <a:moveTo>
                  <a:pt x="0" y="0"/>
                </a:moveTo>
                <a:lnTo>
                  <a:pt x="211886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4" name="object 374"/>
          <p:cNvSpPr/>
          <p:nvPr/>
        </p:nvSpPr>
        <p:spPr>
          <a:xfrm>
            <a:off x="2964943" y="4970908"/>
            <a:ext cx="2088895" cy="208280"/>
          </a:xfrm>
          <a:custGeom>
            <a:avLst/>
            <a:gdLst/>
            <a:ahLst/>
            <a:cxnLst/>
            <a:rect l="l" t="t" r="r" b="b"/>
            <a:pathLst>
              <a:path w="2088895" h="208279">
                <a:moveTo>
                  <a:pt x="0" y="104140"/>
                </a:moveTo>
                <a:lnTo>
                  <a:pt x="3462" y="112683"/>
                </a:lnTo>
                <a:lnTo>
                  <a:pt x="13670" y="121035"/>
                </a:lnTo>
                <a:lnTo>
                  <a:pt x="53246" y="137062"/>
                </a:lnTo>
                <a:lnTo>
                  <a:pt x="116579" y="152005"/>
                </a:lnTo>
                <a:lnTo>
                  <a:pt x="156482" y="159003"/>
                </a:lnTo>
                <a:lnTo>
                  <a:pt x="201517" y="165650"/>
                </a:lnTo>
                <a:lnTo>
                  <a:pt x="251416" y="171919"/>
                </a:lnTo>
                <a:lnTo>
                  <a:pt x="305911" y="177784"/>
                </a:lnTo>
                <a:lnTo>
                  <a:pt x="364731" y="183217"/>
                </a:lnTo>
                <a:lnTo>
                  <a:pt x="427610" y="188191"/>
                </a:lnTo>
                <a:lnTo>
                  <a:pt x="494276" y="192681"/>
                </a:lnTo>
                <a:lnTo>
                  <a:pt x="564463" y="196659"/>
                </a:lnTo>
                <a:lnTo>
                  <a:pt x="637901" y="200098"/>
                </a:lnTo>
                <a:lnTo>
                  <a:pt x="714321" y="202972"/>
                </a:lnTo>
                <a:lnTo>
                  <a:pt x="793454" y="205254"/>
                </a:lnTo>
                <a:lnTo>
                  <a:pt x="875032" y="206917"/>
                </a:lnTo>
                <a:lnTo>
                  <a:pt x="958786" y="207934"/>
                </a:lnTo>
                <a:lnTo>
                  <a:pt x="1044447" y="208280"/>
                </a:lnTo>
                <a:lnTo>
                  <a:pt x="1130109" y="207934"/>
                </a:lnTo>
                <a:lnTo>
                  <a:pt x="1213863" y="206917"/>
                </a:lnTo>
                <a:lnTo>
                  <a:pt x="1295441" y="205254"/>
                </a:lnTo>
                <a:lnTo>
                  <a:pt x="1374574" y="202972"/>
                </a:lnTo>
                <a:lnTo>
                  <a:pt x="1450994" y="200098"/>
                </a:lnTo>
                <a:lnTo>
                  <a:pt x="1524432" y="196659"/>
                </a:lnTo>
                <a:lnTo>
                  <a:pt x="1594619" y="192681"/>
                </a:lnTo>
                <a:lnTo>
                  <a:pt x="1661285" y="188191"/>
                </a:lnTo>
                <a:lnTo>
                  <a:pt x="1724164" y="183217"/>
                </a:lnTo>
                <a:lnTo>
                  <a:pt x="1782984" y="177784"/>
                </a:lnTo>
                <a:lnTo>
                  <a:pt x="1837479" y="171919"/>
                </a:lnTo>
                <a:lnTo>
                  <a:pt x="1887378" y="165650"/>
                </a:lnTo>
                <a:lnTo>
                  <a:pt x="1932413" y="159003"/>
                </a:lnTo>
                <a:lnTo>
                  <a:pt x="1972316" y="152005"/>
                </a:lnTo>
                <a:lnTo>
                  <a:pt x="2006818" y="144682"/>
                </a:lnTo>
                <a:lnTo>
                  <a:pt x="2058541" y="129171"/>
                </a:lnTo>
                <a:lnTo>
                  <a:pt x="2088895" y="104140"/>
                </a:lnTo>
                <a:lnTo>
                  <a:pt x="2058541" y="79108"/>
                </a:lnTo>
                <a:lnTo>
                  <a:pt x="2006818" y="63597"/>
                </a:lnTo>
                <a:lnTo>
                  <a:pt x="1972316" y="56274"/>
                </a:lnTo>
                <a:lnTo>
                  <a:pt x="1932413" y="49276"/>
                </a:lnTo>
                <a:lnTo>
                  <a:pt x="1887378" y="42629"/>
                </a:lnTo>
                <a:lnTo>
                  <a:pt x="1837479" y="36360"/>
                </a:lnTo>
                <a:lnTo>
                  <a:pt x="1782984" y="30495"/>
                </a:lnTo>
                <a:lnTo>
                  <a:pt x="1724164" y="25062"/>
                </a:lnTo>
                <a:lnTo>
                  <a:pt x="1661285" y="20088"/>
                </a:lnTo>
                <a:lnTo>
                  <a:pt x="1594619" y="15598"/>
                </a:lnTo>
                <a:lnTo>
                  <a:pt x="1524432" y="11620"/>
                </a:lnTo>
                <a:lnTo>
                  <a:pt x="1450994" y="8181"/>
                </a:lnTo>
                <a:lnTo>
                  <a:pt x="1374574" y="5307"/>
                </a:lnTo>
                <a:lnTo>
                  <a:pt x="1295441" y="3025"/>
                </a:lnTo>
                <a:lnTo>
                  <a:pt x="1213863" y="1362"/>
                </a:lnTo>
                <a:lnTo>
                  <a:pt x="1130109" y="345"/>
                </a:lnTo>
                <a:lnTo>
                  <a:pt x="1044447" y="0"/>
                </a:lnTo>
                <a:lnTo>
                  <a:pt x="958786" y="345"/>
                </a:lnTo>
                <a:lnTo>
                  <a:pt x="875032" y="1362"/>
                </a:lnTo>
                <a:lnTo>
                  <a:pt x="793454" y="3025"/>
                </a:lnTo>
                <a:lnTo>
                  <a:pt x="714321" y="5307"/>
                </a:lnTo>
                <a:lnTo>
                  <a:pt x="637901" y="8181"/>
                </a:lnTo>
                <a:lnTo>
                  <a:pt x="564463" y="11620"/>
                </a:lnTo>
                <a:lnTo>
                  <a:pt x="494276" y="15598"/>
                </a:lnTo>
                <a:lnTo>
                  <a:pt x="427610" y="20088"/>
                </a:lnTo>
                <a:lnTo>
                  <a:pt x="364731" y="25062"/>
                </a:lnTo>
                <a:lnTo>
                  <a:pt x="305911" y="30495"/>
                </a:lnTo>
                <a:lnTo>
                  <a:pt x="251416" y="36360"/>
                </a:lnTo>
                <a:lnTo>
                  <a:pt x="201517" y="42629"/>
                </a:lnTo>
                <a:lnTo>
                  <a:pt x="156482" y="49276"/>
                </a:lnTo>
                <a:lnTo>
                  <a:pt x="116579" y="56274"/>
                </a:lnTo>
                <a:lnTo>
                  <a:pt x="82077" y="63597"/>
                </a:lnTo>
                <a:lnTo>
                  <a:pt x="30354" y="79108"/>
                </a:lnTo>
                <a:lnTo>
                  <a:pt x="3462" y="95596"/>
                </a:lnTo>
                <a:lnTo>
                  <a:pt x="0" y="104140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5" name="object 375"/>
          <p:cNvSpPr/>
          <p:nvPr/>
        </p:nvSpPr>
        <p:spPr>
          <a:xfrm>
            <a:off x="2964943" y="4970908"/>
            <a:ext cx="2088895" cy="208280"/>
          </a:xfrm>
          <a:custGeom>
            <a:avLst/>
            <a:gdLst/>
            <a:ahLst/>
            <a:cxnLst/>
            <a:rect l="l" t="t" r="r" b="b"/>
            <a:pathLst>
              <a:path w="2088895" h="208279">
                <a:moveTo>
                  <a:pt x="0" y="104140"/>
                </a:moveTo>
                <a:lnTo>
                  <a:pt x="30354" y="79108"/>
                </a:lnTo>
                <a:lnTo>
                  <a:pt x="82077" y="63597"/>
                </a:lnTo>
                <a:lnTo>
                  <a:pt x="116579" y="56274"/>
                </a:lnTo>
                <a:lnTo>
                  <a:pt x="156482" y="49276"/>
                </a:lnTo>
                <a:lnTo>
                  <a:pt x="201517" y="42629"/>
                </a:lnTo>
                <a:lnTo>
                  <a:pt x="251416" y="36360"/>
                </a:lnTo>
                <a:lnTo>
                  <a:pt x="305911" y="30495"/>
                </a:lnTo>
                <a:lnTo>
                  <a:pt x="364731" y="25062"/>
                </a:lnTo>
                <a:lnTo>
                  <a:pt x="427610" y="20088"/>
                </a:lnTo>
                <a:lnTo>
                  <a:pt x="494276" y="15598"/>
                </a:lnTo>
                <a:lnTo>
                  <a:pt x="564463" y="11620"/>
                </a:lnTo>
                <a:lnTo>
                  <a:pt x="637901" y="8181"/>
                </a:lnTo>
                <a:lnTo>
                  <a:pt x="714321" y="5307"/>
                </a:lnTo>
                <a:lnTo>
                  <a:pt x="793454" y="3025"/>
                </a:lnTo>
                <a:lnTo>
                  <a:pt x="875032" y="1362"/>
                </a:lnTo>
                <a:lnTo>
                  <a:pt x="958786" y="345"/>
                </a:lnTo>
                <a:lnTo>
                  <a:pt x="1044447" y="0"/>
                </a:lnTo>
                <a:lnTo>
                  <a:pt x="1130109" y="345"/>
                </a:lnTo>
                <a:lnTo>
                  <a:pt x="1213863" y="1362"/>
                </a:lnTo>
                <a:lnTo>
                  <a:pt x="1295441" y="3025"/>
                </a:lnTo>
                <a:lnTo>
                  <a:pt x="1374574" y="5307"/>
                </a:lnTo>
                <a:lnTo>
                  <a:pt x="1450994" y="8181"/>
                </a:lnTo>
                <a:lnTo>
                  <a:pt x="1524432" y="11620"/>
                </a:lnTo>
                <a:lnTo>
                  <a:pt x="1594619" y="15598"/>
                </a:lnTo>
                <a:lnTo>
                  <a:pt x="1661285" y="20088"/>
                </a:lnTo>
                <a:lnTo>
                  <a:pt x="1724164" y="25062"/>
                </a:lnTo>
                <a:lnTo>
                  <a:pt x="1782984" y="30495"/>
                </a:lnTo>
                <a:lnTo>
                  <a:pt x="1837479" y="36360"/>
                </a:lnTo>
                <a:lnTo>
                  <a:pt x="1887378" y="42629"/>
                </a:lnTo>
                <a:lnTo>
                  <a:pt x="1932413" y="49276"/>
                </a:lnTo>
                <a:lnTo>
                  <a:pt x="1972316" y="56274"/>
                </a:lnTo>
                <a:lnTo>
                  <a:pt x="2006818" y="63597"/>
                </a:lnTo>
                <a:lnTo>
                  <a:pt x="2058541" y="79108"/>
                </a:lnTo>
                <a:lnTo>
                  <a:pt x="2088895" y="104140"/>
                </a:lnTo>
                <a:lnTo>
                  <a:pt x="2085433" y="112683"/>
                </a:lnTo>
                <a:lnTo>
                  <a:pt x="2075225" y="121035"/>
                </a:lnTo>
                <a:lnTo>
                  <a:pt x="2035649" y="137062"/>
                </a:lnTo>
                <a:lnTo>
                  <a:pt x="1972316" y="152005"/>
                </a:lnTo>
                <a:lnTo>
                  <a:pt x="1932413" y="159003"/>
                </a:lnTo>
                <a:lnTo>
                  <a:pt x="1887378" y="165650"/>
                </a:lnTo>
                <a:lnTo>
                  <a:pt x="1837479" y="171919"/>
                </a:lnTo>
                <a:lnTo>
                  <a:pt x="1782984" y="177784"/>
                </a:lnTo>
                <a:lnTo>
                  <a:pt x="1724164" y="183217"/>
                </a:lnTo>
                <a:lnTo>
                  <a:pt x="1661285" y="188191"/>
                </a:lnTo>
                <a:lnTo>
                  <a:pt x="1594619" y="192681"/>
                </a:lnTo>
                <a:lnTo>
                  <a:pt x="1524432" y="196659"/>
                </a:lnTo>
                <a:lnTo>
                  <a:pt x="1450994" y="200098"/>
                </a:lnTo>
                <a:lnTo>
                  <a:pt x="1374574" y="202972"/>
                </a:lnTo>
                <a:lnTo>
                  <a:pt x="1295441" y="205254"/>
                </a:lnTo>
                <a:lnTo>
                  <a:pt x="1213863" y="206917"/>
                </a:lnTo>
                <a:lnTo>
                  <a:pt x="1130109" y="207934"/>
                </a:lnTo>
                <a:lnTo>
                  <a:pt x="1044447" y="208280"/>
                </a:lnTo>
                <a:lnTo>
                  <a:pt x="958786" y="207934"/>
                </a:lnTo>
                <a:lnTo>
                  <a:pt x="875032" y="206917"/>
                </a:lnTo>
                <a:lnTo>
                  <a:pt x="793454" y="205254"/>
                </a:lnTo>
                <a:lnTo>
                  <a:pt x="714321" y="202972"/>
                </a:lnTo>
                <a:lnTo>
                  <a:pt x="637901" y="200098"/>
                </a:lnTo>
                <a:lnTo>
                  <a:pt x="564463" y="196659"/>
                </a:lnTo>
                <a:lnTo>
                  <a:pt x="494276" y="192681"/>
                </a:lnTo>
                <a:lnTo>
                  <a:pt x="427610" y="188191"/>
                </a:lnTo>
                <a:lnTo>
                  <a:pt x="364731" y="183217"/>
                </a:lnTo>
                <a:lnTo>
                  <a:pt x="305911" y="177784"/>
                </a:lnTo>
                <a:lnTo>
                  <a:pt x="251416" y="171919"/>
                </a:lnTo>
                <a:lnTo>
                  <a:pt x="201517" y="165650"/>
                </a:lnTo>
                <a:lnTo>
                  <a:pt x="156482" y="159003"/>
                </a:lnTo>
                <a:lnTo>
                  <a:pt x="116579" y="152005"/>
                </a:lnTo>
                <a:lnTo>
                  <a:pt x="82077" y="144682"/>
                </a:lnTo>
                <a:lnTo>
                  <a:pt x="53246" y="137062"/>
                </a:lnTo>
                <a:lnTo>
                  <a:pt x="13670" y="121035"/>
                </a:lnTo>
                <a:lnTo>
                  <a:pt x="0" y="10414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6" name="object 376"/>
          <p:cNvSpPr/>
          <p:nvPr/>
        </p:nvSpPr>
        <p:spPr>
          <a:xfrm>
            <a:off x="3969259" y="5911457"/>
            <a:ext cx="1100708" cy="110731"/>
          </a:xfrm>
          <a:custGeom>
            <a:avLst/>
            <a:gdLst/>
            <a:ahLst/>
            <a:cxnLst/>
            <a:rect l="l" t="t" r="r" b="b"/>
            <a:pathLst>
              <a:path w="1100708" h="110731">
                <a:moveTo>
                  <a:pt x="1100708" y="0"/>
                </a:moveTo>
                <a:lnTo>
                  <a:pt x="1068722" y="26607"/>
                </a:lnTo>
                <a:lnTo>
                  <a:pt x="1014216" y="43097"/>
                </a:lnTo>
                <a:lnTo>
                  <a:pt x="977858" y="50882"/>
                </a:lnTo>
                <a:lnTo>
                  <a:pt x="935808" y="58323"/>
                </a:lnTo>
                <a:lnTo>
                  <a:pt x="888348" y="65390"/>
                </a:lnTo>
                <a:lnTo>
                  <a:pt x="835763" y="72056"/>
                </a:lnTo>
                <a:lnTo>
                  <a:pt x="778335" y="78292"/>
                </a:lnTo>
                <a:lnTo>
                  <a:pt x="716347" y="84069"/>
                </a:lnTo>
                <a:lnTo>
                  <a:pt x="650083" y="89359"/>
                </a:lnTo>
                <a:lnTo>
                  <a:pt x="579826" y="94134"/>
                </a:lnTo>
                <a:lnTo>
                  <a:pt x="505858" y="98365"/>
                </a:lnTo>
                <a:lnTo>
                  <a:pt x="428464" y="102023"/>
                </a:lnTo>
                <a:lnTo>
                  <a:pt x="347926" y="105080"/>
                </a:lnTo>
                <a:lnTo>
                  <a:pt x="264527" y="107508"/>
                </a:lnTo>
                <a:lnTo>
                  <a:pt x="178551" y="109278"/>
                </a:lnTo>
                <a:lnTo>
                  <a:pt x="90281" y="110362"/>
                </a:lnTo>
                <a:lnTo>
                  <a:pt x="0" y="11073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7" name="object 377"/>
          <p:cNvSpPr/>
          <p:nvPr/>
        </p:nvSpPr>
        <p:spPr>
          <a:xfrm>
            <a:off x="2958085" y="5911457"/>
            <a:ext cx="1100582" cy="110731"/>
          </a:xfrm>
          <a:custGeom>
            <a:avLst/>
            <a:gdLst/>
            <a:ahLst/>
            <a:cxnLst/>
            <a:rect l="l" t="t" r="r" b="b"/>
            <a:pathLst>
              <a:path w="1100582" h="110731">
                <a:moveTo>
                  <a:pt x="1100582" y="110731"/>
                </a:moveTo>
                <a:lnTo>
                  <a:pt x="1010318" y="110364"/>
                </a:lnTo>
                <a:lnTo>
                  <a:pt x="922064" y="109281"/>
                </a:lnTo>
                <a:lnTo>
                  <a:pt x="836103" y="107512"/>
                </a:lnTo>
                <a:lnTo>
                  <a:pt x="752717" y="105085"/>
                </a:lnTo>
                <a:lnTo>
                  <a:pt x="672191" y="102028"/>
                </a:lnTo>
                <a:lnTo>
                  <a:pt x="594806" y="98370"/>
                </a:lnTo>
                <a:lnTo>
                  <a:pt x="520847" y="94140"/>
                </a:lnTo>
                <a:lnTo>
                  <a:pt x="450598" y="89365"/>
                </a:lnTo>
                <a:lnTo>
                  <a:pt x="384340" y="84074"/>
                </a:lnTo>
                <a:lnTo>
                  <a:pt x="322357" y="78297"/>
                </a:lnTo>
                <a:lnTo>
                  <a:pt x="264933" y="72060"/>
                </a:lnTo>
                <a:lnTo>
                  <a:pt x="212352" y="65394"/>
                </a:lnTo>
                <a:lnTo>
                  <a:pt x="164895" y="58326"/>
                </a:lnTo>
                <a:lnTo>
                  <a:pt x="122847" y="50885"/>
                </a:lnTo>
                <a:lnTo>
                  <a:pt x="86490" y="43099"/>
                </a:lnTo>
                <a:lnTo>
                  <a:pt x="31986" y="26608"/>
                </a:lnTo>
                <a:lnTo>
                  <a:pt x="3648" y="9081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8" name="object 378"/>
          <p:cNvSpPr/>
          <p:nvPr/>
        </p:nvSpPr>
        <p:spPr>
          <a:xfrm>
            <a:off x="5046981" y="5070857"/>
            <a:ext cx="0" cy="860831"/>
          </a:xfrm>
          <a:custGeom>
            <a:avLst/>
            <a:gdLst/>
            <a:ahLst/>
            <a:cxnLst/>
            <a:rect l="l" t="t" r="r" b="b"/>
            <a:pathLst>
              <a:path h="860831">
                <a:moveTo>
                  <a:pt x="0" y="0"/>
                </a:moveTo>
                <a:lnTo>
                  <a:pt x="0" y="86083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9" name="object 379"/>
          <p:cNvSpPr/>
          <p:nvPr/>
        </p:nvSpPr>
        <p:spPr>
          <a:xfrm>
            <a:off x="2962656" y="5063744"/>
            <a:ext cx="0" cy="860806"/>
          </a:xfrm>
          <a:custGeom>
            <a:avLst/>
            <a:gdLst/>
            <a:ahLst/>
            <a:cxnLst/>
            <a:rect l="l" t="t" r="r" b="b"/>
            <a:pathLst>
              <a:path h="860805">
                <a:moveTo>
                  <a:pt x="0" y="0"/>
                </a:moveTo>
                <a:lnTo>
                  <a:pt x="0" y="86080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0" name="object 380"/>
          <p:cNvSpPr/>
          <p:nvPr/>
        </p:nvSpPr>
        <p:spPr>
          <a:xfrm>
            <a:off x="5262626" y="4956556"/>
            <a:ext cx="2088895" cy="208406"/>
          </a:xfrm>
          <a:custGeom>
            <a:avLst/>
            <a:gdLst/>
            <a:ahLst/>
            <a:cxnLst/>
            <a:rect l="l" t="t" r="r" b="b"/>
            <a:pathLst>
              <a:path w="2088896" h="208406">
                <a:moveTo>
                  <a:pt x="0" y="104140"/>
                </a:moveTo>
                <a:lnTo>
                  <a:pt x="3462" y="112701"/>
                </a:lnTo>
                <a:lnTo>
                  <a:pt x="13670" y="121070"/>
                </a:lnTo>
                <a:lnTo>
                  <a:pt x="53246" y="137124"/>
                </a:lnTo>
                <a:lnTo>
                  <a:pt x="116579" y="152088"/>
                </a:lnTo>
                <a:lnTo>
                  <a:pt x="156482" y="159095"/>
                </a:lnTo>
                <a:lnTo>
                  <a:pt x="201517" y="165750"/>
                </a:lnTo>
                <a:lnTo>
                  <a:pt x="251416" y="172025"/>
                </a:lnTo>
                <a:lnTo>
                  <a:pt x="305911" y="177895"/>
                </a:lnTo>
                <a:lnTo>
                  <a:pt x="364731" y="183332"/>
                </a:lnTo>
                <a:lnTo>
                  <a:pt x="427610" y="188310"/>
                </a:lnTo>
                <a:lnTo>
                  <a:pt x="494276" y="192802"/>
                </a:lnTo>
                <a:lnTo>
                  <a:pt x="564463" y="196782"/>
                </a:lnTo>
                <a:lnTo>
                  <a:pt x="637901" y="200223"/>
                </a:lnTo>
                <a:lnTo>
                  <a:pt x="714321" y="203098"/>
                </a:lnTo>
                <a:lnTo>
                  <a:pt x="793454" y="205380"/>
                </a:lnTo>
                <a:lnTo>
                  <a:pt x="875032" y="207044"/>
                </a:lnTo>
                <a:lnTo>
                  <a:pt x="958786" y="208061"/>
                </a:lnTo>
                <a:lnTo>
                  <a:pt x="1044448" y="208407"/>
                </a:lnTo>
                <a:lnTo>
                  <a:pt x="1130109" y="208061"/>
                </a:lnTo>
                <a:lnTo>
                  <a:pt x="1213863" y="207044"/>
                </a:lnTo>
                <a:lnTo>
                  <a:pt x="1295441" y="205380"/>
                </a:lnTo>
                <a:lnTo>
                  <a:pt x="1374574" y="203098"/>
                </a:lnTo>
                <a:lnTo>
                  <a:pt x="1450994" y="200223"/>
                </a:lnTo>
                <a:lnTo>
                  <a:pt x="1524432" y="196782"/>
                </a:lnTo>
                <a:lnTo>
                  <a:pt x="1594619" y="192802"/>
                </a:lnTo>
                <a:lnTo>
                  <a:pt x="1661285" y="188310"/>
                </a:lnTo>
                <a:lnTo>
                  <a:pt x="1724164" y="183332"/>
                </a:lnTo>
                <a:lnTo>
                  <a:pt x="1782984" y="177895"/>
                </a:lnTo>
                <a:lnTo>
                  <a:pt x="1837479" y="172025"/>
                </a:lnTo>
                <a:lnTo>
                  <a:pt x="1887378" y="165750"/>
                </a:lnTo>
                <a:lnTo>
                  <a:pt x="1932413" y="159095"/>
                </a:lnTo>
                <a:lnTo>
                  <a:pt x="1972316" y="152088"/>
                </a:lnTo>
                <a:lnTo>
                  <a:pt x="2006818" y="144756"/>
                </a:lnTo>
                <a:lnTo>
                  <a:pt x="2058541" y="129220"/>
                </a:lnTo>
                <a:lnTo>
                  <a:pt x="2088896" y="104140"/>
                </a:lnTo>
                <a:lnTo>
                  <a:pt x="2058541" y="79108"/>
                </a:lnTo>
                <a:lnTo>
                  <a:pt x="2006818" y="63597"/>
                </a:lnTo>
                <a:lnTo>
                  <a:pt x="1972316" y="56274"/>
                </a:lnTo>
                <a:lnTo>
                  <a:pt x="1932413" y="49276"/>
                </a:lnTo>
                <a:lnTo>
                  <a:pt x="1887378" y="42629"/>
                </a:lnTo>
                <a:lnTo>
                  <a:pt x="1837479" y="36360"/>
                </a:lnTo>
                <a:lnTo>
                  <a:pt x="1782984" y="30495"/>
                </a:lnTo>
                <a:lnTo>
                  <a:pt x="1724164" y="25062"/>
                </a:lnTo>
                <a:lnTo>
                  <a:pt x="1661285" y="20088"/>
                </a:lnTo>
                <a:lnTo>
                  <a:pt x="1594619" y="15598"/>
                </a:lnTo>
                <a:lnTo>
                  <a:pt x="1524432" y="11620"/>
                </a:lnTo>
                <a:lnTo>
                  <a:pt x="1450994" y="8181"/>
                </a:lnTo>
                <a:lnTo>
                  <a:pt x="1374574" y="5307"/>
                </a:lnTo>
                <a:lnTo>
                  <a:pt x="1295441" y="3025"/>
                </a:lnTo>
                <a:lnTo>
                  <a:pt x="1213863" y="1362"/>
                </a:lnTo>
                <a:lnTo>
                  <a:pt x="1130109" y="345"/>
                </a:lnTo>
                <a:lnTo>
                  <a:pt x="1044448" y="0"/>
                </a:lnTo>
                <a:lnTo>
                  <a:pt x="958786" y="345"/>
                </a:lnTo>
                <a:lnTo>
                  <a:pt x="875032" y="1362"/>
                </a:lnTo>
                <a:lnTo>
                  <a:pt x="793454" y="3025"/>
                </a:lnTo>
                <a:lnTo>
                  <a:pt x="714321" y="5307"/>
                </a:lnTo>
                <a:lnTo>
                  <a:pt x="637901" y="8181"/>
                </a:lnTo>
                <a:lnTo>
                  <a:pt x="564463" y="11620"/>
                </a:lnTo>
                <a:lnTo>
                  <a:pt x="494276" y="15598"/>
                </a:lnTo>
                <a:lnTo>
                  <a:pt x="427610" y="20088"/>
                </a:lnTo>
                <a:lnTo>
                  <a:pt x="364731" y="25062"/>
                </a:lnTo>
                <a:lnTo>
                  <a:pt x="305911" y="30495"/>
                </a:lnTo>
                <a:lnTo>
                  <a:pt x="251416" y="36360"/>
                </a:lnTo>
                <a:lnTo>
                  <a:pt x="201517" y="42629"/>
                </a:lnTo>
                <a:lnTo>
                  <a:pt x="156482" y="49276"/>
                </a:lnTo>
                <a:lnTo>
                  <a:pt x="116579" y="56274"/>
                </a:lnTo>
                <a:lnTo>
                  <a:pt x="82077" y="63597"/>
                </a:lnTo>
                <a:lnTo>
                  <a:pt x="30354" y="79108"/>
                </a:lnTo>
                <a:lnTo>
                  <a:pt x="3462" y="95596"/>
                </a:lnTo>
                <a:lnTo>
                  <a:pt x="0" y="104140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1" name="object 381"/>
          <p:cNvSpPr/>
          <p:nvPr/>
        </p:nvSpPr>
        <p:spPr>
          <a:xfrm>
            <a:off x="5262626" y="4956556"/>
            <a:ext cx="2088895" cy="208406"/>
          </a:xfrm>
          <a:custGeom>
            <a:avLst/>
            <a:gdLst/>
            <a:ahLst/>
            <a:cxnLst/>
            <a:rect l="l" t="t" r="r" b="b"/>
            <a:pathLst>
              <a:path w="2088896" h="208406">
                <a:moveTo>
                  <a:pt x="0" y="104140"/>
                </a:moveTo>
                <a:lnTo>
                  <a:pt x="30354" y="79108"/>
                </a:lnTo>
                <a:lnTo>
                  <a:pt x="82077" y="63597"/>
                </a:lnTo>
                <a:lnTo>
                  <a:pt x="116579" y="56274"/>
                </a:lnTo>
                <a:lnTo>
                  <a:pt x="156482" y="49276"/>
                </a:lnTo>
                <a:lnTo>
                  <a:pt x="201517" y="42629"/>
                </a:lnTo>
                <a:lnTo>
                  <a:pt x="251416" y="36360"/>
                </a:lnTo>
                <a:lnTo>
                  <a:pt x="305911" y="30495"/>
                </a:lnTo>
                <a:lnTo>
                  <a:pt x="364731" y="25062"/>
                </a:lnTo>
                <a:lnTo>
                  <a:pt x="427610" y="20088"/>
                </a:lnTo>
                <a:lnTo>
                  <a:pt x="494276" y="15598"/>
                </a:lnTo>
                <a:lnTo>
                  <a:pt x="564463" y="11620"/>
                </a:lnTo>
                <a:lnTo>
                  <a:pt x="637901" y="8181"/>
                </a:lnTo>
                <a:lnTo>
                  <a:pt x="714321" y="5307"/>
                </a:lnTo>
                <a:lnTo>
                  <a:pt x="793454" y="3025"/>
                </a:lnTo>
                <a:lnTo>
                  <a:pt x="875032" y="1362"/>
                </a:lnTo>
                <a:lnTo>
                  <a:pt x="958786" y="345"/>
                </a:lnTo>
                <a:lnTo>
                  <a:pt x="1044448" y="0"/>
                </a:lnTo>
                <a:lnTo>
                  <a:pt x="1130109" y="345"/>
                </a:lnTo>
                <a:lnTo>
                  <a:pt x="1213863" y="1362"/>
                </a:lnTo>
                <a:lnTo>
                  <a:pt x="1295441" y="3025"/>
                </a:lnTo>
                <a:lnTo>
                  <a:pt x="1374574" y="5307"/>
                </a:lnTo>
                <a:lnTo>
                  <a:pt x="1450994" y="8181"/>
                </a:lnTo>
                <a:lnTo>
                  <a:pt x="1524432" y="11620"/>
                </a:lnTo>
                <a:lnTo>
                  <a:pt x="1594619" y="15598"/>
                </a:lnTo>
                <a:lnTo>
                  <a:pt x="1661285" y="20088"/>
                </a:lnTo>
                <a:lnTo>
                  <a:pt x="1724164" y="25062"/>
                </a:lnTo>
                <a:lnTo>
                  <a:pt x="1782984" y="30495"/>
                </a:lnTo>
                <a:lnTo>
                  <a:pt x="1837479" y="36360"/>
                </a:lnTo>
                <a:lnTo>
                  <a:pt x="1887378" y="42629"/>
                </a:lnTo>
                <a:lnTo>
                  <a:pt x="1932413" y="49276"/>
                </a:lnTo>
                <a:lnTo>
                  <a:pt x="1972316" y="56274"/>
                </a:lnTo>
                <a:lnTo>
                  <a:pt x="2006818" y="63597"/>
                </a:lnTo>
                <a:lnTo>
                  <a:pt x="2058541" y="79108"/>
                </a:lnTo>
                <a:lnTo>
                  <a:pt x="2088896" y="104140"/>
                </a:lnTo>
                <a:lnTo>
                  <a:pt x="2085433" y="112701"/>
                </a:lnTo>
                <a:lnTo>
                  <a:pt x="2075225" y="121070"/>
                </a:lnTo>
                <a:lnTo>
                  <a:pt x="2035649" y="137124"/>
                </a:lnTo>
                <a:lnTo>
                  <a:pt x="1972316" y="152088"/>
                </a:lnTo>
                <a:lnTo>
                  <a:pt x="1932413" y="159095"/>
                </a:lnTo>
                <a:lnTo>
                  <a:pt x="1887378" y="165750"/>
                </a:lnTo>
                <a:lnTo>
                  <a:pt x="1837479" y="172025"/>
                </a:lnTo>
                <a:lnTo>
                  <a:pt x="1782984" y="177895"/>
                </a:lnTo>
                <a:lnTo>
                  <a:pt x="1724164" y="183332"/>
                </a:lnTo>
                <a:lnTo>
                  <a:pt x="1661285" y="188310"/>
                </a:lnTo>
                <a:lnTo>
                  <a:pt x="1594619" y="192802"/>
                </a:lnTo>
                <a:lnTo>
                  <a:pt x="1524432" y="196782"/>
                </a:lnTo>
                <a:lnTo>
                  <a:pt x="1450994" y="200223"/>
                </a:lnTo>
                <a:lnTo>
                  <a:pt x="1374574" y="203098"/>
                </a:lnTo>
                <a:lnTo>
                  <a:pt x="1295441" y="205380"/>
                </a:lnTo>
                <a:lnTo>
                  <a:pt x="1213863" y="207044"/>
                </a:lnTo>
                <a:lnTo>
                  <a:pt x="1130109" y="208061"/>
                </a:lnTo>
                <a:lnTo>
                  <a:pt x="1044448" y="208407"/>
                </a:lnTo>
                <a:lnTo>
                  <a:pt x="958786" y="208061"/>
                </a:lnTo>
                <a:lnTo>
                  <a:pt x="875032" y="207044"/>
                </a:lnTo>
                <a:lnTo>
                  <a:pt x="793454" y="205380"/>
                </a:lnTo>
                <a:lnTo>
                  <a:pt x="714321" y="203098"/>
                </a:lnTo>
                <a:lnTo>
                  <a:pt x="637901" y="200223"/>
                </a:lnTo>
                <a:lnTo>
                  <a:pt x="564463" y="196782"/>
                </a:lnTo>
                <a:lnTo>
                  <a:pt x="494276" y="192802"/>
                </a:lnTo>
                <a:lnTo>
                  <a:pt x="427610" y="188310"/>
                </a:lnTo>
                <a:lnTo>
                  <a:pt x="364731" y="183332"/>
                </a:lnTo>
                <a:lnTo>
                  <a:pt x="305911" y="177895"/>
                </a:lnTo>
                <a:lnTo>
                  <a:pt x="251416" y="172025"/>
                </a:lnTo>
                <a:lnTo>
                  <a:pt x="201517" y="165750"/>
                </a:lnTo>
                <a:lnTo>
                  <a:pt x="156482" y="159095"/>
                </a:lnTo>
                <a:lnTo>
                  <a:pt x="116579" y="152088"/>
                </a:lnTo>
                <a:lnTo>
                  <a:pt x="82077" y="144756"/>
                </a:lnTo>
                <a:lnTo>
                  <a:pt x="53246" y="137124"/>
                </a:lnTo>
                <a:lnTo>
                  <a:pt x="13670" y="121070"/>
                </a:lnTo>
                <a:lnTo>
                  <a:pt x="0" y="104140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2" name="object 382"/>
          <p:cNvSpPr/>
          <p:nvPr/>
        </p:nvSpPr>
        <p:spPr>
          <a:xfrm>
            <a:off x="6266944" y="5897168"/>
            <a:ext cx="1100708" cy="110718"/>
          </a:xfrm>
          <a:custGeom>
            <a:avLst/>
            <a:gdLst/>
            <a:ahLst/>
            <a:cxnLst/>
            <a:rect l="l" t="t" r="r" b="b"/>
            <a:pathLst>
              <a:path w="1100709" h="110718">
                <a:moveTo>
                  <a:pt x="1100709" y="0"/>
                </a:moveTo>
                <a:lnTo>
                  <a:pt x="1068714" y="26607"/>
                </a:lnTo>
                <a:lnTo>
                  <a:pt x="1014198" y="43097"/>
                </a:lnTo>
                <a:lnTo>
                  <a:pt x="977834" y="50882"/>
                </a:lnTo>
                <a:lnTo>
                  <a:pt x="935777" y="58322"/>
                </a:lnTo>
                <a:lnTo>
                  <a:pt x="888312" y="65389"/>
                </a:lnTo>
                <a:lnTo>
                  <a:pt x="835721" y="72055"/>
                </a:lnTo>
                <a:lnTo>
                  <a:pt x="778287" y="78290"/>
                </a:lnTo>
                <a:lnTo>
                  <a:pt x="716295" y="84067"/>
                </a:lnTo>
                <a:lnTo>
                  <a:pt x="650028" y="89356"/>
                </a:lnTo>
                <a:lnTo>
                  <a:pt x="579769" y="94130"/>
                </a:lnTo>
                <a:lnTo>
                  <a:pt x="505802" y="98360"/>
                </a:lnTo>
                <a:lnTo>
                  <a:pt x="428410" y="102018"/>
                </a:lnTo>
                <a:lnTo>
                  <a:pt x="347877" y="105074"/>
                </a:lnTo>
                <a:lnTo>
                  <a:pt x="264486" y="107500"/>
                </a:lnTo>
                <a:lnTo>
                  <a:pt x="178520" y="109269"/>
                </a:lnTo>
                <a:lnTo>
                  <a:pt x="90264" y="110351"/>
                </a:lnTo>
                <a:lnTo>
                  <a:pt x="0" y="1107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3" name="object 383"/>
          <p:cNvSpPr/>
          <p:nvPr/>
        </p:nvSpPr>
        <p:spPr>
          <a:xfrm>
            <a:off x="5255643" y="5897168"/>
            <a:ext cx="1100708" cy="110718"/>
          </a:xfrm>
          <a:custGeom>
            <a:avLst/>
            <a:gdLst/>
            <a:ahLst/>
            <a:cxnLst/>
            <a:rect l="l" t="t" r="r" b="b"/>
            <a:pathLst>
              <a:path w="1100709" h="110718">
                <a:moveTo>
                  <a:pt x="1100709" y="110718"/>
                </a:moveTo>
                <a:lnTo>
                  <a:pt x="1010427" y="110351"/>
                </a:lnTo>
                <a:lnTo>
                  <a:pt x="922157" y="109269"/>
                </a:lnTo>
                <a:lnTo>
                  <a:pt x="836181" y="107500"/>
                </a:lnTo>
                <a:lnTo>
                  <a:pt x="752782" y="105074"/>
                </a:lnTo>
                <a:lnTo>
                  <a:pt x="672244" y="102018"/>
                </a:lnTo>
                <a:lnTo>
                  <a:pt x="594850" y="98360"/>
                </a:lnTo>
                <a:lnTo>
                  <a:pt x="520882" y="94130"/>
                </a:lnTo>
                <a:lnTo>
                  <a:pt x="450625" y="89356"/>
                </a:lnTo>
                <a:lnTo>
                  <a:pt x="384361" y="84067"/>
                </a:lnTo>
                <a:lnTo>
                  <a:pt x="322373" y="78290"/>
                </a:lnTo>
                <a:lnTo>
                  <a:pt x="264945" y="72055"/>
                </a:lnTo>
                <a:lnTo>
                  <a:pt x="212360" y="65389"/>
                </a:lnTo>
                <a:lnTo>
                  <a:pt x="164900" y="58322"/>
                </a:lnTo>
                <a:lnTo>
                  <a:pt x="122850" y="50882"/>
                </a:lnTo>
                <a:lnTo>
                  <a:pt x="86492" y="43097"/>
                </a:lnTo>
                <a:lnTo>
                  <a:pt x="31986" y="26607"/>
                </a:lnTo>
                <a:lnTo>
                  <a:pt x="3648" y="908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4" name="object 384"/>
          <p:cNvSpPr/>
          <p:nvPr/>
        </p:nvSpPr>
        <p:spPr>
          <a:xfrm>
            <a:off x="7344664" y="5056632"/>
            <a:ext cx="0" cy="860767"/>
          </a:xfrm>
          <a:custGeom>
            <a:avLst/>
            <a:gdLst/>
            <a:ahLst/>
            <a:cxnLst/>
            <a:rect l="l" t="t" r="r" b="b"/>
            <a:pathLst>
              <a:path h="860767">
                <a:moveTo>
                  <a:pt x="0" y="0"/>
                </a:moveTo>
                <a:lnTo>
                  <a:pt x="0" y="86076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5" name="object 385"/>
          <p:cNvSpPr/>
          <p:nvPr/>
        </p:nvSpPr>
        <p:spPr>
          <a:xfrm>
            <a:off x="5260213" y="5049393"/>
            <a:ext cx="0" cy="860869"/>
          </a:xfrm>
          <a:custGeom>
            <a:avLst/>
            <a:gdLst/>
            <a:ahLst/>
            <a:cxnLst/>
            <a:rect l="l" t="t" r="r" b="b"/>
            <a:pathLst>
              <a:path h="860869">
                <a:moveTo>
                  <a:pt x="0" y="0"/>
                </a:moveTo>
                <a:lnTo>
                  <a:pt x="0" y="86086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6" name="object 386"/>
          <p:cNvSpPr/>
          <p:nvPr/>
        </p:nvSpPr>
        <p:spPr>
          <a:xfrm>
            <a:off x="7560185" y="5050663"/>
            <a:ext cx="2089023" cy="208280"/>
          </a:xfrm>
          <a:custGeom>
            <a:avLst/>
            <a:gdLst/>
            <a:ahLst/>
            <a:cxnLst/>
            <a:rect l="l" t="t" r="r" b="b"/>
            <a:pathLst>
              <a:path w="2089023" h="208280">
                <a:moveTo>
                  <a:pt x="0" y="104139"/>
                </a:moveTo>
                <a:lnTo>
                  <a:pt x="3462" y="112683"/>
                </a:lnTo>
                <a:lnTo>
                  <a:pt x="13670" y="121035"/>
                </a:lnTo>
                <a:lnTo>
                  <a:pt x="53246" y="137062"/>
                </a:lnTo>
                <a:lnTo>
                  <a:pt x="116579" y="152005"/>
                </a:lnTo>
                <a:lnTo>
                  <a:pt x="156482" y="159003"/>
                </a:lnTo>
                <a:lnTo>
                  <a:pt x="201517" y="165650"/>
                </a:lnTo>
                <a:lnTo>
                  <a:pt x="251416" y="171919"/>
                </a:lnTo>
                <a:lnTo>
                  <a:pt x="305911" y="177784"/>
                </a:lnTo>
                <a:lnTo>
                  <a:pt x="364731" y="183217"/>
                </a:lnTo>
                <a:lnTo>
                  <a:pt x="427610" y="188191"/>
                </a:lnTo>
                <a:lnTo>
                  <a:pt x="494276" y="192681"/>
                </a:lnTo>
                <a:lnTo>
                  <a:pt x="564463" y="196659"/>
                </a:lnTo>
                <a:lnTo>
                  <a:pt x="637901" y="200098"/>
                </a:lnTo>
                <a:lnTo>
                  <a:pt x="714321" y="202972"/>
                </a:lnTo>
                <a:lnTo>
                  <a:pt x="793454" y="205254"/>
                </a:lnTo>
                <a:lnTo>
                  <a:pt x="875032" y="206917"/>
                </a:lnTo>
                <a:lnTo>
                  <a:pt x="958786" y="207934"/>
                </a:lnTo>
                <a:lnTo>
                  <a:pt x="1044448" y="208280"/>
                </a:lnTo>
                <a:lnTo>
                  <a:pt x="1130127" y="207934"/>
                </a:lnTo>
                <a:lnTo>
                  <a:pt x="1213897" y="206917"/>
                </a:lnTo>
                <a:lnTo>
                  <a:pt x="1295490" y="205254"/>
                </a:lnTo>
                <a:lnTo>
                  <a:pt x="1374636" y="202972"/>
                </a:lnTo>
                <a:lnTo>
                  <a:pt x="1451068" y="200098"/>
                </a:lnTo>
                <a:lnTo>
                  <a:pt x="1524516" y="196659"/>
                </a:lnTo>
                <a:lnTo>
                  <a:pt x="1594711" y="192681"/>
                </a:lnTo>
                <a:lnTo>
                  <a:pt x="1661385" y="188191"/>
                </a:lnTo>
                <a:lnTo>
                  <a:pt x="1724269" y="183217"/>
                </a:lnTo>
                <a:lnTo>
                  <a:pt x="1783095" y="177784"/>
                </a:lnTo>
                <a:lnTo>
                  <a:pt x="1837594" y="171919"/>
                </a:lnTo>
                <a:lnTo>
                  <a:pt x="1887497" y="165650"/>
                </a:lnTo>
                <a:lnTo>
                  <a:pt x="1932535" y="159003"/>
                </a:lnTo>
                <a:lnTo>
                  <a:pt x="1972440" y="152005"/>
                </a:lnTo>
                <a:lnTo>
                  <a:pt x="2006943" y="144682"/>
                </a:lnTo>
                <a:lnTo>
                  <a:pt x="2058668" y="129171"/>
                </a:lnTo>
                <a:lnTo>
                  <a:pt x="2089023" y="104139"/>
                </a:lnTo>
                <a:lnTo>
                  <a:pt x="2058668" y="79108"/>
                </a:lnTo>
                <a:lnTo>
                  <a:pt x="2006943" y="63597"/>
                </a:lnTo>
                <a:lnTo>
                  <a:pt x="1972440" y="56274"/>
                </a:lnTo>
                <a:lnTo>
                  <a:pt x="1932535" y="49276"/>
                </a:lnTo>
                <a:lnTo>
                  <a:pt x="1887497" y="42629"/>
                </a:lnTo>
                <a:lnTo>
                  <a:pt x="1837594" y="36360"/>
                </a:lnTo>
                <a:lnTo>
                  <a:pt x="1783095" y="30495"/>
                </a:lnTo>
                <a:lnTo>
                  <a:pt x="1724269" y="25062"/>
                </a:lnTo>
                <a:lnTo>
                  <a:pt x="1661385" y="20088"/>
                </a:lnTo>
                <a:lnTo>
                  <a:pt x="1594711" y="15598"/>
                </a:lnTo>
                <a:lnTo>
                  <a:pt x="1524516" y="11620"/>
                </a:lnTo>
                <a:lnTo>
                  <a:pt x="1451068" y="8181"/>
                </a:lnTo>
                <a:lnTo>
                  <a:pt x="1374636" y="5307"/>
                </a:lnTo>
                <a:lnTo>
                  <a:pt x="1295490" y="3025"/>
                </a:lnTo>
                <a:lnTo>
                  <a:pt x="1213897" y="1362"/>
                </a:lnTo>
                <a:lnTo>
                  <a:pt x="1130127" y="345"/>
                </a:lnTo>
                <a:lnTo>
                  <a:pt x="1044448" y="0"/>
                </a:lnTo>
                <a:lnTo>
                  <a:pt x="958786" y="345"/>
                </a:lnTo>
                <a:lnTo>
                  <a:pt x="875032" y="1362"/>
                </a:lnTo>
                <a:lnTo>
                  <a:pt x="793454" y="3025"/>
                </a:lnTo>
                <a:lnTo>
                  <a:pt x="714321" y="5307"/>
                </a:lnTo>
                <a:lnTo>
                  <a:pt x="637901" y="8181"/>
                </a:lnTo>
                <a:lnTo>
                  <a:pt x="564463" y="11620"/>
                </a:lnTo>
                <a:lnTo>
                  <a:pt x="494276" y="15598"/>
                </a:lnTo>
                <a:lnTo>
                  <a:pt x="427610" y="20088"/>
                </a:lnTo>
                <a:lnTo>
                  <a:pt x="364731" y="25062"/>
                </a:lnTo>
                <a:lnTo>
                  <a:pt x="305911" y="30495"/>
                </a:lnTo>
                <a:lnTo>
                  <a:pt x="251416" y="36360"/>
                </a:lnTo>
                <a:lnTo>
                  <a:pt x="201517" y="42629"/>
                </a:lnTo>
                <a:lnTo>
                  <a:pt x="156482" y="49276"/>
                </a:lnTo>
                <a:lnTo>
                  <a:pt x="116579" y="56274"/>
                </a:lnTo>
                <a:lnTo>
                  <a:pt x="82077" y="63597"/>
                </a:lnTo>
                <a:lnTo>
                  <a:pt x="30354" y="79108"/>
                </a:lnTo>
                <a:lnTo>
                  <a:pt x="3462" y="95596"/>
                </a:lnTo>
                <a:lnTo>
                  <a:pt x="0" y="104139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7" name="object 387"/>
          <p:cNvSpPr/>
          <p:nvPr/>
        </p:nvSpPr>
        <p:spPr>
          <a:xfrm>
            <a:off x="7560185" y="5050663"/>
            <a:ext cx="2089023" cy="208280"/>
          </a:xfrm>
          <a:custGeom>
            <a:avLst/>
            <a:gdLst/>
            <a:ahLst/>
            <a:cxnLst/>
            <a:rect l="l" t="t" r="r" b="b"/>
            <a:pathLst>
              <a:path w="2089023" h="208280">
                <a:moveTo>
                  <a:pt x="0" y="104139"/>
                </a:moveTo>
                <a:lnTo>
                  <a:pt x="30354" y="79108"/>
                </a:lnTo>
                <a:lnTo>
                  <a:pt x="82077" y="63597"/>
                </a:lnTo>
                <a:lnTo>
                  <a:pt x="116579" y="56274"/>
                </a:lnTo>
                <a:lnTo>
                  <a:pt x="156482" y="49276"/>
                </a:lnTo>
                <a:lnTo>
                  <a:pt x="201517" y="42629"/>
                </a:lnTo>
                <a:lnTo>
                  <a:pt x="251416" y="36360"/>
                </a:lnTo>
                <a:lnTo>
                  <a:pt x="305911" y="30495"/>
                </a:lnTo>
                <a:lnTo>
                  <a:pt x="364731" y="25062"/>
                </a:lnTo>
                <a:lnTo>
                  <a:pt x="427610" y="20088"/>
                </a:lnTo>
                <a:lnTo>
                  <a:pt x="494276" y="15598"/>
                </a:lnTo>
                <a:lnTo>
                  <a:pt x="564463" y="11620"/>
                </a:lnTo>
                <a:lnTo>
                  <a:pt x="637901" y="8181"/>
                </a:lnTo>
                <a:lnTo>
                  <a:pt x="714321" y="5307"/>
                </a:lnTo>
                <a:lnTo>
                  <a:pt x="793454" y="3025"/>
                </a:lnTo>
                <a:lnTo>
                  <a:pt x="875032" y="1362"/>
                </a:lnTo>
                <a:lnTo>
                  <a:pt x="958786" y="345"/>
                </a:lnTo>
                <a:lnTo>
                  <a:pt x="1044448" y="0"/>
                </a:lnTo>
                <a:lnTo>
                  <a:pt x="1130127" y="345"/>
                </a:lnTo>
                <a:lnTo>
                  <a:pt x="1213897" y="1362"/>
                </a:lnTo>
                <a:lnTo>
                  <a:pt x="1295490" y="3025"/>
                </a:lnTo>
                <a:lnTo>
                  <a:pt x="1374636" y="5307"/>
                </a:lnTo>
                <a:lnTo>
                  <a:pt x="1451068" y="8181"/>
                </a:lnTo>
                <a:lnTo>
                  <a:pt x="1524516" y="11620"/>
                </a:lnTo>
                <a:lnTo>
                  <a:pt x="1594711" y="15598"/>
                </a:lnTo>
                <a:lnTo>
                  <a:pt x="1661385" y="20088"/>
                </a:lnTo>
                <a:lnTo>
                  <a:pt x="1724269" y="25062"/>
                </a:lnTo>
                <a:lnTo>
                  <a:pt x="1783095" y="30495"/>
                </a:lnTo>
                <a:lnTo>
                  <a:pt x="1837594" y="36360"/>
                </a:lnTo>
                <a:lnTo>
                  <a:pt x="1887497" y="42629"/>
                </a:lnTo>
                <a:lnTo>
                  <a:pt x="1932535" y="49276"/>
                </a:lnTo>
                <a:lnTo>
                  <a:pt x="1972440" y="56274"/>
                </a:lnTo>
                <a:lnTo>
                  <a:pt x="2006943" y="63597"/>
                </a:lnTo>
                <a:lnTo>
                  <a:pt x="2058668" y="79108"/>
                </a:lnTo>
                <a:lnTo>
                  <a:pt x="2089023" y="104139"/>
                </a:lnTo>
                <a:lnTo>
                  <a:pt x="2085560" y="112683"/>
                </a:lnTo>
                <a:lnTo>
                  <a:pt x="2075352" y="121035"/>
                </a:lnTo>
                <a:lnTo>
                  <a:pt x="2035775" y="137062"/>
                </a:lnTo>
                <a:lnTo>
                  <a:pt x="1972440" y="152005"/>
                </a:lnTo>
                <a:lnTo>
                  <a:pt x="1932535" y="159003"/>
                </a:lnTo>
                <a:lnTo>
                  <a:pt x="1887497" y="165650"/>
                </a:lnTo>
                <a:lnTo>
                  <a:pt x="1837594" y="171919"/>
                </a:lnTo>
                <a:lnTo>
                  <a:pt x="1783095" y="177784"/>
                </a:lnTo>
                <a:lnTo>
                  <a:pt x="1724269" y="183217"/>
                </a:lnTo>
                <a:lnTo>
                  <a:pt x="1661385" y="188191"/>
                </a:lnTo>
                <a:lnTo>
                  <a:pt x="1594711" y="192681"/>
                </a:lnTo>
                <a:lnTo>
                  <a:pt x="1524516" y="196659"/>
                </a:lnTo>
                <a:lnTo>
                  <a:pt x="1451068" y="200098"/>
                </a:lnTo>
                <a:lnTo>
                  <a:pt x="1374636" y="202972"/>
                </a:lnTo>
                <a:lnTo>
                  <a:pt x="1295490" y="205254"/>
                </a:lnTo>
                <a:lnTo>
                  <a:pt x="1213897" y="206917"/>
                </a:lnTo>
                <a:lnTo>
                  <a:pt x="1130127" y="207934"/>
                </a:lnTo>
                <a:lnTo>
                  <a:pt x="1044448" y="208280"/>
                </a:lnTo>
                <a:lnTo>
                  <a:pt x="958786" y="207934"/>
                </a:lnTo>
                <a:lnTo>
                  <a:pt x="875032" y="206917"/>
                </a:lnTo>
                <a:lnTo>
                  <a:pt x="793454" y="205254"/>
                </a:lnTo>
                <a:lnTo>
                  <a:pt x="714321" y="202972"/>
                </a:lnTo>
                <a:lnTo>
                  <a:pt x="637901" y="200098"/>
                </a:lnTo>
                <a:lnTo>
                  <a:pt x="564463" y="196659"/>
                </a:lnTo>
                <a:lnTo>
                  <a:pt x="494276" y="192681"/>
                </a:lnTo>
                <a:lnTo>
                  <a:pt x="427610" y="188191"/>
                </a:lnTo>
                <a:lnTo>
                  <a:pt x="364731" y="183217"/>
                </a:lnTo>
                <a:lnTo>
                  <a:pt x="305911" y="177784"/>
                </a:lnTo>
                <a:lnTo>
                  <a:pt x="251416" y="171919"/>
                </a:lnTo>
                <a:lnTo>
                  <a:pt x="201517" y="165650"/>
                </a:lnTo>
                <a:lnTo>
                  <a:pt x="156482" y="159003"/>
                </a:lnTo>
                <a:lnTo>
                  <a:pt x="116579" y="152005"/>
                </a:lnTo>
                <a:lnTo>
                  <a:pt x="82077" y="144682"/>
                </a:lnTo>
                <a:lnTo>
                  <a:pt x="53246" y="137062"/>
                </a:lnTo>
                <a:lnTo>
                  <a:pt x="13670" y="121035"/>
                </a:lnTo>
                <a:lnTo>
                  <a:pt x="0" y="10413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8" name="object 388"/>
          <p:cNvSpPr/>
          <p:nvPr/>
        </p:nvSpPr>
        <p:spPr>
          <a:xfrm>
            <a:off x="8564626" y="5991225"/>
            <a:ext cx="1100581" cy="110731"/>
          </a:xfrm>
          <a:custGeom>
            <a:avLst/>
            <a:gdLst/>
            <a:ahLst/>
            <a:cxnLst/>
            <a:rect l="l" t="t" r="r" b="b"/>
            <a:pathLst>
              <a:path w="1100581" h="110731">
                <a:moveTo>
                  <a:pt x="1100581" y="0"/>
                </a:moveTo>
                <a:lnTo>
                  <a:pt x="1068595" y="26607"/>
                </a:lnTo>
                <a:lnTo>
                  <a:pt x="1014091" y="43097"/>
                </a:lnTo>
                <a:lnTo>
                  <a:pt x="977734" y="50882"/>
                </a:lnTo>
                <a:lnTo>
                  <a:pt x="935686" y="58323"/>
                </a:lnTo>
                <a:lnTo>
                  <a:pt x="888229" y="65390"/>
                </a:lnTo>
                <a:lnTo>
                  <a:pt x="835648" y="72056"/>
                </a:lnTo>
                <a:lnTo>
                  <a:pt x="778224" y="78292"/>
                </a:lnTo>
                <a:lnTo>
                  <a:pt x="716241" y="84069"/>
                </a:lnTo>
                <a:lnTo>
                  <a:pt x="649983" y="89359"/>
                </a:lnTo>
                <a:lnTo>
                  <a:pt x="579734" y="94134"/>
                </a:lnTo>
                <a:lnTo>
                  <a:pt x="505775" y="98365"/>
                </a:lnTo>
                <a:lnTo>
                  <a:pt x="428390" y="102023"/>
                </a:lnTo>
                <a:lnTo>
                  <a:pt x="347864" y="105080"/>
                </a:lnTo>
                <a:lnTo>
                  <a:pt x="264478" y="107508"/>
                </a:lnTo>
                <a:lnTo>
                  <a:pt x="178517" y="109278"/>
                </a:lnTo>
                <a:lnTo>
                  <a:pt x="90263" y="110362"/>
                </a:lnTo>
                <a:lnTo>
                  <a:pt x="0" y="11073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9" name="object 389"/>
          <p:cNvSpPr/>
          <p:nvPr/>
        </p:nvSpPr>
        <p:spPr>
          <a:xfrm>
            <a:off x="7553326" y="5991225"/>
            <a:ext cx="1100708" cy="110731"/>
          </a:xfrm>
          <a:custGeom>
            <a:avLst/>
            <a:gdLst/>
            <a:ahLst/>
            <a:cxnLst/>
            <a:rect l="l" t="t" r="r" b="b"/>
            <a:pathLst>
              <a:path w="1100708" h="110731">
                <a:moveTo>
                  <a:pt x="1100708" y="110731"/>
                </a:moveTo>
                <a:lnTo>
                  <a:pt x="1010427" y="110364"/>
                </a:lnTo>
                <a:lnTo>
                  <a:pt x="922157" y="109281"/>
                </a:lnTo>
                <a:lnTo>
                  <a:pt x="836181" y="107512"/>
                </a:lnTo>
                <a:lnTo>
                  <a:pt x="752782" y="105085"/>
                </a:lnTo>
                <a:lnTo>
                  <a:pt x="672244" y="102028"/>
                </a:lnTo>
                <a:lnTo>
                  <a:pt x="594850" y="98370"/>
                </a:lnTo>
                <a:lnTo>
                  <a:pt x="520882" y="94140"/>
                </a:lnTo>
                <a:lnTo>
                  <a:pt x="450625" y="89365"/>
                </a:lnTo>
                <a:lnTo>
                  <a:pt x="384361" y="84074"/>
                </a:lnTo>
                <a:lnTo>
                  <a:pt x="322373" y="78297"/>
                </a:lnTo>
                <a:lnTo>
                  <a:pt x="264945" y="72060"/>
                </a:lnTo>
                <a:lnTo>
                  <a:pt x="212360" y="65394"/>
                </a:lnTo>
                <a:lnTo>
                  <a:pt x="164900" y="58326"/>
                </a:lnTo>
                <a:lnTo>
                  <a:pt x="122850" y="50885"/>
                </a:lnTo>
                <a:lnTo>
                  <a:pt x="86492" y="43099"/>
                </a:lnTo>
                <a:lnTo>
                  <a:pt x="31986" y="26608"/>
                </a:lnTo>
                <a:lnTo>
                  <a:pt x="3648" y="9081"/>
                </a:lnTo>
                <a:lnTo>
                  <a:pt x="0" y="0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0" name="object 390"/>
          <p:cNvSpPr/>
          <p:nvPr/>
        </p:nvSpPr>
        <p:spPr>
          <a:xfrm>
            <a:off x="9642348" y="5150612"/>
            <a:ext cx="0" cy="860856"/>
          </a:xfrm>
          <a:custGeom>
            <a:avLst/>
            <a:gdLst/>
            <a:ahLst/>
            <a:cxnLst/>
            <a:rect l="l" t="t" r="r" b="b"/>
            <a:pathLst>
              <a:path h="860856">
                <a:moveTo>
                  <a:pt x="0" y="0"/>
                </a:moveTo>
                <a:lnTo>
                  <a:pt x="0" y="86085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1" name="object 391"/>
          <p:cNvSpPr/>
          <p:nvPr/>
        </p:nvSpPr>
        <p:spPr>
          <a:xfrm>
            <a:off x="7557896" y="5035169"/>
            <a:ext cx="0" cy="860806"/>
          </a:xfrm>
          <a:custGeom>
            <a:avLst/>
            <a:gdLst/>
            <a:ahLst/>
            <a:cxnLst/>
            <a:rect l="l" t="t" r="r" b="b"/>
            <a:pathLst>
              <a:path h="860805">
                <a:moveTo>
                  <a:pt x="0" y="0"/>
                </a:moveTo>
                <a:lnTo>
                  <a:pt x="0" y="86080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2" name="object 392"/>
          <p:cNvSpPr/>
          <p:nvPr/>
        </p:nvSpPr>
        <p:spPr>
          <a:xfrm>
            <a:off x="2964943" y="5452999"/>
            <a:ext cx="2091308" cy="0"/>
          </a:xfrm>
          <a:custGeom>
            <a:avLst/>
            <a:gdLst/>
            <a:ahLst/>
            <a:cxnLst/>
            <a:rect l="l" t="t" r="r" b="b"/>
            <a:pathLst>
              <a:path w="2091308">
                <a:moveTo>
                  <a:pt x="0" y="0"/>
                </a:moveTo>
                <a:lnTo>
                  <a:pt x="209130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3" name="object 393"/>
          <p:cNvSpPr/>
          <p:nvPr/>
        </p:nvSpPr>
        <p:spPr>
          <a:xfrm>
            <a:off x="2955797" y="5895975"/>
            <a:ext cx="2091182" cy="0"/>
          </a:xfrm>
          <a:custGeom>
            <a:avLst/>
            <a:gdLst/>
            <a:ahLst/>
            <a:cxnLst/>
            <a:rect l="l" t="t" r="r" b="b"/>
            <a:pathLst>
              <a:path w="2091181">
                <a:moveTo>
                  <a:pt x="0" y="0"/>
                </a:moveTo>
                <a:lnTo>
                  <a:pt x="209118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4" name="object 394"/>
          <p:cNvSpPr/>
          <p:nvPr/>
        </p:nvSpPr>
        <p:spPr>
          <a:xfrm>
            <a:off x="5255641" y="5230368"/>
            <a:ext cx="0" cy="659650"/>
          </a:xfrm>
          <a:custGeom>
            <a:avLst/>
            <a:gdLst/>
            <a:ahLst/>
            <a:cxnLst/>
            <a:rect l="l" t="t" r="r" b="b"/>
            <a:pathLst>
              <a:path h="659650">
                <a:moveTo>
                  <a:pt x="0" y="0"/>
                </a:moveTo>
                <a:lnTo>
                  <a:pt x="0" y="6596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5" name="object 395"/>
          <p:cNvSpPr/>
          <p:nvPr/>
        </p:nvSpPr>
        <p:spPr>
          <a:xfrm>
            <a:off x="5253357" y="5343525"/>
            <a:ext cx="2091309" cy="0"/>
          </a:xfrm>
          <a:custGeom>
            <a:avLst/>
            <a:gdLst/>
            <a:ahLst/>
            <a:cxnLst/>
            <a:rect l="l" t="t" r="r" b="b"/>
            <a:pathLst>
              <a:path w="2091309">
                <a:moveTo>
                  <a:pt x="0" y="0"/>
                </a:moveTo>
                <a:lnTo>
                  <a:pt x="209130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6" name="object 396"/>
          <p:cNvSpPr/>
          <p:nvPr/>
        </p:nvSpPr>
        <p:spPr>
          <a:xfrm>
            <a:off x="5253356" y="5451856"/>
            <a:ext cx="2100453" cy="0"/>
          </a:xfrm>
          <a:custGeom>
            <a:avLst/>
            <a:gdLst/>
            <a:ahLst/>
            <a:cxnLst/>
            <a:rect l="l" t="t" r="r" b="b"/>
            <a:pathLst>
              <a:path w="2100453">
                <a:moveTo>
                  <a:pt x="0" y="0"/>
                </a:moveTo>
                <a:lnTo>
                  <a:pt x="210045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7" name="object 397"/>
          <p:cNvSpPr/>
          <p:nvPr/>
        </p:nvSpPr>
        <p:spPr>
          <a:xfrm>
            <a:off x="5783072" y="5230368"/>
            <a:ext cx="0" cy="659650"/>
          </a:xfrm>
          <a:custGeom>
            <a:avLst/>
            <a:gdLst/>
            <a:ahLst/>
            <a:cxnLst/>
            <a:rect l="l" t="t" r="r" b="b"/>
            <a:pathLst>
              <a:path h="659650">
                <a:moveTo>
                  <a:pt x="0" y="0"/>
                </a:moveTo>
                <a:lnTo>
                  <a:pt x="0" y="6596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8" name="object 398"/>
          <p:cNvSpPr/>
          <p:nvPr/>
        </p:nvSpPr>
        <p:spPr>
          <a:xfrm>
            <a:off x="6094984" y="5225669"/>
            <a:ext cx="0" cy="659587"/>
          </a:xfrm>
          <a:custGeom>
            <a:avLst/>
            <a:gdLst/>
            <a:ahLst/>
            <a:cxnLst/>
            <a:rect l="l" t="t" r="r" b="b"/>
            <a:pathLst>
              <a:path h="659587">
                <a:moveTo>
                  <a:pt x="0" y="0"/>
                </a:moveTo>
                <a:lnTo>
                  <a:pt x="0" y="6595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9" name="object 399"/>
          <p:cNvSpPr/>
          <p:nvPr/>
        </p:nvSpPr>
        <p:spPr>
          <a:xfrm>
            <a:off x="6652133" y="5230368"/>
            <a:ext cx="0" cy="659650"/>
          </a:xfrm>
          <a:custGeom>
            <a:avLst/>
            <a:gdLst/>
            <a:ahLst/>
            <a:cxnLst/>
            <a:rect l="l" t="t" r="r" b="b"/>
            <a:pathLst>
              <a:path h="659650">
                <a:moveTo>
                  <a:pt x="0" y="0"/>
                </a:moveTo>
                <a:lnTo>
                  <a:pt x="0" y="6596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0" name="object 400"/>
          <p:cNvSpPr/>
          <p:nvPr/>
        </p:nvSpPr>
        <p:spPr>
          <a:xfrm>
            <a:off x="5225924" y="5891212"/>
            <a:ext cx="2109597" cy="0"/>
          </a:xfrm>
          <a:custGeom>
            <a:avLst/>
            <a:gdLst/>
            <a:ahLst/>
            <a:cxnLst/>
            <a:rect l="l" t="t" r="r" b="b"/>
            <a:pathLst>
              <a:path w="2109597">
                <a:moveTo>
                  <a:pt x="0" y="0"/>
                </a:moveTo>
                <a:lnTo>
                  <a:pt x="210959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1" name="object 401"/>
          <p:cNvSpPr/>
          <p:nvPr/>
        </p:nvSpPr>
        <p:spPr>
          <a:xfrm>
            <a:off x="5244212" y="5225669"/>
            <a:ext cx="2118740" cy="0"/>
          </a:xfrm>
          <a:custGeom>
            <a:avLst/>
            <a:gdLst/>
            <a:ahLst/>
            <a:cxnLst/>
            <a:rect l="l" t="t" r="r" b="b"/>
            <a:pathLst>
              <a:path w="2118741">
                <a:moveTo>
                  <a:pt x="0" y="0"/>
                </a:moveTo>
                <a:lnTo>
                  <a:pt x="211874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2" name="object 402"/>
          <p:cNvSpPr/>
          <p:nvPr/>
        </p:nvSpPr>
        <p:spPr>
          <a:xfrm>
            <a:off x="7564756" y="5442331"/>
            <a:ext cx="2091309" cy="0"/>
          </a:xfrm>
          <a:custGeom>
            <a:avLst/>
            <a:gdLst/>
            <a:ahLst/>
            <a:cxnLst/>
            <a:rect l="l" t="t" r="r" b="b"/>
            <a:pathLst>
              <a:path w="2091309">
                <a:moveTo>
                  <a:pt x="0" y="0"/>
                </a:moveTo>
                <a:lnTo>
                  <a:pt x="209130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3" name="object 403"/>
          <p:cNvSpPr/>
          <p:nvPr/>
        </p:nvSpPr>
        <p:spPr>
          <a:xfrm>
            <a:off x="7564755" y="5550662"/>
            <a:ext cx="2100453" cy="0"/>
          </a:xfrm>
          <a:custGeom>
            <a:avLst/>
            <a:gdLst/>
            <a:ahLst/>
            <a:cxnLst/>
            <a:rect l="l" t="t" r="r" b="b"/>
            <a:pathLst>
              <a:path w="2100453">
                <a:moveTo>
                  <a:pt x="0" y="0"/>
                </a:moveTo>
                <a:lnTo>
                  <a:pt x="210045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4" name="object 404"/>
          <p:cNvSpPr/>
          <p:nvPr/>
        </p:nvSpPr>
        <p:spPr>
          <a:xfrm>
            <a:off x="8094472" y="5220843"/>
            <a:ext cx="0" cy="659650"/>
          </a:xfrm>
          <a:custGeom>
            <a:avLst/>
            <a:gdLst/>
            <a:ahLst/>
            <a:cxnLst/>
            <a:rect l="l" t="t" r="r" b="b"/>
            <a:pathLst>
              <a:path h="659650">
                <a:moveTo>
                  <a:pt x="0" y="0"/>
                </a:moveTo>
                <a:lnTo>
                  <a:pt x="0" y="6596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5" name="object 405"/>
          <p:cNvSpPr/>
          <p:nvPr/>
        </p:nvSpPr>
        <p:spPr>
          <a:xfrm>
            <a:off x="8406383" y="5216144"/>
            <a:ext cx="0" cy="659587"/>
          </a:xfrm>
          <a:custGeom>
            <a:avLst/>
            <a:gdLst/>
            <a:ahLst/>
            <a:cxnLst/>
            <a:rect l="l" t="t" r="r" b="b"/>
            <a:pathLst>
              <a:path h="659587">
                <a:moveTo>
                  <a:pt x="0" y="0"/>
                </a:moveTo>
                <a:lnTo>
                  <a:pt x="0" y="6595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6" name="object 406"/>
          <p:cNvSpPr/>
          <p:nvPr/>
        </p:nvSpPr>
        <p:spPr>
          <a:xfrm>
            <a:off x="8963533" y="5220843"/>
            <a:ext cx="0" cy="659650"/>
          </a:xfrm>
          <a:custGeom>
            <a:avLst/>
            <a:gdLst/>
            <a:ahLst/>
            <a:cxnLst/>
            <a:rect l="l" t="t" r="r" b="b"/>
            <a:pathLst>
              <a:path h="659650">
                <a:moveTo>
                  <a:pt x="0" y="0"/>
                </a:moveTo>
                <a:lnTo>
                  <a:pt x="0" y="6596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7" name="object 407"/>
          <p:cNvSpPr/>
          <p:nvPr/>
        </p:nvSpPr>
        <p:spPr>
          <a:xfrm>
            <a:off x="7537325" y="5990031"/>
            <a:ext cx="2109597" cy="0"/>
          </a:xfrm>
          <a:custGeom>
            <a:avLst/>
            <a:gdLst/>
            <a:ahLst/>
            <a:cxnLst/>
            <a:rect l="l" t="t" r="r" b="b"/>
            <a:pathLst>
              <a:path w="2109597">
                <a:moveTo>
                  <a:pt x="0" y="0"/>
                </a:moveTo>
                <a:lnTo>
                  <a:pt x="210959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8" name="object 408"/>
          <p:cNvSpPr/>
          <p:nvPr/>
        </p:nvSpPr>
        <p:spPr>
          <a:xfrm>
            <a:off x="7555610" y="5324475"/>
            <a:ext cx="2082166" cy="0"/>
          </a:xfrm>
          <a:custGeom>
            <a:avLst/>
            <a:gdLst/>
            <a:ahLst/>
            <a:cxnLst/>
            <a:rect l="l" t="t" r="r" b="b"/>
            <a:pathLst>
              <a:path w="2082165">
                <a:moveTo>
                  <a:pt x="0" y="0"/>
                </a:moveTo>
                <a:lnTo>
                  <a:pt x="208216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3" name="object 243"/>
          <p:cNvSpPr/>
          <p:nvPr/>
        </p:nvSpPr>
        <p:spPr>
          <a:xfrm>
            <a:off x="158964" y="6443182"/>
            <a:ext cx="1310641" cy="32068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2" name="object 242"/>
          <p:cNvSpPr/>
          <p:nvPr/>
        </p:nvSpPr>
        <p:spPr>
          <a:xfrm>
            <a:off x="2" y="6362700"/>
            <a:ext cx="9905998" cy="0"/>
          </a:xfrm>
          <a:custGeom>
            <a:avLst/>
            <a:gdLst/>
            <a:ahLst/>
            <a:cxnLst/>
            <a:rect l="l" t="t" r="r" b="b"/>
            <a:pathLst>
              <a:path w="9905998">
                <a:moveTo>
                  <a:pt x="990599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1" name="object 241"/>
          <p:cNvSpPr txBox="1"/>
          <p:nvPr/>
        </p:nvSpPr>
        <p:spPr>
          <a:xfrm>
            <a:off x="3163062" y="233535"/>
            <a:ext cx="1915841" cy="3804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990"/>
              </a:lnSpc>
              <a:spcBef>
                <a:spcPts val="149"/>
              </a:spcBef>
            </a:pPr>
            <a:r>
              <a:rPr sz="2800" spc="4" dirty="0" smtClean="0">
                <a:solidFill>
                  <a:srgbClr val="253046"/>
                </a:solidFill>
                <a:latin typeface="Cambria"/>
                <a:cs typeface="Cambria"/>
              </a:rPr>
              <a:t>No</a:t>
            </a:r>
            <a:r>
              <a:rPr sz="2800" spc="0" dirty="0" smtClean="0">
                <a:solidFill>
                  <a:srgbClr val="253046"/>
                </a:solidFill>
                <a:latin typeface="Cambria"/>
                <a:cs typeface="Cambria"/>
              </a:rPr>
              <a:t>n</a:t>
            </a:r>
            <a:r>
              <a:rPr sz="2800" spc="-4" dirty="0" smtClean="0">
                <a:solidFill>
                  <a:srgbClr val="253046"/>
                </a:solidFill>
                <a:latin typeface="Cambria"/>
                <a:cs typeface="Cambria"/>
              </a:rPr>
              <a:t>-</a:t>
            </a:r>
            <a:r>
              <a:rPr sz="2800" spc="0" dirty="0" smtClean="0">
                <a:solidFill>
                  <a:srgbClr val="253046"/>
                </a:solidFill>
                <a:latin typeface="Cambria"/>
                <a:cs typeface="Cambria"/>
              </a:rPr>
              <a:t>Unique</a:t>
            </a:r>
            <a:endParaRPr sz="2800">
              <a:latin typeface="Cambria"/>
              <a:cs typeface="Cambria"/>
            </a:endParaRPr>
          </a:p>
        </p:txBody>
      </p:sp>
      <p:sp>
        <p:nvSpPr>
          <p:cNvPr id="240" name="object 240"/>
          <p:cNvSpPr txBox="1"/>
          <p:nvPr/>
        </p:nvSpPr>
        <p:spPr>
          <a:xfrm>
            <a:off x="5077363" y="233535"/>
            <a:ext cx="1668139" cy="3804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990"/>
              </a:lnSpc>
              <a:spcBef>
                <a:spcPts val="149"/>
              </a:spcBef>
            </a:pPr>
            <a:r>
              <a:rPr sz="2800" spc="0" dirty="0" smtClean="0">
                <a:solidFill>
                  <a:srgbClr val="253046"/>
                </a:solidFill>
                <a:latin typeface="Cambria"/>
                <a:cs typeface="Cambria"/>
              </a:rPr>
              <a:t>S</a:t>
            </a:r>
            <a:r>
              <a:rPr sz="2800" spc="4" dirty="0" smtClean="0">
                <a:solidFill>
                  <a:srgbClr val="253046"/>
                </a:solidFill>
                <a:latin typeface="Cambria"/>
                <a:cs typeface="Cambria"/>
              </a:rPr>
              <a:t>e</a:t>
            </a:r>
            <a:r>
              <a:rPr sz="2800" spc="0" dirty="0" smtClean="0">
                <a:solidFill>
                  <a:srgbClr val="253046"/>
                </a:solidFill>
                <a:latin typeface="Cambria"/>
                <a:cs typeface="Cambria"/>
              </a:rPr>
              <a:t>condary</a:t>
            </a:r>
            <a:endParaRPr sz="2800">
              <a:latin typeface="Cambria"/>
              <a:cs typeface="Cambria"/>
            </a:endParaRPr>
          </a:p>
        </p:txBody>
      </p:sp>
      <p:sp>
        <p:nvSpPr>
          <p:cNvPr id="239" name="object 239"/>
          <p:cNvSpPr txBox="1"/>
          <p:nvPr/>
        </p:nvSpPr>
        <p:spPr>
          <a:xfrm>
            <a:off x="6745232" y="233535"/>
            <a:ext cx="930316" cy="3804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990"/>
              </a:lnSpc>
              <a:spcBef>
                <a:spcPts val="149"/>
              </a:spcBef>
            </a:pPr>
            <a:r>
              <a:rPr sz="2800" spc="9" dirty="0" smtClean="0">
                <a:solidFill>
                  <a:srgbClr val="253046"/>
                </a:solidFill>
                <a:latin typeface="Cambria"/>
                <a:cs typeface="Cambria"/>
              </a:rPr>
              <a:t>I</a:t>
            </a:r>
            <a:r>
              <a:rPr sz="2800" spc="0" dirty="0" smtClean="0">
                <a:solidFill>
                  <a:srgbClr val="253046"/>
                </a:solidFill>
                <a:latin typeface="Cambria"/>
                <a:cs typeface="Cambria"/>
              </a:rPr>
              <a:t>nd</a:t>
            </a:r>
            <a:r>
              <a:rPr sz="2800" spc="-34" dirty="0" smtClean="0">
                <a:solidFill>
                  <a:srgbClr val="253046"/>
                </a:solidFill>
                <a:latin typeface="Cambria"/>
                <a:cs typeface="Cambria"/>
              </a:rPr>
              <a:t>e</a:t>
            </a:r>
            <a:r>
              <a:rPr sz="2800" spc="0" dirty="0" smtClean="0">
                <a:solidFill>
                  <a:srgbClr val="253046"/>
                </a:solidFill>
                <a:latin typeface="Cambria"/>
                <a:cs typeface="Cambria"/>
              </a:rPr>
              <a:t>x</a:t>
            </a:r>
            <a:endParaRPr sz="2800">
              <a:latin typeface="Cambria"/>
              <a:cs typeface="Cambria"/>
            </a:endParaRPr>
          </a:p>
        </p:txBody>
      </p:sp>
      <p:sp>
        <p:nvSpPr>
          <p:cNvPr id="238" name="object 238"/>
          <p:cNvSpPr txBox="1"/>
          <p:nvPr/>
        </p:nvSpPr>
        <p:spPr>
          <a:xfrm>
            <a:off x="7674863" y="233535"/>
            <a:ext cx="1114131" cy="3804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990"/>
              </a:lnSpc>
              <a:spcBef>
                <a:spcPts val="149"/>
              </a:spcBef>
            </a:pPr>
            <a:r>
              <a:rPr sz="2800" spc="0" dirty="0" smtClean="0">
                <a:solidFill>
                  <a:srgbClr val="253046"/>
                </a:solidFill>
                <a:latin typeface="Cambria"/>
                <a:cs typeface="Cambria"/>
              </a:rPr>
              <a:t>(NU</a:t>
            </a:r>
            <a:r>
              <a:rPr sz="2800" spc="9" dirty="0" smtClean="0">
                <a:solidFill>
                  <a:srgbClr val="253046"/>
                </a:solidFill>
                <a:latin typeface="Cambria"/>
                <a:cs typeface="Cambria"/>
              </a:rPr>
              <a:t>S</a:t>
            </a:r>
            <a:r>
              <a:rPr sz="2800" spc="0" dirty="0" smtClean="0">
                <a:solidFill>
                  <a:srgbClr val="253046"/>
                </a:solidFill>
                <a:latin typeface="Cambria"/>
                <a:cs typeface="Cambria"/>
              </a:rPr>
              <a:t>I)</a:t>
            </a:r>
            <a:endParaRPr sz="2800">
              <a:latin typeface="Cambria"/>
              <a:cs typeface="Cambria"/>
            </a:endParaRPr>
          </a:p>
        </p:txBody>
      </p:sp>
      <p:sp>
        <p:nvSpPr>
          <p:cNvPr id="237" name="object 237"/>
          <p:cNvSpPr txBox="1"/>
          <p:nvPr/>
        </p:nvSpPr>
        <p:spPr>
          <a:xfrm>
            <a:off x="8788431" y="233535"/>
            <a:ext cx="1089387" cy="3804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990"/>
              </a:lnSpc>
              <a:spcBef>
                <a:spcPts val="149"/>
              </a:spcBef>
            </a:pPr>
            <a:r>
              <a:rPr sz="2800" spc="-19" dirty="0" smtClean="0">
                <a:solidFill>
                  <a:srgbClr val="253046"/>
                </a:solidFill>
                <a:latin typeface="Cambria"/>
                <a:cs typeface="Cambria"/>
              </a:rPr>
              <a:t>A</a:t>
            </a:r>
            <a:r>
              <a:rPr sz="2800" spc="0" dirty="0" smtClean="0">
                <a:solidFill>
                  <a:srgbClr val="253046"/>
                </a:solidFill>
                <a:latin typeface="Cambria"/>
                <a:cs typeface="Cambria"/>
              </a:rPr>
              <a:t>cc</a:t>
            </a:r>
            <a:r>
              <a:rPr sz="2800" spc="4" dirty="0" smtClean="0">
                <a:solidFill>
                  <a:srgbClr val="253046"/>
                </a:solidFill>
                <a:latin typeface="Cambria"/>
                <a:cs typeface="Cambria"/>
              </a:rPr>
              <a:t>e</a:t>
            </a:r>
            <a:r>
              <a:rPr sz="2800" spc="0" dirty="0" smtClean="0">
                <a:solidFill>
                  <a:srgbClr val="253046"/>
                </a:solidFill>
                <a:latin typeface="Cambria"/>
                <a:cs typeface="Cambria"/>
              </a:rPr>
              <a:t>ss</a:t>
            </a:r>
            <a:endParaRPr sz="2800">
              <a:latin typeface="Cambria"/>
              <a:cs typeface="Cambria"/>
            </a:endParaRPr>
          </a:p>
        </p:txBody>
      </p:sp>
      <p:sp>
        <p:nvSpPr>
          <p:cNvPr id="236" name="object 236"/>
          <p:cNvSpPr txBox="1"/>
          <p:nvPr/>
        </p:nvSpPr>
        <p:spPr>
          <a:xfrm>
            <a:off x="7210172" y="1035185"/>
            <a:ext cx="254574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-4" dirty="0" smtClean="0">
                <a:solidFill>
                  <a:srgbClr val="253046"/>
                </a:solidFill>
                <a:latin typeface="Cambria"/>
                <a:cs typeface="Cambria"/>
              </a:rPr>
              <a:t>PE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235" name="object 235"/>
          <p:cNvSpPr txBox="1"/>
          <p:nvPr/>
        </p:nvSpPr>
        <p:spPr>
          <a:xfrm>
            <a:off x="706019" y="1201598"/>
            <a:ext cx="828886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0"/>
              </a:lnSpc>
              <a:spcBef>
                <a:spcPts val="67"/>
              </a:spcBef>
            </a:pPr>
            <a:r>
              <a:rPr sz="1200" spc="-4" dirty="0" smtClean="0">
                <a:solidFill>
                  <a:srgbClr val="253046"/>
                </a:solidFill>
                <a:latin typeface="Cambria"/>
                <a:cs typeface="Cambria"/>
              </a:rPr>
              <a:t>C</a:t>
            </a:r>
            <a:r>
              <a:rPr sz="1200" spc="-14" dirty="0" smtClean="0">
                <a:solidFill>
                  <a:srgbClr val="253046"/>
                </a:solidFill>
                <a:latin typeface="Cambria"/>
                <a:cs typeface="Cambria"/>
              </a:rPr>
              <a:t>r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e</a:t>
            </a:r>
            <a:r>
              <a:rPr sz="1200" spc="4" dirty="0" smtClean="0">
                <a:solidFill>
                  <a:srgbClr val="253046"/>
                </a:solidFill>
                <a:latin typeface="Cambria"/>
                <a:cs typeface="Cambria"/>
              </a:rPr>
              <a:t>a</a:t>
            </a:r>
            <a:r>
              <a:rPr sz="1200" spc="-9" dirty="0" smtClean="0">
                <a:solidFill>
                  <a:srgbClr val="253046"/>
                </a:solidFill>
                <a:latin typeface="Cambria"/>
                <a:cs typeface="Cambria"/>
              </a:rPr>
              <a:t>t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e</a:t>
            </a:r>
            <a:r>
              <a:rPr sz="1200" spc="-9" dirty="0" smtClean="0">
                <a:solidFill>
                  <a:srgbClr val="253046"/>
                </a:solidFill>
                <a:latin typeface="Cambria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NU</a:t>
            </a:r>
            <a:r>
              <a:rPr sz="1200" spc="4" dirty="0" smtClean="0">
                <a:solidFill>
                  <a:srgbClr val="253046"/>
                </a:solidFill>
                <a:latin typeface="Cambria"/>
                <a:cs typeface="Cambria"/>
              </a:rPr>
              <a:t>S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I</a:t>
            </a:r>
            <a:endParaRPr sz="1200">
              <a:latin typeface="Cambria"/>
              <a:cs typeface="Cambria"/>
            </a:endParaRPr>
          </a:p>
        </p:txBody>
      </p:sp>
      <p:sp>
        <p:nvSpPr>
          <p:cNvPr id="234" name="object 234"/>
          <p:cNvSpPr txBox="1"/>
          <p:nvPr/>
        </p:nvSpPr>
        <p:spPr>
          <a:xfrm>
            <a:off x="587146" y="1815135"/>
            <a:ext cx="1066631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0"/>
              </a:lnSpc>
              <a:spcBef>
                <a:spcPts val="67"/>
              </a:spcBef>
            </a:pPr>
            <a:r>
              <a:rPr sz="1200" spc="-14" dirty="0" smtClean="0">
                <a:solidFill>
                  <a:srgbClr val="253046"/>
                </a:solidFill>
                <a:latin typeface="Cambria"/>
                <a:cs typeface="Cambria"/>
              </a:rPr>
              <a:t>A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ccess</a:t>
            </a:r>
            <a:r>
              <a:rPr sz="1200" spc="-24" dirty="0" smtClean="0">
                <a:solidFill>
                  <a:srgbClr val="253046"/>
                </a:solidFill>
                <a:latin typeface="Cambria"/>
                <a:cs typeface="Cambria"/>
              </a:rPr>
              <a:t> </a:t>
            </a:r>
            <a:r>
              <a:rPr sz="1200" spc="-4" dirty="0" smtClean="0">
                <a:solidFill>
                  <a:srgbClr val="253046"/>
                </a:solidFill>
                <a:latin typeface="Cambria"/>
                <a:cs typeface="Cambria"/>
              </a:rPr>
              <a:t>v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ia</a:t>
            </a:r>
            <a:r>
              <a:rPr sz="1200" spc="4" dirty="0" smtClean="0">
                <a:solidFill>
                  <a:srgbClr val="253046"/>
                </a:solidFill>
                <a:latin typeface="Cambria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NU</a:t>
            </a:r>
            <a:r>
              <a:rPr sz="1200" spc="4" dirty="0" smtClean="0">
                <a:solidFill>
                  <a:srgbClr val="253046"/>
                </a:solidFill>
                <a:latin typeface="Cambria"/>
                <a:cs typeface="Cambria"/>
              </a:rPr>
              <a:t>S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I</a:t>
            </a:r>
            <a:endParaRPr sz="1200">
              <a:latin typeface="Cambria"/>
              <a:cs typeface="Cambria"/>
            </a:endParaRPr>
          </a:p>
        </p:txBody>
      </p:sp>
      <p:sp>
        <p:nvSpPr>
          <p:cNvPr id="233" name="object 233"/>
          <p:cNvSpPr txBox="1"/>
          <p:nvPr/>
        </p:nvSpPr>
        <p:spPr>
          <a:xfrm>
            <a:off x="5826633" y="3710272"/>
            <a:ext cx="81594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USI</a:t>
            </a:r>
            <a:r>
              <a:rPr sz="1000" spc="-21" dirty="0" smtClean="0">
                <a:latin typeface="Cambria"/>
                <a:cs typeface="Cambria"/>
              </a:rPr>
              <a:t> </a:t>
            </a:r>
            <a:r>
              <a:rPr sz="1000" spc="-4" dirty="0" smtClean="0">
                <a:latin typeface="Cambria"/>
                <a:cs typeface="Cambria"/>
              </a:rPr>
              <a:t>S</a:t>
            </a:r>
            <a:r>
              <a:rPr sz="1000" spc="0" dirty="0" smtClean="0">
                <a:latin typeface="Cambria"/>
                <a:cs typeface="Cambria"/>
              </a:rPr>
              <a:t>ub</a:t>
            </a:r>
            <a:r>
              <a:rPr sz="1000" spc="-4" dirty="0" smtClean="0">
                <a:latin typeface="Cambria"/>
                <a:cs typeface="Cambria"/>
              </a:rPr>
              <a:t>t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-4" dirty="0" smtClean="0">
                <a:latin typeface="Cambria"/>
                <a:cs typeface="Cambria"/>
              </a:rPr>
              <a:t>b</a:t>
            </a:r>
            <a:r>
              <a:rPr sz="1000" spc="4" dirty="0" smtClean="0">
                <a:latin typeface="Cambria"/>
                <a:cs typeface="Cambria"/>
              </a:rPr>
              <a:t>l</a:t>
            </a:r>
            <a:r>
              <a:rPr sz="1000" spc="0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32" name="object 232"/>
          <p:cNvSpPr txBox="1"/>
          <p:nvPr/>
        </p:nvSpPr>
        <p:spPr>
          <a:xfrm>
            <a:off x="8124571" y="3710272"/>
            <a:ext cx="81594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USI</a:t>
            </a:r>
            <a:r>
              <a:rPr sz="1000" spc="-21" dirty="0" smtClean="0">
                <a:latin typeface="Cambria"/>
                <a:cs typeface="Cambria"/>
              </a:rPr>
              <a:t> </a:t>
            </a:r>
            <a:r>
              <a:rPr sz="1000" spc="-4" dirty="0" smtClean="0">
                <a:latin typeface="Cambria"/>
                <a:cs typeface="Cambria"/>
              </a:rPr>
              <a:t>S</a:t>
            </a:r>
            <a:r>
              <a:rPr sz="1000" spc="0" dirty="0" smtClean="0">
                <a:latin typeface="Cambria"/>
                <a:cs typeface="Cambria"/>
              </a:rPr>
              <a:t>ub</a:t>
            </a:r>
            <a:r>
              <a:rPr sz="1000" spc="-4" dirty="0" smtClean="0">
                <a:latin typeface="Cambria"/>
                <a:cs typeface="Cambria"/>
              </a:rPr>
              <a:t>t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-4" dirty="0" smtClean="0">
                <a:latin typeface="Cambria"/>
                <a:cs typeface="Cambria"/>
              </a:rPr>
              <a:t>b</a:t>
            </a:r>
            <a:r>
              <a:rPr sz="1000" spc="4" dirty="0" smtClean="0">
                <a:latin typeface="Cambria"/>
                <a:cs typeface="Cambria"/>
              </a:rPr>
              <a:t>l</a:t>
            </a:r>
            <a:r>
              <a:rPr sz="1000" spc="0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31" name="object 231"/>
          <p:cNvSpPr txBox="1"/>
          <p:nvPr/>
        </p:nvSpPr>
        <p:spPr>
          <a:xfrm>
            <a:off x="1106830" y="3724623"/>
            <a:ext cx="81594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USI</a:t>
            </a:r>
            <a:r>
              <a:rPr sz="1000" spc="-21" dirty="0" smtClean="0">
                <a:latin typeface="Cambria"/>
                <a:cs typeface="Cambria"/>
              </a:rPr>
              <a:t> </a:t>
            </a:r>
            <a:r>
              <a:rPr sz="1000" spc="-4" dirty="0" smtClean="0">
                <a:latin typeface="Cambria"/>
                <a:cs typeface="Cambria"/>
              </a:rPr>
              <a:t>S</a:t>
            </a:r>
            <a:r>
              <a:rPr sz="1000" spc="0" dirty="0" smtClean="0">
                <a:latin typeface="Cambria"/>
                <a:cs typeface="Cambria"/>
              </a:rPr>
              <a:t>ub</a:t>
            </a:r>
            <a:r>
              <a:rPr sz="1000" spc="-4" dirty="0" smtClean="0">
                <a:latin typeface="Cambria"/>
                <a:cs typeface="Cambria"/>
              </a:rPr>
              <a:t>t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-4" dirty="0" smtClean="0">
                <a:latin typeface="Cambria"/>
                <a:cs typeface="Cambria"/>
              </a:rPr>
              <a:t>b</a:t>
            </a:r>
            <a:r>
              <a:rPr sz="1000" spc="4" dirty="0" smtClean="0">
                <a:latin typeface="Cambria"/>
                <a:cs typeface="Cambria"/>
              </a:rPr>
              <a:t>l</a:t>
            </a:r>
            <a:r>
              <a:rPr sz="1000" spc="0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30" name="object 230"/>
          <p:cNvSpPr txBox="1"/>
          <p:nvPr/>
        </p:nvSpPr>
        <p:spPr>
          <a:xfrm>
            <a:off x="4049396" y="3925925"/>
            <a:ext cx="413123" cy="1521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R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w</a:t>
            </a:r>
            <a:r>
              <a:rPr sz="1000" spc="0" dirty="0" smtClean="0">
                <a:latin typeface="Cambria"/>
                <a:cs typeface="Cambria"/>
              </a:rPr>
              <a:t>ID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29" name="object 229"/>
          <p:cNvSpPr txBox="1"/>
          <p:nvPr/>
        </p:nvSpPr>
        <p:spPr>
          <a:xfrm>
            <a:off x="2907285" y="3933157"/>
            <a:ext cx="412824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R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w</a:t>
            </a:r>
            <a:r>
              <a:rPr sz="1000" spc="0" dirty="0" smtClean="0">
                <a:latin typeface="Cambria"/>
                <a:cs typeface="Cambria"/>
              </a:rPr>
              <a:t>ID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28" name="object 228"/>
          <p:cNvSpPr txBox="1"/>
          <p:nvPr/>
        </p:nvSpPr>
        <p:spPr>
          <a:xfrm>
            <a:off x="3503423" y="3933157"/>
            <a:ext cx="360456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a</a:t>
            </a:r>
            <a:r>
              <a:rPr sz="1000" spc="0" dirty="0" smtClean="0">
                <a:latin typeface="Cambria"/>
                <a:cs typeface="Cambria"/>
              </a:rPr>
              <a:t>m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27" name="object 227"/>
          <p:cNvSpPr txBox="1"/>
          <p:nvPr/>
        </p:nvSpPr>
        <p:spPr>
          <a:xfrm>
            <a:off x="771857" y="4035520"/>
            <a:ext cx="378942" cy="25311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438">
              <a:lnSpc>
                <a:spcPts val="1015"/>
              </a:lnSpc>
              <a:spcBef>
                <a:spcPts val="50"/>
              </a:spcBef>
            </a:pPr>
            <a:r>
              <a:rPr sz="1500" spc="0" baseline="-5686" dirty="0" smtClean="0">
                <a:latin typeface="Cambria"/>
                <a:cs typeface="Cambria"/>
              </a:rPr>
              <a:t>448,</a:t>
            </a:r>
            <a:r>
              <a:rPr sz="1500" spc="-33" baseline="-5686" dirty="0" smtClean="0">
                <a:latin typeface="Cambria"/>
                <a:cs typeface="Cambria"/>
              </a:rPr>
              <a:t> </a:t>
            </a:r>
            <a:r>
              <a:rPr sz="1500" spc="0" baseline="-5686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 marL="15138">
              <a:lnSpc>
                <a:spcPts val="915"/>
              </a:lnSpc>
            </a:pPr>
            <a:r>
              <a:rPr sz="1500" spc="0" baseline="2843" dirty="0" smtClean="0">
                <a:latin typeface="Cambria"/>
                <a:cs typeface="Cambria"/>
              </a:rPr>
              <a:t>656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26" name="object 226"/>
          <p:cNvSpPr txBox="1"/>
          <p:nvPr/>
        </p:nvSpPr>
        <p:spPr>
          <a:xfrm>
            <a:off x="1437258" y="4035520"/>
            <a:ext cx="373040" cy="25311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5"/>
              </a:lnSpc>
              <a:spcBef>
                <a:spcPts val="50"/>
              </a:spcBef>
            </a:pPr>
            <a:r>
              <a:rPr sz="1500" spc="-4" baseline="-5686" dirty="0" smtClean="0">
                <a:latin typeface="Cambria"/>
                <a:cs typeface="Cambria"/>
              </a:rPr>
              <a:t>W</a:t>
            </a:r>
            <a:r>
              <a:rPr sz="1500" spc="0" baseline="-5686" dirty="0" smtClean="0">
                <a:latin typeface="Cambria"/>
                <a:cs typeface="Cambria"/>
              </a:rPr>
              <a:t>hite</a:t>
            </a:r>
            <a:endParaRPr sz="1000">
              <a:latin typeface="Cambria"/>
              <a:cs typeface="Cambria"/>
            </a:endParaRPr>
          </a:p>
          <a:p>
            <a:pPr marL="21843" marR="22333">
              <a:lnSpc>
                <a:spcPts val="915"/>
              </a:lnSpc>
            </a:pPr>
            <a:r>
              <a:rPr sz="1500" spc="4" baseline="2843" dirty="0" smtClean="0">
                <a:latin typeface="Cambria"/>
                <a:cs typeface="Cambria"/>
              </a:rPr>
              <a:t>R</a:t>
            </a:r>
            <a:r>
              <a:rPr sz="1500" spc="0" baseline="2843" dirty="0" smtClean="0">
                <a:latin typeface="Cambria"/>
                <a:cs typeface="Cambria"/>
              </a:rPr>
              <a:t>i</a:t>
            </a:r>
            <a:r>
              <a:rPr sz="1500" spc="4" baseline="2843" dirty="0" smtClean="0">
                <a:latin typeface="Cambria"/>
                <a:cs typeface="Cambria"/>
              </a:rPr>
              <a:t>c</a:t>
            </a:r>
            <a:r>
              <a:rPr sz="1500" spc="0" baseline="2843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25" name="object 225"/>
          <p:cNvSpPr txBox="1"/>
          <p:nvPr/>
        </p:nvSpPr>
        <p:spPr>
          <a:xfrm>
            <a:off x="2054100" y="4035520"/>
            <a:ext cx="381077" cy="25311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4571">
              <a:lnSpc>
                <a:spcPts val="1015"/>
              </a:lnSpc>
              <a:spcBef>
                <a:spcPts val="50"/>
              </a:spcBef>
            </a:pPr>
            <a:r>
              <a:rPr sz="1500" spc="0" baseline="-5686" dirty="0" smtClean="0">
                <a:latin typeface="Cambria"/>
                <a:cs typeface="Cambria"/>
              </a:rPr>
              <a:t>107,</a:t>
            </a:r>
            <a:r>
              <a:rPr sz="1500" spc="-33" baseline="-5686" dirty="0" smtClean="0">
                <a:latin typeface="Cambria"/>
                <a:cs typeface="Cambria"/>
              </a:rPr>
              <a:t> </a:t>
            </a:r>
            <a:r>
              <a:rPr sz="1500" spc="0" baseline="-5686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 marL="17271">
              <a:lnSpc>
                <a:spcPts val="915"/>
              </a:lnSpc>
            </a:pPr>
            <a:r>
              <a:rPr sz="1500" spc="0" baseline="2843" dirty="0" smtClean="0">
                <a:latin typeface="Cambria"/>
                <a:cs typeface="Cambria"/>
              </a:rPr>
              <a:t>536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5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24" name="object 224"/>
          <p:cNvSpPr txBox="1"/>
          <p:nvPr/>
        </p:nvSpPr>
        <p:spPr>
          <a:xfrm>
            <a:off x="2902713" y="4049870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567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2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23" name="object 223"/>
          <p:cNvSpPr txBox="1"/>
          <p:nvPr/>
        </p:nvSpPr>
        <p:spPr>
          <a:xfrm>
            <a:off x="3432430" y="4049870"/>
            <a:ext cx="415592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0" dirty="0" smtClean="0">
                <a:latin typeface="Cambria"/>
                <a:cs typeface="Cambria"/>
              </a:rPr>
              <a:t>d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0" dirty="0" smtClean="0">
                <a:latin typeface="Cambria"/>
                <a:cs typeface="Cambria"/>
              </a:rPr>
              <a:t>ms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22" name="object 222"/>
          <p:cNvSpPr txBox="1"/>
          <p:nvPr/>
        </p:nvSpPr>
        <p:spPr>
          <a:xfrm>
            <a:off x="2904871" y="4165440"/>
            <a:ext cx="376505" cy="2612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45"/>
              </a:lnSpc>
              <a:spcBef>
                <a:spcPts val="52"/>
              </a:spcBef>
            </a:pPr>
            <a:r>
              <a:rPr sz="1500" spc="0" baseline="-2843" dirty="0" smtClean="0">
                <a:latin typeface="Cambria"/>
                <a:cs typeface="Cambria"/>
              </a:rPr>
              <a:t>852,</a:t>
            </a:r>
            <a:r>
              <a:rPr sz="1500" spc="-33" baseline="-2843" dirty="0" smtClean="0">
                <a:latin typeface="Cambria"/>
                <a:cs typeface="Cambria"/>
              </a:rPr>
              <a:t> </a:t>
            </a:r>
            <a:r>
              <a:rPr sz="1500" spc="0" baseline="-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 marL="12700">
              <a:lnSpc>
                <a:spcPts val="944"/>
              </a:lnSpc>
            </a:pPr>
            <a:r>
              <a:rPr sz="1500" spc="0" baseline="2843" dirty="0" smtClean="0">
                <a:latin typeface="Cambria"/>
                <a:cs typeface="Cambria"/>
              </a:rPr>
              <a:t>432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3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21" name="object 221"/>
          <p:cNvSpPr txBox="1"/>
          <p:nvPr/>
        </p:nvSpPr>
        <p:spPr>
          <a:xfrm>
            <a:off x="3448304" y="4165440"/>
            <a:ext cx="412296" cy="2612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45"/>
              </a:lnSpc>
              <a:spcBef>
                <a:spcPts val="52"/>
              </a:spcBef>
            </a:pPr>
            <a:r>
              <a:rPr sz="1500" spc="0" baseline="-2843" dirty="0" smtClean="0">
                <a:latin typeface="Cambria"/>
                <a:cs typeface="Cambria"/>
              </a:rPr>
              <a:t>B</a:t>
            </a:r>
            <a:r>
              <a:rPr sz="1500" spc="-4" baseline="-2843" dirty="0" smtClean="0">
                <a:latin typeface="Cambria"/>
                <a:cs typeface="Cambria"/>
              </a:rPr>
              <a:t>r</a:t>
            </a:r>
            <a:r>
              <a:rPr sz="1500" spc="0" baseline="-2843" dirty="0" smtClean="0">
                <a:latin typeface="Cambria"/>
                <a:cs typeface="Cambria"/>
              </a:rPr>
              <a:t>o</a:t>
            </a:r>
            <a:r>
              <a:rPr sz="1500" spc="-4" baseline="-2843" dirty="0" smtClean="0">
                <a:latin typeface="Cambria"/>
                <a:cs typeface="Cambria"/>
              </a:rPr>
              <a:t>w</a:t>
            </a:r>
            <a:r>
              <a:rPr sz="1500" spc="0" baseline="-2843" dirty="0" smtClean="0">
                <a:latin typeface="Cambria"/>
                <a:cs typeface="Cambria"/>
              </a:rPr>
              <a:t>n</a:t>
            </a:r>
            <a:endParaRPr sz="1000">
              <a:latin typeface="Cambria"/>
              <a:cs typeface="Cambria"/>
            </a:endParaRPr>
          </a:p>
          <a:p>
            <a:pPr marL="12700" marR="22333">
              <a:lnSpc>
                <a:spcPts val="944"/>
              </a:lnSpc>
            </a:pPr>
            <a:r>
              <a:rPr sz="1500" spc="0" baseline="2843" dirty="0" smtClean="0">
                <a:latin typeface="Cambria"/>
                <a:cs typeface="Cambria"/>
              </a:rPr>
              <a:t>Sm</a:t>
            </a:r>
            <a:r>
              <a:rPr sz="1500" spc="-4" baseline="2843" dirty="0" smtClean="0">
                <a:latin typeface="Cambria"/>
                <a:cs typeface="Cambria"/>
              </a:rPr>
              <a:t>i</a:t>
            </a:r>
            <a:r>
              <a:rPr sz="1500" spc="0" baseline="2843" dirty="0" smtClean="0">
                <a:latin typeface="Cambria"/>
                <a:cs typeface="Cambria"/>
              </a:rPr>
              <a:t>th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20" name="object 220"/>
          <p:cNvSpPr txBox="1"/>
          <p:nvPr/>
        </p:nvSpPr>
        <p:spPr>
          <a:xfrm>
            <a:off x="774293" y="4246219"/>
            <a:ext cx="376844" cy="1521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567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3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19" name="object 219"/>
          <p:cNvSpPr txBox="1"/>
          <p:nvPr/>
        </p:nvSpPr>
        <p:spPr>
          <a:xfrm>
            <a:off x="1446402" y="4246219"/>
            <a:ext cx="416153" cy="1521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Ad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0" dirty="0" smtClean="0">
                <a:latin typeface="Cambria"/>
                <a:cs typeface="Cambria"/>
              </a:rPr>
              <a:t>ms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18" name="object 218"/>
          <p:cNvSpPr txBox="1"/>
          <p:nvPr/>
        </p:nvSpPr>
        <p:spPr>
          <a:xfrm>
            <a:off x="2058670" y="4246219"/>
            <a:ext cx="376844" cy="1521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638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17" name="object 217"/>
          <p:cNvSpPr txBox="1"/>
          <p:nvPr/>
        </p:nvSpPr>
        <p:spPr>
          <a:xfrm>
            <a:off x="5494147" y="4340319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448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4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16" name="object 216"/>
          <p:cNvSpPr txBox="1"/>
          <p:nvPr/>
        </p:nvSpPr>
        <p:spPr>
          <a:xfrm>
            <a:off x="6202807" y="4340319"/>
            <a:ext cx="34180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B</a:t>
            </a:r>
            <a:r>
              <a:rPr sz="1000" spc="4" dirty="0" smtClean="0">
                <a:latin typeface="Cambria"/>
                <a:cs typeface="Cambria"/>
              </a:rPr>
              <a:t>lac</a:t>
            </a:r>
            <a:r>
              <a:rPr sz="1000" spc="0" dirty="0" smtClean="0">
                <a:latin typeface="Cambria"/>
                <a:cs typeface="Cambria"/>
              </a:rPr>
              <a:t>k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15" name="object 215"/>
          <p:cNvSpPr txBox="1"/>
          <p:nvPr/>
        </p:nvSpPr>
        <p:spPr>
          <a:xfrm>
            <a:off x="6778499" y="4340319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822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14" name="object 214"/>
          <p:cNvSpPr txBox="1"/>
          <p:nvPr/>
        </p:nvSpPr>
        <p:spPr>
          <a:xfrm>
            <a:off x="7791958" y="4340319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155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13" name="object 213"/>
          <p:cNvSpPr txBox="1"/>
          <p:nvPr/>
        </p:nvSpPr>
        <p:spPr>
          <a:xfrm>
            <a:off x="8500619" y="4340319"/>
            <a:ext cx="952324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Ma</a:t>
            </a:r>
            <a:r>
              <a:rPr sz="1000" spc="-4" dirty="0" smtClean="0">
                <a:latin typeface="Cambria"/>
                <a:cs typeface="Cambria"/>
              </a:rPr>
              <a:t>r</a:t>
            </a:r>
            <a:r>
              <a:rPr sz="1000" spc="4" dirty="0" smtClean="0">
                <a:latin typeface="Cambria"/>
                <a:cs typeface="Cambria"/>
              </a:rPr>
              <a:t>s</a:t>
            </a:r>
            <a:r>
              <a:rPr sz="1000" spc="0" dirty="0" smtClean="0">
                <a:latin typeface="Cambria"/>
                <a:cs typeface="Cambria"/>
              </a:rPr>
              <a:t>h       </a:t>
            </a:r>
            <a:r>
              <a:rPr sz="1000" spc="52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915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9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12" name="object 212"/>
          <p:cNvSpPr txBox="1"/>
          <p:nvPr/>
        </p:nvSpPr>
        <p:spPr>
          <a:xfrm>
            <a:off x="774293" y="4354670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432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8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11" name="object 211"/>
          <p:cNvSpPr txBox="1"/>
          <p:nvPr/>
        </p:nvSpPr>
        <p:spPr>
          <a:xfrm>
            <a:off x="1446404" y="4354670"/>
            <a:ext cx="359609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Sm</a:t>
            </a:r>
            <a:r>
              <a:rPr sz="1000" spc="-4" dirty="0" smtClean="0">
                <a:latin typeface="Cambria"/>
                <a:cs typeface="Cambria"/>
              </a:rPr>
              <a:t>i</a:t>
            </a:r>
            <a:r>
              <a:rPr sz="1000" spc="0" dirty="0" smtClean="0">
                <a:latin typeface="Cambria"/>
                <a:cs typeface="Cambria"/>
              </a:rPr>
              <a:t>th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10" name="object 210"/>
          <p:cNvSpPr txBox="1"/>
          <p:nvPr/>
        </p:nvSpPr>
        <p:spPr>
          <a:xfrm>
            <a:off x="2058670" y="4354670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640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09" name="object 209"/>
          <p:cNvSpPr txBox="1"/>
          <p:nvPr/>
        </p:nvSpPr>
        <p:spPr>
          <a:xfrm>
            <a:off x="8044434" y="5260949"/>
            <a:ext cx="283733" cy="1521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Cu</a:t>
            </a:r>
            <a:r>
              <a:rPr sz="1000" spc="4" dirty="0" smtClean="0">
                <a:latin typeface="Cambria"/>
                <a:cs typeface="Cambria"/>
              </a:rPr>
              <a:t>s</a:t>
            </a:r>
            <a:r>
              <a:rPr sz="1000" spc="0" dirty="0" smtClean="0">
                <a:latin typeface="Cambria"/>
                <a:cs typeface="Cambria"/>
              </a:rPr>
              <a:t>t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08" name="object 208"/>
          <p:cNvSpPr txBox="1"/>
          <p:nvPr/>
        </p:nvSpPr>
        <p:spPr>
          <a:xfrm>
            <a:off x="8445754" y="5260949"/>
            <a:ext cx="360882" cy="1521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a</a:t>
            </a:r>
            <a:r>
              <a:rPr sz="1000" spc="0" dirty="0" smtClean="0">
                <a:latin typeface="Cambria"/>
                <a:cs typeface="Cambria"/>
              </a:rPr>
              <a:t>m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07" name="object 207"/>
          <p:cNvSpPr txBox="1"/>
          <p:nvPr/>
        </p:nvSpPr>
        <p:spPr>
          <a:xfrm>
            <a:off x="9003031" y="5260949"/>
            <a:ext cx="385223" cy="1521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-4" dirty="0" smtClean="0">
                <a:latin typeface="Cambria"/>
                <a:cs typeface="Cambria"/>
              </a:rPr>
              <a:t>P</a:t>
            </a:r>
            <a:r>
              <a:rPr sz="1000" spc="0" dirty="0" smtClean="0">
                <a:latin typeface="Cambria"/>
                <a:cs typeface="Cambria"/>
              </a:rPr>
              <a:t>ho</a:t>
            </a:r>
            <a:r>
              <a:rPr sz="1000" spc="-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06" name="object 206"/>
          <p:cNvSpPr txBox="1"/>
          <p:nvPr/>
        </p:nvSpPr>
        <p:spPr>
          <a:xfrm>
            <a:off x="5732781" y="5270594"/>
            <a:ext cx="283491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Cu</a:t>
            </a:r>
            <a:r>
              <a:rPr sz="1000" spc="4" dirty="0" smtClean="0">
                <a:latin typeface="Cambria"/>
                <a:cs typeface="Cambria"/>
              </a:rPr>
              <a:t>s</a:t>
            </a:r>
            <a:r>
              <a:rPr sz="1000" spc="0" dirty="0" smtClean="0">
                <a:latin typeface="Cambria"/>
                <a:cs typeface="Cambria"/>
              </a:rPr>
              <a:t>t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05" name="object 205"/>
          <p:cNvSpPr txBox="1"/>
          <p:nvPr/>
        </p:nvSpPr>
        <p:spPr>
          <a:xfrm>
            <a:off x="6133846" y="5270594"/>
            <a:ext cx="360456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a</a:t>
            </a:r>
            <a:r>
              <a:rPr sz="1000" spc="0" dirty="0" smtClean="0">
                <a:latin typeface="Cambria"/>
                <a:cs typeface="Cambria"/>
              </a:rPr>
              <a:t>m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04" name="object 204"/>
          <p:cNvSpPr txBox="1"/>
          <p:nvPr/>
        </p:nvSpPr>
        <p:spPr>
          <a:xfrm>
            <a:off x="6691377" y="5270594"/>
            <a:ext cx="384989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Pho</a:t>
            </a:r>
            <a:r>
              <a:rPr sz="1000" spc="-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03" name="object 203"/>
          <p:cNvSpPr txBox="1"/>
          <p:nvPr/>
        </p:nvSpPr>
        <p:spPr>
          <a:xfrm>
            <a:off x="7535418" y="5268181"/>
            <a:ext cx="412824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R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w</a:t>
            </a:r>
            <a:r>
              <a:rPr sz="1000" spc="0" dirty="0" smtClean="0">
                <a:latin typeface="Cambria"/>
                <a:cs typeface="Cambria"/>
              </a:rPr>
              <a:t>ID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02" name="object 202"/>
          <p:cNvSpPr txBox="1"/>
          <p:nvPr/>
        </p:nvSpPr>
        <p:spPr>
          <a:xfrm>
            <a:off x="1099820" y="5275166"/>
            <a:ext cx="283491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Cu</a:t>
            </a:r>
            <a:r>
              <a:rPr sz="1000" spc="4" dirty="0" smtClean="0">
                <a:latin typeface="Cambria"/>
                <a:cs typeface="Cambria"/>
              </a:rPr>
              <a:t>s</a:t>
            </a:r>
            <a:r>
              <a:rPr sz="1000" spc="0" dirty="0" smtClean="0">
                <a:latin typeface="Cambria"/>
                <a:cs typeface="Cambria"/>
              </a:rPr>
              <a:t>t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01" name="object 201"/>
          <p:cNvSpPr txBox="1"/>
          <p:nvPr/>
        </p:nvSpPr>
        <p:spPr>
          <a:xfrm>
            <a:off x="1501267" y="5275166"/>
            <a:ext cx="360456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a</a:t>
            </a:r>
            <a:r>
              <a:rPr sz="1000" spc="0" dirty="0" smtClean="0">
                <a:latin typeface="Cambria"/>
                <a:cs typeface="Cambria"/>
              </a:rPr>
              <a:t>m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00" name="object 200"/>
          <p:cNvSpPr txBox="1"/>
          <p:nvPr/>
        </p:nvSpPr>
        <p:spPr>
          <a:xfrm>
            <a:off x="2058671" y="5275166"/>
            <a:ext cx="384989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Pho</a:t>
            </a:r>
            <a:r>
              <a:rPr sz="1000" spc="-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99" name="object 199"/>
          <p:cNvSpPr txBox="1"/>
          <p:nvPr/>
        </p:nvSpPr>
        <p:spPr>
          <a:xfrm>
            <a:off x="2916429" y="5277579"/>
            <a:ext cx="412824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R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w</a:t>
            </a:r>
            <a:r>
              <a:rPr sz="1000" spc="0" dirty="0" smtClean="0">
                <a:latin typeface="Cambria"/>
                <a:cs typeface="Cambria"/>
              </a:rPr>
              <a:t>ID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98" name="object 198"/>
          <p:cNvSpPr txBox="1"/>
          <p:nvPr/>
        </p:nvSpPr>
        <p:spPr>
          <a:xfrm>
            <a:off x="3826890" y="5275166"/>
            <a:ext cx="360456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a</a:t>
            </a:r>
            <a:r>
              <a:rPr sz="1000" spc="0" dirty="0" smtClean="0">
                <a:latin typeface="Cambria"/>
                <a:cs typeface="Cambria"/>
              </a:rPr>
              <a:t>m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97" name="object 197"/>
          <p:cNvSpPr txBox="1"/>
          <p:nvPr/>
        </p:nvSpPr>
        <p:spPr>
          <a:xfrm>
            <a:off x="4384041" y="5275166"/>
            <a:ext cx="384989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Pho</a:t>
            </a:r>
            <a:r>
              <a:rPr sz="1000" spc="-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96" name="object 196"/>
          <p:cNvSpPr txBox="1"/>
          <p:nvPr/>
        </p:nvSpPr>
        <p:spPr>
          <a:xfrm>
            <a:off x="5223511" y="5277579"/>
            <a:ext cx="412824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R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w</a:t>
            </a:r>
            <a:r>
              <a:rPr sz="1000" spc="0" dirty="0" smtClean="0">
                <a:latin typeface="Cambria"/>
                <a:cs typeface="Cambria"/>
              </a:rPr>
              <a:t>ID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95" name="object 195"/>
          <p:cNvSpPr txBox="1"/>
          <p:nvPr/>
        </p:nvSpPr>
        <p:spPr>
          <a:xfrm>
            <a:off x="590804" y="5282532"/>
            <a:ext cx="412824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R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w</a:t>
            </a:r>
            <a:r>
              <a:rPr sz="1000" spc="0" dirty="0" smtClean="0">
                <a:latin typeface="Cambria"/>
                <a:cs typeface="Cambria"/>
              </a:rPr>
              <a:t>ID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94" name="object 194"/>
          <p:cNvSpPr txBox="1"/>
          <p:nvPr/>
        </p:nvSpPr>
        <p:spPr>
          <a:xfrm>
            <a:off x="3398013" y="5279992"/>
            <a:ext cx="283491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Cu</a:t>
            </a:r>
            <a:r>
              <a:rPr sz="1000" spc="4" dirty="0" smtClean="0">
                <a:latin typeface="Cambria"/>
                <a:cs typeface="Cambria"/>
              </a:rPr>
              <a:t>s</a:t>
            </a:r>
            <a:r>
              <a:rPr sz="1000" spc="0" dirty="0" smtClean="0">
                <a:latin typeface="Cambria"/>
                <a:cs typeface="Cambria"/>
              </a:rPr>
              <a:t>t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93" name="object 193"/>
          <p:cNvSpPr txBox="1"/>
          <p:nvPr/>
        </p:nvSpPr>
        <p:spPr>
          <a:xfrm>
            <a:off x="9019159" y="5366860"/>
            <a:ext cx="325949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UPI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92" name="object 192"/>
          <p:cNvSpPr txBox="1"/>
          <p:nvPr/>
        </p:nvSpPr>
        <p:spPr>
          <a:xfrm>
            <a:off x="6707251" y="5376392"/>
            <a:ext cx="326419" cy="1521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UPI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91" name="object 191"/>
          <p:cNvSpPr txBox="1"/>
          <p:nvPr/>
        </p:nvSpPr>
        <p:spPr>
          <a:xfrm>
            <a:off x="8450326" y="5372956"/>
            <a:ext cx="316870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solidFill>
                  <a:srgbClr val="253046"/>
                </a:solidFill>
                <a:latin typeface="Cambria"/>
                <a:cs typeface="Cambria"/>
              </a:rPr>
              <a:t>N</a:t>
            </a: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USI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90" name="object 190"/>
          <p:cNvSpPr txBox="1"/>
          <p:nvPr/>
        </p:nvSpPr>
        <p:spPr>
          <a:xfrm>
            <a:off x="1487551" y="5382481"/>
            <a:ext cx="316870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solidFill>
                  <a:srgbClr val="253046"/>
                </a:solidFill>
                <a:latin typeface="Cambria"/>
                <a:cs typeface="Cambria"/>
              </a:rPr>
              <a:t>N</a:t>
            </a: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USI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89" name="object 189"/>
          <p:cNvSpPr txBox="1"/>
          <p:nvPr/>
        </p:nvSpPr>
        <p:spPr>
          <a:xfrm>
            <a:off x="2074545" y="5381211"/>
            <a:ext cx="325949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UPI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88" name="object 188"/>
          <p:cNvSpPr txBox="1"/>
          <p:nvPr/>
        </p:nvSpPr>
        <p:spPr>
          <a:xfrm>
            <a:off x="3836036" y="5382481"/>
            <a:ext cx="316870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solidFill>
                  <a:srgbClr val="253046"/>
                </a:solidFill>
                <a:latin typeface="Cambria"/>
                <a:cs typeface="Cambria"/>
              </a:rPr>
              <a:t>N</a:t>
            </a: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USI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87" name="object 187"/>
          <p:cNvSpPr txBox="1"/>
          <p:nvPr/>
        </p:nvSpPr>
        <p:spPr>
          <a:xfrm>
            <a:off x="4400170" y="5381211"/>
            <a:ext cx="325949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UPI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86" name="object 186"/>
          <p:cNvSpPr txBox="1"/>
          <p:nvPr/>
        </p:nvSpPr>
        <p:spPr>
          <a:xfrm>
            <a:off x="6147563" y="5382481"/>
            <a:ext cx="316870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solidFill>
                  <a:srgbClr val="253046"/>
                </a:solidFill>
                <a:latin typeface="Cambria"/>
                <a:cs typeface="Cambria"/>
              </a:rPr>
              <a:t>N</a:t>
            </a: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USI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85" name="object 185"/>
          <p:cNvSpPr txBox="1"/>
          <p:nvPr/>
        </p:nvSpPr>
        <p:spPr>
          <a:xfrm>
            <a:off x="3452877" y="5472981"/>
            <a:ext cx="1390031" cy="1543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50"/>
              </a:lnSpc>
              <a:spcBef>
                <a:spcPts val="57"/>
              </a:spcBef>
            </a:pPr>
            <a:r>
              <a:rPr sz="1000" spc="0" dirty="0" smtClean="0">
                <a:latin typeface="Cambria"/>
                <a:cs typeface="Cambria"/>
              </a:rPr>
              <a:t>45   </a:t>
            </a:r>
            <a:r>
              <a:rPr sz="1000" spc="138" dirty="0" smtClean="0">
                <a:latin typeface="Cambria"/>
                <a:cs typeface="Cambria"/>
              </a:rPr>
              <a:t> 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0" dirty="0" smtClean="0">
                <a:latin typeface="Cambria"/>
                <a:cs typeface="Cambria"/>
              </a:rPr>
              <a:t>d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0" dirty="0" smtClean="0">
                <a:latin typeface="Cambria"/>
                <a:cs typeface="Cambria"/>
              </a:rPr>
              <a:t>ms    </a:t>
            </a:r>
            <a:r>
              <a:rPr sz="1000" spc="210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444</a:t>
            </a:r>
            <a:r>
              <a:rPr sz="1000" spc="4" dirty="0" smtClean="0">
                <a:latin typeface="Cambria"/>
                <a:cs typeface="Cambria"/>
              </a:rPr>
              <a:t>-</a:t>
            </a:r>
            <a:r>
              <a:rPr sz="1000" spc="0" dirty="0" smtClean="0">
                <a:latin typeface="Cambria"/>
                <a:cs typeface="Cambria"/>
              </a:rPr>
              <a:t>6666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84" name="object 184"/>
          <p:cNvSpPr txBox="1"/>
          <p:nvPr/>
        </p:nvSpPr>
        <p:spPr>
          <a:xfrm>
            <a:off x="8104125" y="5475420"/>
            <a:ext cx="18450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77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83" name="object 183"/>
          <p:cNvSpPr txBox="1"/>
          <p:nvPr/>
        </p:nvSpPr>
        <p:spPr>
          <a:xfrm>
            <a:off x="8374761" y="5475420"/>
            <a:ext cx="334886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-4" dirty="0" smtClean="0">
                <a:latin typeface="Cambria"/>
                <a:cs typeface="Cambria"/>
              </a:rPr>
              <a:t>J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ne</a:t>
            </a:r>
            <a:r>
              <a:rPr sz="1000" spc="0" dirty="0" smtClean="0">
                <a:latin typeface="Cambria"/>
                <a:cs typeface="Cambria"/>
              </a:rPr>
              <a:t>s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82" name="object 182"/>
          <p:cNvSpPr txBox="1"/>
          <p:nvPr/>
        </p:nvSpPr>
        <p:spPr>
          <a:xfrm>
            <a:off x="8915781" y="5472981"/>
            <a:ext cx="577627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777</a:t>
            </a:r>
            <a:r>
              <a:rPr sz="1000" spc="4" dirty="0" smtClean="0">
                <a:latin typeface="Cambria"/>
                <a:cs typeface="Cambria"/>
              </a:rPr>
              <a:t>-</a:t>
            </a:r>
            <a:r>
              <a:rPr sz="1000" spc="0" dirty="0" smtClean="0">
                <a:latin typeface="Cambria"/>
                <a:cs typeface="Cambria"/>
              </a:rPr>
              <a:t>6666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81" name="object 181"/>
          <p:cNvSpPr txBox="1"/>
          <p:nvPr/>
        </p:nvSpPr>
        <p:spPr>
          <a:xfrm>
            <a:off x="2948433" y="5479992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471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80" name="object 180"/>
          <p:cNvSpPr txBox="1"/>
          <p:nvPr/>
        </p:nvSpPr>
        <p:spPr>
          <a:xfrm>
            <a:off x="6604254" y="5482430"/>
            <a:ext cx="577627" cy="47833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40"/>
              </a:lnSpc>
              <a:spcBef>
                <a:spcPts val="52"/>
              </a:spcBef>
            </a:pPr>
            <a:r>
              <a:rPr sz="1500" spc="0" baseline="-2843" dirty="0" smtClean="0">
                <a:latin typeface="Cambria"/>
                <a:cs typeface="Cambria"/>
              </a:rPr>
              <a:t>111</a:t>
            </a:r>
            <a:r>
              <a:rPr sz="1500" spc="4" baseline="-2843" dirty="0" smtClean="0">
                <a:latin typeface="Cambria"/>
                <a:cs typeface="Cambria"/>
              </a:rPr>
              <a:t>-</a:t>
            </a:r>
            <a:r>
              <a:rPr sz="1500" spc="0" baseline="-2843" dirty="0" smtClean="0">
                <a:latin typeface="Cambria"/>
                <a:cs typeface="Cambria"/>
              </a:rPr>
              <a:t>6666</a:t>
            </a:r>
            <a:endParaRPr sz="1000">
              <a:latin typeface="Cambria"/>
              <a:cs typeface="Cambria"/>
            </a:endParaRPr>
          </a:p>
          <a:p>
            <a:pPr marL="12700">
              <a:lnSpc>
                <a:spcPts val="860"/>
              </a:lnSpc>
            </a:pPr>
            <a:r>
              <a:rPr sz="1500" spc="0" baseline="-2843" dirty="0" smtClean="0">
                <a:latin typeface="Cambria"/>
                <a:cs typeface="Cambria"/>
              </a:rPr>
              <a:t>777</a:t>
            </a:r>
            <a:r>
              <a:rPr sz="1500" spc="4" baseline="-2843" dirty="0" smtClean="0">
                <a:latin typeface="Cambria"/>
                <a:cs typeface="Cambria"/>
              </a:rPr>
              <a:t>-</a:t>
            </a:r>
            <a:r>
              <a:rPr sz="1500" spc="0" baseline="-2843" dirty="0" smtClean="0">
                <a:latin typeface="Cambria"/>
                <a:cs typeface="Cambria"/>
              </a:rPr>
              <a:t>4444</a:t>
            </a:r>
            <a:endParaRPr sz="1000">
              <a:latin typeface="Cambria"/>
              <a:cs typeface="Cambria"/>
            </a:endParaRPr>
          </a:p>
          <a:p>
            <a:pPr marL="12700">
              <a:lnSpc>
                <a:spcPts val="860"/>
              </a:lnSpc>
            </a:pPr>
            <a:r>
              <a:rPr sz="1500" spc="0" baseline="-2843" dirty="0" smtClean="0">
                <a:latin typeface="Cambria"/>
                <a:cs typeface="Cambria"/>
              </a:rPr>
              <a:t>222</a:t>
            </a:r>
            <a:r>
              <a:rPr sz="1500" spc="4" baseline="-2843" dirty="0" smtClean="0">
                <a:latin typeface="Cambria"/>
                <a:cs typeface="Cambria"/>
              </a:rPr>
              <a:t>-</a:t>
            </a:r>
            <a:r>
              <a:rPr sz="1500" spc="0" baseline="-2843" dirty="0" smtClean="0">
                <a:latin typeface="Cambria"/>
                <a:cs typeface="Cambria"/>
              </a:rPr>
              <a:t>8888</a:t>
            </a:r>
            <a:endParaRPr sz="1000">
              <a:latin typeface="Cambria"/>
              <a:cs typeface="Cambria"/>
            </a:endParaRPr>
          </a:p>
          <a:p>
            <a:pPr marL="12700">
              <a:lnSpc>
                <a:spcPts val="940"/>
              </a:lnSpc>
              <a:spcBef>
                <a:spcPts val="4"/>
              </a:spcBef>
            </a:pPr>
            <a:r>
              <a:rPr sz="1500" spc="0" baseline="2843" dirty="0" smtClean="0">
                <a:latin typeface="Cambria"/>
                <a:cs typeface="Cambria"/>
              </a:rPr>
              <a:t>444</a:t>
            </a:r>
            <a:r>
              <a:rPr sz="1500" spc="4" baseline="2843" dirty="0" smtClean="0">
                <a:latin typeface="Cambria"/>
                <a:cs typeface="Cambria"/>
              </a:rPr>
              <a:t>-</a:t>
            </a:r>
            <a:r>
              <a:rPr sz="1500" spc="0" baseline="2843" dirty="0" smtClean="0">
                <a:latin typeface="Cambria"/>
                <a:cs typeface="Cambria"/>
              </a:rPr>
              <a:t>5555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79" name="object 179"/>
          <p:cNvSpPr txBox="1"/>
          <p:nvPr/>
        </p:nvSpPr>
        <p:spPr>
          <a:xfrm>
            <a:off x="7544562" y="5479992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639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78" name="object 178"/>
          <p:cNvSpPr txBox="1"/>
          <p:nvPr/>
        </p:nvSpPr>
        <p:spPr>
          <a:xfrm>
            <a:off x="1971549" y="5487308"/>
            <a:ext cx="577627" cy="2600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40"/>
              </a:lnSpc>
              <a:spcBef>
                <a:spcPts val="52"/>
              </a:spcBef>
            </a:pPr>
            <a:r>
              <a:rPr sz="1500" spc="0" baseline="-2843" dirty="0" smtClean="0">
                <a:latin typeface="Cambria"/>
                <a:cs typeface="Cambria"/>
              </a:rPr>
              <a:t>555</a:t>
            </a:r>
            <a:r>
              <a:rPr sz="1500" spc="4" baseline="-2843" dirty="0" smtClean="0">
                <a:latin typeface="Cambria"/>
                <a:cs typeface="Cambria"/>
              </a:rPr>
              <a:t>-</a:t>
            </a:r>
            <a:r>
              <a:rPr sz="1500" spc="0" baseline="-2843" dirty="0" smtClean="0">
                <a:latin typeface="Cambria"/>
                <a:cs typeface="Cambria"/>
              </a:rPr>
              <a:t>4444</a:t>
            </a:r>
            <a:endParaRPr sz="1000">
              <a:latin typeface="Cambria"/>
              <a:cs typeface="Cambria"/>
            </a:endParaRPr>
          </a:p>
          <a:p>
            <a:pPr marL="12700">
              <a:lnSpc>
                <a:spcPts val="940"/>
              </a:lnSpc>
            </a:pPr>
            <a:r>
              <a:rPr sz="1500" spc="0" baseline="2843" dirty="0" smtClean="0">
                <a:latin typeface="Cambria"/>
                <a:cs typeface="Cambria"/>
              </a:rPr>
              <a:t>666</a:t>
            </a:r>
            <a:r>
              <a:rPr sz="1500" spc="4" baseline="2843" dirty="0" smtClean="0">
                <a:latin typeface="Cambria"/>
                <a:cs typeface="Cambria"/>
              </a:rPr>
              <a:t>-</a:t>
            </a:r>
            <a:r>
              <a:rPr sz="1500" spc="0" baseline="2843" dirty="0" smtClean="0">
                <a:latin typeface="Cambria"/>
                <a:cs typeface="Cambria"/>
              </a:rPr>
              <a:t>5555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77" name="object 177"/>
          <p:cNvSpPr txBox="1"/>
          <p:nvPr/>
        </p:nvSpPr>
        <p:spPr>
          <a:xfrm>
            <a:off x="5792217" y="5484869"/>
            <a:ext cx="184508" cy="260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40"/>
              </a:lnSpc>
              <a:spcBef>
                <a:spcPts val="52"/>
              </a:spcBef>
            </a:pPr>
            <a:r>
              <a:rPr sz="1500" spc="0" baseline="-2843" dirty="0" smtClean="0">
                <a:latin typeface="Cambria"/>
                <a:cs typeface="Cambria"/>
              </a:rPr>
              <a:t>49</a:t>
            </a:r>
            <a:endParaRPr sz="1000">
              <a:latin typeface="Cambria"/>
              <a:cs typeface="Cambria"/>
            </a:endParaRPr>
          </a:p>
          <a:p>
            <a:pPr marL="12700">
              <a:lnSpc>
                <a:spcPts val="940"/>
              </a:lnSpc>
            </a:pPr>
            <a:r>
              <a:rPr sz="1500" spc="0" baseline="2843" dirty="0" smtClean="0">
                <a:latin typeface="Cambria"/>
                <a:cs typeface="Cambria"/>
              </a:rPr>
              <a:t>12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76" name="object 176"/>
          <p:cNvSpPr txBox="1"/>
          <p:nvPr/>
        </p:nvSpPr>
        <p:spPr>
          <a:xfrm>
            <a:off x="6062854" y="5484869"/>
            <a:ext cx="359609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Sm</a:t>
            </a:r>
            <a:r>
              <a:rPr sz="1000" spc="-4" dirty="0" smtClean="0">
                <a:latin typeface="Cambria"/>
                <a:cs typeface="Cambria"/>
              </a:rPr>
              <a:t>i</a:t>
            </a:r>
            <a:r>
              <a:rPr sz="1000" spc="0" dirty="0" smtClean="0">
                <a:latin typeface="Cambria"/>
                <a:cs typeface="Cambria"/>
              </a:rPr>
              <a:t>th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75" name="object 175"/>
          <p:cNvSpPr txBox="1"/>
          <p:nvPr/>
        </p:nvSpPr>
        <p:spPr>
          <a:xfrm>
            <a:off x="599949" y="5494317"/>
            <a:ext cx="376505" cy="260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40"/>
              </a:lnSpc>
              <a:spcBef>
                <a:spcPts val="52"/>
              </a:spcBef>
            </a:pPr>
            <a:r>
              <a:rPr sz="1500" spc="0" baseline="-2843" dirty="0" smtClean="0">
                <a:latin typeface="Cambria"/>
                <a:cs typeface="Cambria"/>
              </a:rPr>
              <a:t>107,</a:t>
            </a:r>
            <a:r>
              <a:rPr sz="1500" spc="-33" baseline="-2843" dirty="0" smtClean="0">
                <a:latin typeface="Cambria"/>
                <a:cs typeface="Cambria"/>
              </a:rPr>
              <a:t> </a:t>
            </a:r>
            <a:r>
              <a:rPr sz="1500" spc="0" baseline="-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 marL="12700">
              <a:lnSpc>
                <a:spcPts val="940"/>
              </a:lnSpc>
            </a:pPr>
            <a:r>
              <a:rPr sz="1500" spc="0" baseline="2843" dirty="0" smtClean="0">
                <a:latin typeface="Cambria"/>
                <a:cs typeface="Cambria"/>
              </a:rPr>
              <a:t>536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5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74" name="object 174"/>
          <p:cNvSpPr txBox="1"/>
          <p:nvPr/>
        </p:nvSpPr>
        <p:spPr>
          <a:xfrm>
            <a:off x="1159560" y="5489746"/>
            <a:ext cx="184508" cy="2600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40"/>
              </a:lnSpc>
              <a:spcBef>
                <a:spcPts val="52"/>
              </a:spcBef>
            </a:pPr>
            <a:r>
              <a:rPr sz="1500" spc="0" baseline="-2843" dirty="0" smtClean="0">
                <a:latin typeface="Cambria"/>
                <a:cs typeface="Cambria"/>
              </a:rPr>
              <a:t>37</a:t>
            </a:r>
            <a:endParaRPr sz="1000">
              <a:latin typeface="Cambria"/>
              <a:cs typeface="Cambria"/>
            </a:endParaRPr>
          </a:p>
          <a:p>
            <a:pPr marL="12700">
              <a:lnSpc>
                <a:spcPts val="940"/>
              </a:lnSpc>
            </a:pPr>
            <a:r>
              <a:rPr sz="1500" spc="0" baseline="2843" dirty="0" smtClean="0">
                <a:latin typeface="Cambria"/>
                <a:cs typeface="Cambria"/>
              </a:rPr>
              <a:t>84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73" name="object 173"/>
          <p:cNvSpPr txBox="1"/>
          <p:nvPr/>
        </p:nvSpPr>
        <p:spPr>
          <a:xfrm>
            <a:off x="1430275" y="5489745"/>
            <a:ext cx="369681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-4" dirty="0" smtClean="0">
                <a:latin typeface="Cambria"/>
                <a:cs typeface="Cambria"/>
              </a:rPr>
              <a:t>W</a:t>
            </a:r>
            <a:r>
              <a:rPr sz="1000" spc="0" dirty="0" smtClean="0">
                <a:latin typeface="Cambria"/>
                <a:cs typeface="Cambria"/>
              </a:rPr>
              <a:t>hit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72" name="object 172"/>
          <p:cNvSpPr txBox="1"/>
          <p:nvPr/>
        </p:nvSpPr>
        <p:spPr>
          <a:xfrm>
            <a:off x="3452877" y="5583624"/>
            <a:ext cx="679574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98   </a:t>
            </a:r>
            <a:r>
              <a:rPr sz="1000" spc="138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B</a:t>
            </a:r>
            <a:r>
              <a:rPr sz="1000" spc="-4" dirty="0" smtClean="0">
                <a:latin typeface="Cambria"/>
                <a:cs typeface="Cambria"/>
              </a:rPr>
              <a:t>r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w</a:t>
            </a:r>
            <a:r>
              <a:rPr sz="1000" spc="0" dirty="0" smtClean="0">
                <a:latin typeface="Cambria"/>
                <a:cs typeface="Cambria"/>
              </a:rPr>
              <a:t>n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71" name="object 171"/>
          <p:cNvSpPr txBox="1"/>
          <p:nvPr/>
        </p:nvSpPr>
        <p:spPr>
          <a:xfrm>
            <a:off x="4264914" y="5581243"/>
            <a:ext cx="577674" cy="1521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333</a:t>
            </a:r>
            <a:r>
              <a:rPr sz="1000" spc="4" dirty="0" smtClean="0">
                <a:latin typeface="Cambria"/>
                <a:cs typeface="Cambria"/>
              </a:rPr>
              <a:t>-</a:t>
            </a:r>
            <a:r>
              <a:rPr sz="1000" spc="0" dirty="0" smtClean="0">
                <a:latin typeface="Cambria"/>
                <a:cs typeface="Cambria"/>
              </a:rPr>
              <a:t>9999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70" name="object 170"/>
          <p:cNvSpPr txBox="1"/>
          <p:nvPr/>
        </p:nvSpPr>
        <p:spPr>
          <a:xfrm>
            <a:off x="8104125" y="5583624"/>
            <a:ext cx="18450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95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69" name="object 169"/>
          <p:cNvSpPr txBox="1"/>
          <p:nvPr/>
        </p:nvSpPr>
        <p:spPr>
          <a:xfrm>
            <a:off x="8374760" y="5583625"/>
            <a:ext cx="377408" cy="3698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just">
              <a:lnSpc>
                <a:spcPts val="1172"/>
              </a:lnSpc>
              <a:spcBef>
                <a:spcPts val="210"/>
              </a:spcBef>
            </a:pPr>
            <a:r>
              <a:rPr sz="1000" spc="0" dirty="0" smtClean="0">
                <a:latin typeface="Cambria"/>
                <a:cs typeface="Cambria"/>
              </a:rPr>
              <a:t>P</a:t>
            </a:r>
            <a:r>
              <a:rPr sz="1000" spc="-9" dirty="0" smtClean="0">
                <a:latin typeface="Cambria"/>
                <a:cs typeface="Cambria"/>
              </a:rPr>
              <a:t>e</a:t>
            </a:r>
            <a:r>
              <a:rPr sz="1000" spc="0" dirty="0" smtClean="0">
                <a:latin typeface="Cambria"/>
                <a:cs typeface="Cambria"/>
              </a:rPr>
              <a:t>t</a:t>
            </a:r>
            <a:r>
              <a:rPr sz="1000" spc="-4" dirty="0" smtClean="0">
                <a:latin typeface="Cambria"/>
                <a:cs typeface="Cambria"/>
              </a:rPr>
              <a:t>er</a:t>
            </a:r>
            <a:r>
              <a:rPr sz="1000" spc="0" dirty="0" smtClean="0">
                <a:latin typeface="Cambria"/>
                <a:cs typeface="Cambria"/>
              </a:rPr>
              <a:t>s </a:t>
            </a:r>
            <a:endParaRPr sz="1000">
              <a:latin typeface="Cambria"/>
              <a:cs typeface="Cambria"/>
            </a:endParaRPr>
          </a:p>
          <a:p>
            <a:pPr marL="12700" algn="just">
              <a:lnSpc>
                <a:spcPts val="1172"/>
              </a:lnSpc>
            </a:pPr>
            <a:r>
              <a:rPr sz="1000" spc="0" dirty="0" smtClean="0">
                <a:latin typeface="Cambria"/>
                <a:cs typeface="Cambria"/>
              </a:rPr>
              <a:t>Sm</a:t>
            </a:r>
            <a:r>
              <a:rPr sz="1000" spc="-4" dirty="0" smtClean="0">
                <a:latin typeface="Cambria"/>
                <a:cs typeface="Cambria"/>
              </a:rPr>
              <a:t>i</a:t>
            </a:r>
            <a:r>
              <a:rPr sz="1000" spc="0" dirty="0" smtClean="0">
                <a:latin typeface="Cambria"/>
                <a:cs typeface="Cambria"/>
              </a:rPr>
              <a:t>th </a:t>
            </a:r>
            <a:endParaRPr sz="1000">
              <a:latin typeface="Cambria"/>
              <a:cs typeface="Cambria"/>
            </a:endParaRPr>
          </a:p>
          <a:p>
            <a:pPr marL="12700" algn="just">
              <a:lnSpc>
                <a:spcPts val="1172"/>
              </a:lnSpc>
            </a:pPr>
            <a:r>
              <a:rPr sz="1000" spc="4" dirty="0" smtClean="0">
                <a:latin typeface="Cambria"/>
                <a:cs typeface="Cambria"/>
              </a:rPr>
              <a:t>Ma</a:t>
            </a:r>
            <a:r>
              <a:rPr sz="1000" spc="-4" dirty="0" smtClean="0">
                <a:latin typeface="Cambria"/>
                <a:cs typeface="Cambria"/>
              </a:rPr>
              <a:t>r</a:t>
            </a:r>
            <a:r>
              <a:rPr sz="1000" spc="4" dirty="0" smtClean="0">
                <a:latin typeface="Cambria"/>
                <a:cs typeface="Cambria"/>
              </a:rPr>
              <a:t>s</a:t>
            </a:r>
            <a:r>
              <a:rPr sz="1000" spc="0" dirty="0" smtClean="0">
                <a:latin typeface="Cambria"/>
                <a:cs typeface="Cambria"/>
              </a:rPr>
              <a:t>h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68" name="object 168"/>
          <p:cNvSpPr txBox="1"/>
          <p:nvPr/>
        </p:nvSpPr>
        <p:spPr>
          <a:xfrm>
            <a:off x="8915782" y="5581244"/>
            <a:ext cx="577674" cy="3701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45"/>
              </a:lnSpc>
              <a:spcBef>
                <a:spcPts val="52"/>
              </a:spcBef>
            </a:pPr>
            <a:r>
              <a:rPr sz="1500" spc="0" baseline="-2843" dirty="0" smtClean="0">
                <a:latin typeface="Cambria"/>
                <a:cs typeface="Cambria"/>
              </a:rPr>
              <a:t>555</a:t>
            </a:r>
            <a:r>
              <a:rPr sz="1500" spc="4" baseline="-2843" dirty="0" smtClean="0">
                <a:latin typeface="Cambria"/>
                <a:cs typeface="Cambria"/>
              </a:rPr>
              <a:t>-</a:t>
            </a:r>
            <a:r>
              <a:rPr sz="1500" spc="0" baseline="-2843" dirty="0" smtClean="0">
                <a:latin typeface="Cambria"/>
                <a:cs typeface="Cambria"/>
              </a:rPr>
              <a:t>7777</a:t>
            </a:r>
            <a:endParaRPr sz="1000">
              <a:latin typeface="Cambria"/>
              <a:cs typeface="Cambria"/>
            </a:endParaRPr>
          </a:p>
          <a:p>
            <a:pPr marL="12700" marR="47">
              <a:lnSpc>
                <a:spcPts val="855"/>
              </a:lnSpc>
            </a:pPr>
            <a:r>
              <a:rPr sz="1500" spc="0" baseline="-2843" dirty="0" smtClean="0">
                <a:latin typeface="Cambria"/>
                <a:cs typeface="Cambria"/>
              </a:rPr>
              <a:t>555</a:t>
            </a:r>
            <a:r>
              <a:rPr sz="1500" spc="4" baseline="-2843" dirty="0" smtClean="0">
                <a:latin typeface="Cambria"/>
                <a:cs typeface="Cambria"/>
              </a:rPr>
              <a:t>-</a:t>
            </a:r>
            <a:r>
              <a:rPr sz="1500" spc="0" baseline="-2843" dirty="0" smtClean="0">
                <a:latin typeface="Cambria"/>
                <a:cs typeface="Cambria"/>
              </a:rPr>
              <a:t>7777</a:t>
            </a:r>
            <a:endParaRPr sz="1000">
              <a:latin typeface="Cambria"/>
              <a:cs typeface="Cambria"/>
            </a:endParaRPr>
          </a:p>
          <a:p>
            <a:pPr marL="12700">
              <a:lnSpc>
                <a:spcPts val="944"/>
              </a:lnSpc>
              <a:spcBef>
                <a:spcPts val="4"/>
              </a:spcBef>
            </a:pPr>
            <a:r>
              <a:rPr sz="1500" spc="0" baseline="2843" dirty="0" smtClean="0">
                <a:latin typeface="Cambria"/>
                <a:cs typeface="Cambria"/>
              </a:rPr>
              <a:t>888</a:t>
            </a:r>
            <a:r>
              <a:rPr sz="1500" spc="4" baseline="2843" dirty="0" smtClean="0">
                <a:latin typeface="Cambria"/>
                <a:cs typeface="Cambria"/>
              </a:rPr>
              <a:t>-</a:t>
            </a:r>
            <a:r>
              <a:rPr sz="1500" spc="0" baseline="2843" dirty="0" smtClean="0">
                <a:latin typeface="Cambria"/>
                <a:cs typeface="Cambria"/>
              </a:rPr>
              <a:t>2222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67" name="object 167"/>
          <p:cNvSpPr txBox="1"/>
          <p:nvPr/>
        </p:nvSpPr>
        <p:spPr>
          <a:xfrm>
            <a:off x="2948433" y="5588501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555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6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66" name="object 166"/>
          <p:cNvSpPr txBox="1"/>
          <p:nvPr/>
        </p:nvSpPr>
        <p:spPr>
          <a:xfrm>
            <a:off x="1430275" y="5597949"/>
            <a:ext cx="276586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R</a:t>
            </a:r>
            <a:r>
              <a:rPr sz="1000" spc="0" dirty="0" smtClean="0">
                <a:latin typeface="Cambria"/>
                <a:cs typeface="Cambria"/>
              </a:rPr>
              <a:t>i</a:t>
            </a:r>
            <a:r>
              <a:rPr sz="1000" spc="4" dirty="0" smtClean="0">
                <a:latin typeface="Cambria"/>
                <a:cs typeface="Cambria"/>
              </a:rPr>
              <a:t>c</a:t>
            </a:r>
            <a:r>
              <a:rPr sz="1000" spc="0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65" name="object 165"/>
          <p:cNvSpPr txBox="1"/>
          <p:nvPr/>
        </p:nvSpPr>
        <p:spPr>
          <a:xfrm>
            <a:off x="6062854" y="5593377"/>
            <a:ext cx="386059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-4" dirty="0" smtClean="0">
                <a:latin typeface="Cambria"/>
                <a:cs typeface="Cambria"/>
              </a:rPr>
              <a:t>Y</a:t>
            </a:r>
            <a:r>
              <a:rPr sz="1000" spc="0" dirty="0" smtClean="0">
                <a:latin typeface="Cambria"/>
                <a:cs typeface="Cambria"/>
              </a:rPr>
              <a:t>oung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64" name="object 164"/>
          <p:cNvSpPr txBox="1"/>
          <p:nvPr/>
        </p:nvSpPr>
        <p:spPr>
          <a:xfrm>
            <a:off x="3452877" y="5690914"/>
            <a:ext cx="1390031" cy="1543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50"/>
              </a:lnSpc>
              <a:spcBef>
                <a:spcPts val="57"/>
              </a:spcBef>
            </a:pPr>
            <a:r>
              <a:rPr sz="1000" spc="0" dirty="0" smtClean="0">
                <a:latin typeface="Cambria"/>
                <a:cs typeface="Cambria"/>
              </a:rPr>
              <a:t>72   </a:t>
            </a:r>
            <a:r>
              <a:rPr sz="1000" spc="138" dirty="0" smtClean="0">
                <a:latin typeface="Cambria"/>
                <a:cs typeface="Cambria"/>
              </a:rPr>
              <a:t> 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0" dirty="0" smtClean="0">
                <a:latin typeface="Cambria"/>
                <a:cs typeface="Cambria"/>
              </a:rPr>
              <a:t>d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0" dirty="0" smtClean="0">
                <a:latin typeface="Cambria"/>
                <a:cs typeface="Cambria"/>
              </a:rPr>
              <a:t>ms    </a:t>
            </a:r>
            <a:r>
              <a:rPr sz="1000" spc="210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666</a:t>
            </a:r>
            <a:r>
              <a:rPr sz="1000" spc="4" dirty="0" smtClean="0">
                <a:latin typeface="Cambria"/>
                <a:cs typeface="Cambria"/>
              </a:rPr>
              <a:t>-</a:t>
            </a:r>
            <a:r>
              <a:rPr sz="1000" spc="0" dirty="0" smtClean="0">
                <a:latin typeface="Cambria"/>
                <a:cs typeface="Cambria"/>
              </a:rPr>
              <a:t>7777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63" name="object 163"/>
          <p:cNvSpPr txBox="1"/>
          <p:nvPr/>
        </p:nvSpPr>
        <p:spPr>
          <a:xfrm>
            <a:off x="8104125" y="5693352"/>
            <a:ext cx="18450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56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62" name="object 162"/>
          <p:cNvSpPr txBox="1"/>
          <p:nvPr/>
        </p:nvSpPr>
        <p:spPr>
          <a:xfrm>
            <a:off x="2948433" y="5697924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717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2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61" name="object 161"/>
          <p:cNvSpPr txBox="1"/>
          <p:nvPr/>
        </p:nvSpPr>
        <p:spPr>
          <a:xfrm>
            <a:off x="1971549" y="5705239"/>
            <a:ext cx="577627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111</a:t>
            </a:r>
            <a:r>
              <a:rPr sz="1000" spc="4" dirty="0" smtClean="0">
                <a:latin typeface="Cambria"/>
                <a:cs typeface="Cambria"/>
              </a:rPr>
              <a:t>-</a:t>
            </a:r>
            <a:r>
              <a:rPr sz="1000" spc="0" dirty="0" smtClean="0">
                <a:latin typeface="Cambria"/>
                <a:cs typeface="Cambria"/>
              </a:rPr>
              <a:t>2222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60" name="object 160"/>
          <p:cNvSpPr txBox="1"/>
          <p:nvPr/>
        </p:nvSpPr>
        <p:spPr>
          <a:xfrm>
            <a:off x="6100926" y="5702801"/>
            <a:ext cx="296813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ne</a:t>
            </a:r>
            <a:r>
              <a:rPr sz="1000" spc="0" dirty="0" smtClean="0">
                <a:latin typeface="Cambria"/>
                <a:cs typeface="Cambria"/>
              </a:rPr>
              <a:t>s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59" name="object 159"/>
          <p:cNvSpPr txBox="1"/>
          <p:nvPr/>
        </p:nvSpPr>
        <p:spPr>
          <a:xfrm>
            <a:off x="1159560" y="5707677"/>
            <a:ext cx="18450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3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58" name="object 158"/>
          <p:cNvSpPr txBox="1"/>
          <p:nvPr/>
        </p:nvSpPr>
        <p:spPr>
          <a:xfrm>
            <a:off x="1430275" y="5707677"/>
            <a:ext cx="415592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0" dirty="0" smtClean="0">
                <a:latin typeface="Cambria"/>
                <a:cs typeface="Cambria"/>
              </a:rPr>
              <a:t>d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0" dirty="0" smtClean="0">
                <a:latin typeface="Cambria"/>
                <a:cs typeface="Cambria"/>
              </a:rPr>
              <a:t>ms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57" name="object 157"/>
          <p:cNvSpPr txBox="1"/>
          <p:nvPr/>
        </p:nvSpPr>
        <p:spPr>
          <a:xfrm>
            <a:off x="599949" y="5712249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638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56" name="object 156"/>
          <p:cNvSpPr txBox="1"/>
          <p:nvPr/>
        </p:nvSpPr>
        <p:spPr>
          <a:xfrm>
            <a:off x="3452876" y="5799175"/>
            <a:ext cx="1390024" cy="1542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50"/>
              </a:lnSpc>
              <a:spcBef>
                <a:spcPts val="57"/>
              </a:spcBef>
            </a:pPr>
            <a:r>
              <a:rPr sz="1000" spc="0" dirty="0" smtClean="0">
                <a:latin typeface="Cambria"/>
                <a:cs typeface="Cambria"/>
              </a:rPr>
              <a:t>74   </a:t>
            </a:r>
            <a:r>
              <a:rPr sz="1000" spc="138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Sm</a:t>
            </a:r>
            <a:r>
              <a:rPr sz="1000" spc="-4" dirty="0" smtClean="0">
                <a:latin typeface="Cambria"/>
                <a:cs typeface="Cambria"/>
              </a:rPr>
              <a:t>i</a:t>
            </a:r>
            <a:r>
              <a:rPr sz="1000" spc="0" dirty="0" smtClean="0">
                <a:latin typeface="Cambria"/>
                <a:cs typeface="Cambria"/>
              </a:rPr>
              <a:t>th      </a:t>
            </a:r>
            <a:r>
              <a:rPr sz="1000" spc="214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555</a:t>
            </a:r>
            <a:r>
              <a:rPr sz="1000" spc="4" dirty="0" smtClean="0">
                <a:latin typeface="Cambria"/>
                <a:cs typeface="Cambria"/>
              </a:rPr>
              <a:t>-</a:t>
            </a:r>
            <a:r>
              <a:rPr sz="1000" spc="0" dirty="0" smtClean="0">
                <a:latin typeface="Cambria"/>
                <a:cs typeface="Cambria"/>
              </a:rPr>
              <a:t>6666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55" name="object 155"/>
          <p:cNvSpPr txBox="1"/>
          <p:nvPr/>
        </p:nvSpPr>
        <p:spPr>
          <a:xfrm>
            <a:off x="7544561" y="5801556"/>
            <a:ext cx="744802" cy="1567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70"/>
              </a:lnSpc>
              <a:spcBef>
                <a:spcPts val="58"/>
              </a:spcBef>
            </a:pPr>
            <a:r>
              <a:rPr sz="1000" spc="0" dirty="0" smtClean="0">
                <a:latin typeface="Cambria"/>
                <a:cs typeface="Cambria"/>
              </a:rPr>
              <a:t>915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9       </a:t>
            </a:r>
            <a:r>
              <a:rPr sz="1000" spc="24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5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54" name="object 154"/>
          <p:cNvSpPr txBox="1"/>
          <p:nvPr/>
        </p:nvSpPr>
        <p:spPr>
          <a:xfrm>
            <a:off x="2948433" y="5806433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884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53" name="object 153"/>
          <p:cNvSpPr txBox="1"/>
          <p:nvPr/>
        </p:nvSpPr>
        <p:spPr>
          <a:xfrm>
            <a:off x="5232655" y="5811309"/>
            <a:ext cx="744757" cy="15646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65"/>
              </a:lnSpc>
              <a:spcBef>
                <a:spcPts val="58"/>
              </a:spcBef>
            </a:pPr>
            <a:r>
              <a:rPr sz="1000" spc="0" dirty="0" smtClean="0">
                <a:latin typeface="Cambria"/>
                <a:cs typeface="Cambria"/>
              </a:rPr>
              <a:t>822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       </a:t>
            </a:r>
            <a:r>
              <a:rPr sz="1000" spc="24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62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52" name="object 152"/>
          <p:cNvSpPr txBox="1"/>
          <p:nvPr/>
        </p:nvSpPr>
        <p:spPr>
          <a:xfrm>
            <a:off x="6062853" y="5811309"/>
            <a:ext cx="34180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B</a:t>
            </a:r>
            <a:r>
              <a:rPr sz="1000" spc="4" dirty="0" smtClean="0">
                <a:latin typeface="Cambria"/>
                <a:cs typeface="Cambria"/>
              </a:rPr>
              <a:t>lac</a:t>
            </a:r>
            <a:r>
              <a:rPr sz="1000" spc="0" dirty="0" smtClean="0">
                <a:latin typeface="Cambria"/>
                <a:cs typeface="Cambria"/>
              </a:rPr>
              <a:t>k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51" name="object 151"/>
          <p:cNvSpPr txBox="1"/>
          <p:nvPr/>
        </p:nvSpPr>
        <p:spPr>
          <a:xfrm>
            <a:off x="1159560" y="5815881"/>
            <a:ext cx="18450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40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50" name="object 150"/>
          <p:cNvSpPr txBox="1"/>
          <p:nvPr/>
        </p:nvSpPr>
        <p:spPr>
          <a:xfrm>
            <a:off x="1430275" y="5815881"/>
            <a:ext cx="359609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Sm</a:t>
            </a:r>
            <a:r>
              <a:rPr sz="1000" spc="-4" dirty="0" smtClean="0">
                <a:latin typeface="Cambria"/>
                <a:cs typeface="Cambria"/>
              </a:rPr>
              <a:t>i</a:t>
            </a:r>
            <a:r>
              <a:rPr sz="1000" spc="0" dirty="0" smtClean="0">
                <a:latin typeface="Cambria"/>
                <a:cs typeface="Cambria"/>
              </a:rPr>
              <a:t>th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49" name="object 149"/>
          <p:cNvSpPr txBox="1"/>
          <p:nvPr/>
        </p:nvSpPr>
        <p:spPr>
          <a:xfrm>
            <a:off x="1971549" y="5813443"/>
            <a:ext cx="577627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222</a:t>
            </a:r>
            <a:r>
              <a:rPr sz="1000" spc="4" dirty="0" smtClean="0">
                <a:latin typeface="Cambria"/>
                <a:cs typeface="Cambria"/>
              </a:rPr>
              <a:t>-</a:t>
            </a:r>
            <a:r>
              <a:rPr sz="1000" spc="0" dirty="0" smtClean="0">
                <a:latin typeface="Cambria"/>
                <a:cs typeface="Cambria"/>
              </a:rPr>
              <a:t>3333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48" name="object 148"/>
          <p:cNvSpPr txBox="1"/>
          <p:nvPr/>
        </p:nvSpPr>
        <p:spPr>
          <a:xfrm>
            <a:off x="599949" y="5820758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640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46" name="object 146"/>
          <p:cNvSpPr txBox="1"/>
          <p:nvPr/>
        </p:nvSpPr>
        <p:spPr>
          <a:xfrm>
            <a:off x="7389622" y="6666386"/>
            <a:ext cx="2309483" cy="1159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25"/>
              </a:spcBef>
            </a:pP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Co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p</a:t>
            </a:r>
            <a:r>
              <a:rPr sz="700" spc="-25" dirty="0" smtClean="0">
                <a:solidFill>
                  <a:srgbClr val="998B85"/>
                </a:solidFill>
                <a:latin typeface="Arial"/>
                <a:cs typeface="Arial"/>
              </a:rPr>
              <a:t>y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r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ig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h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t</a:t>
            </a:r>
            <a:r>
              <a:rPr sz="700" spc="14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©</a:t>
            </a:r>
            <a:r>
              <a:rPr sz="700" spc="-5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C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apge</a:t>
            </a:r>
            <a:r>
              <a:rPr sz="700" spc="9" dirty="0" smtClean="0">
                <a:solidFill>
                  <a:srgbClr val="998B85"/>
                </a:solidFill>
                <a:latin typeface="Arial"/>
                <a:cs typeface="Arial"/>
              </a:rPr>
              <a:t>m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ini</a:t>
            </a:r>
            <a:r>
              <a:rPr sz="700" spc="-23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2013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.</a:t>
            </a:r>
            <a:r>
              <a:rPr sz="700" spc="2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4" dirty="0" smtClean="0">
                <a:solidFill>
                  <a:srgbClr val="998B85"/>
                </a:solidFill>
                <a:latin typeface="Arial"/>
                <a:cs typeface="Arial"/>
              </a:rPr>
              <a:t>A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ll</a:t>
            </a:r>
            <a:r>
              <a:rPr sz="700" spc="-17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Ri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gh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ts Res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er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v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e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d       </a:t>
            </a:r>
            <a:r>
              <a:rPr sz="700" spc="59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19</a:t>
            </a:r>
            <a:endParaRPr sz="700">
              <a:latin typeface="Arial"/>
              <a:cs typeface="Arial"/>
            </a:endParaRPr>
          </a:p>
        </p:txBody>
      </p:sp>
      <p:sp>
        <p:nvSpPr>
          <p:cNvPr id="145" name="object 145"/>
          <p:cNvSpPr txBox="1"/>
          <p:nvPr/>
        </p:nvSpPr>
        <p:spPr>
          <a:xfrm>
            <a:off x="7557897" y="5035169"/>
            <a:ext cx="2107310" cy="1856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07059">
              <a:lnSpc>
                <a:spcPts val="919"/>
              </a:lnSpc>
              <a:spcBef>
                <a:spcPts val="46"/>
              </a:spcBef>
            </a:pPr>
            <a:r>
              <a:rPr sz="1500" spc="0" baseline="2843" dirty="0" smtClean="0">
                <a:latin typeface="Cambria"/>
                <a:cs typeface="Cambria"/>
              </a:rPr>
              <a:t>B</a:t>
            </a:r>
            <a:r>
              <a:rPr sz="1500" spc="4" baseline="2843" dirty="0" smtClean="0">
                <a:latin typeface="Cambria"/>
                <a:cs typeface="Cambria"/>
              </a:rPr>
              <a:t>as</a:t>
            </a:r>
            <a:r>
              <a:rPr sz="1500" spc="0" baseline="2843" dirty="0" smtClean="0">
                <a:latin typeface="Cambria"/>
                <a:cs typeface="Cambria"/>
              </a:rPr>
              <a:t>e</a:t>
            </a:r>
            <a:r>
              <a:rPr sz="1500" spc="-40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Ta</a:t>
            </a:r>
            <a:r>
              <a:rPr sz="1500" spc="-4" baseline="2843" dirty="0" smtClean="0">
                <a:latin typeface="Cambria"/>
                <a:cs typeface="Cambria"/>
              </a:rPr>
              <a:t>b</a:t>
            </a:r>
            <a:r>
              <a:rPr sz="1500" spc="4" baseline="2843" dirty="0" smtClean="0">
                <a:latin typeface="Cambria"/>
                <a:cs typeface="Cambria"/>
              </a:rPr>
              <a:t>l</a:t>
            </a:r>
            <a:r>
              <a:rPr sz="1500" spc="0" baseline="2843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44" name="object 144"/>
          <p:cNvSpPr txBox="1"/>
          <p:nvPr/>
        </p:nvSpPr>
        <p:spPr>
          <a:xfrm>
            <a:off x="7557898" y="5220844"/>
            <a:ext cx="536576" cy="1036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15"/>
              </a:spcBef>
            </a:pPr>
            <a:endParaRPr sz="800"/>
          </a:p>
        </p:txBody>
      </p:sp>
      <p:sp>
        <p:nvSpPr>
          <p:cNvPr id="143" name="object 143"/>
          <p:cNvSpPr txBox="1"/>
          <p:nvPr/>
        </p:nvSpPr>
        <p:spPr>
          <a:xfrm>
            <a:off x="8094473" y="5220844"/>
            <a:ext cx="311911" cy="1036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15"/>
              </a:spcBef>
            </a:pPr>
            <a:endParaRPr sz="800"/>
          </a:p>
        </p:txBody>
      </p:sp>
      <p:sp>
        <p:nvSpPr>
          <p:cNvPr id="142" name="object 142"/>
          <p:cNvSpPr txBox="1"/>
          <p:nvPr/>
        </p:nvSpPr>
        <p:spPr>
          <a:xfrm>
            <a:off x="8406386" y="5220844"/>
            <a:ext cx="557149" cy="1036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15"/>
              </a:spcBef>
            </a:pPr>
            <a:endParaRPr sz="800"/>
          </a:p>
        </p:txBody>
      </p:sp>
      <p:sp>
        <p:nvSpPr>
          <p:cNvPr id="141" name="object 141"/>
          <p:cNvSpPr txBox="1"/>
          <p:nvPr/>
        </p:nvSpPr>
        <p:spPr>
          <a:xfrm>
            <a:off x="8963533" y="5220844"/>
            <a:ext cx="678816" cy="1036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15"/>
              </a:spcBef>
            </a:pPr>
            <a:endParaRPr sz="800"/>
          </a:p>
        </p:txBody>
      </p:sp>
      <p:sp>
        <p:nvSpPr>
          <p:cNvPr id="140" name="object 140"/>
          <p:cNvSpPr txBox="1"/>
          <p:nvPr/>
        </p:nvSpPr>
        <p:spPr>
          <a:xfrm>
            <a:off x="7557898" y="5324475"/>
            <a:ext cx="536576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39" name="object 139"/>
          <p:cNvSpPr txBox="1"/>
          <p:nvPr/>
        </p:nvSpPr>
        <p:spPr>
          <a:xfrm>
            <a:off x="8094473" y="5324475"/>
            <a:ext cx="311911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38" name="object 138"/>
          <p:cNvSpPr txBox="1"/>
          <p:nvPr/>
        </p:nvSpPr>
        <p:spPr>
          <a:xfrm>
            <a:off x="8406386" y="5324475"/>
            <a:ext cx="557149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37" name="object 137"/>
          <p:cNvSpPr txBox="1"/>
          <p:nvPr/>
        </p:nvSpPr>
        <p:spPr>
          <a:xfrm>
            <a:off x="8963533" y="5324475"/>
            <a:ext cx="678816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36" name="object 136"/>
          <p:cNvSpPr txBox="1"/>
          <p:nvPr/>
        </p:nvSpPr>
        <p:spPr>
          <a:xfrm>
            <a:off x="7557898" y="5442332"/>
            <a:ext cx="536576" cy="1083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135" name="object 135"/>
          <p:cNvSpPr txBox="1"/>
          <p:nvPr/>
        </p:nvSpPr>
        <p:spPr>
          <a:xfrm>
            <a:off x="8094473" y="5442332"/>
            <a:ext cx="311911" cy="1083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134" name="object 134"/>
          <p:cNvSpPr txBox="1"/>
          <p:nvPr/>
        </p:nvSpPr>
        <p:spPr>
          <a:xfrm>
            <a:off x="8406386" y="5442332"/>
            <a:ext cx="557149" cy="1083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133" name="object 133"/>
          <p:cNvSpPr txBox="1"/>
          <p:nvPr/>
        </p:nvSpPr>
        <p:spPr>
          <a:xfrm>
            <a:off x="8963533" y="5442332"/>
            <a:ext cx="678816" cy="1083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132" name="object 132"/>
          <p:cNvSpPr txBox="1"/>
          <p:nvPr/>
        </p:nvSpPr>
        <p:spPr>
          <a:xfrm>
            <a:off x="7557898" y="5550663"/>
            <a:ext cx="536576" cy="329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90"/>
              </a:lnSpc>
              <a:spcBef>
                <a:spcPts val="309"/>
              </a:spcBef>
            </a:pPr>
            <a:r>
              <a:rPr sz="1500" spc="0" baseline="-5686" dirty="0" smtClean="0">
                <a:latin typeface="Cambria"/>
                <a:cs typeface="Cambria"/>
              </a:rPr>
              <a:t>778,</a:t>
            </a:r>
            <a:r>
              <a:rPr sz="1500" spc="-33" baseline="-5686" dirty="0" smtClean="0">
                <a:latin typeface="Cambria"/>
                <a:cs typeface="Cambria"/>
              </a:rPr>
              <a:t> </a:t>
            </a:r>
            <a:r>
              <a:rPr sz="1500" spc="0" baseline="-5686" dirty="0" smtClean="0">
                <a:latin typeface="Cambria"/>
                <a:cs typeface="Cambria"/>
              </a:rPr>
              <a:t>3</a:t>
            </a:r>
            <a:endParaRPr sz="1000">
              <a:latin typeface="Cambria"/>
              <a:cs typeface="Cambria"/>
            </a:endParaRPr>
          </a:p>
          <a:p>
            <a:pPr>
              <a:lnSpc>
                <a:spcPts val="944"/>
              </a:lnSpc>
            </a:pPr>
            <a:r>
              <a:rPr sz="1500" spc="0" baseline="2843" dirty="0" smtClean="0">
                <a:latin typeface="Cambria"/>
                <a:cs typeface="Cambria"/>
              </a:rPr>
              <a:t>778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7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31" name="object 131"/>
          <p:cNvSpPr txBox="1"/>
          <p:nvPr/>
        </p:nvSpPr>
        <p:spPr>
          <a:xfrm>
            <a:off x="8094473" y="5550663"/>
            <a:ext cx="311911" cy="329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2351">
              <a:lnSpc>
                <a:spcPts val="1090"/>
              </a:lnSpc>
              <a:spcBef>
                <a:spcPts val="269"/>
              </a:spcBef>
            </a:pPr>
            <a:r>
              <a:rPr sz="1500" spc="0" baseline="-5686" dirty="0" smtClean="0">
                <a:latin typeface="Cambria"/>
                <a:cs typeface="Cambria"/>
              </a:rPr>
              <a:t>95</a:t>
            </a:r>
            <a:endParaRPr sz="1000">
              <a:latin typeface="Cambria"/>
              <a:cs typeface="Cambria"/>
            </a:endParaRPr>
          </a:p>
          <a:p>
            <a:pPr marL="22351">
              <a:lnSpc>
                <a:spcPts val="944"/>
              </a:lnSpc>
            </a:pPr>
            <a:r>
              <a:rPr sz="1500" spc="0" baseline="2843" dirty="0" smtClean="0">
                <a:latin typeface="Cambria"/>
                <a:cs typeface="Cambria"/>
              </a:rPr>
              <a:t>56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30" name="object 130"/>
          <p:cNvSpPr txBox="1"/>
          <p:nvPr/>
        </p:nvSpPr>
        <p:spPr>
          <a:xfrm>
            <a:off x="8406386" y="5550663"/>
            <a:ext cx="557149" cy="329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29" name="object 129"/>
          <p:cNvSpPr txBox="1"/>
          <p:nvPr/>
        </p:nvSpPr>
        <p:spPr>
          <a:xfrm>
            <a:off x="8963533" y="5550663"/>
            <a:ext cx="678816" cy="329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28" name="object 128"/>
          <p:cNvSpPr txBox="1"/>
          <p:nvPr/>
        </p:nvSpPr>
        <p:spPr>
          <a:xfrm>
            <a:off x="7557899" y="5880493"/>
            <a:ext cx="2084450" cy="1095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12"/>
              </a:spcBef>
            </a:pPr>
            <a:endParaRPr sz="850"/>
          </a:p>
        </p:txBody>
      </p:sp>
      <p:sp>
        <p:nvSpPr>
          <p:cNvPr id="127" name="object 127"/>
          <p:cNvSpPr txBox="1"/>
          <p:nvPr/>
        </p:nvSpPr>
        <p:spPr>
          <a:xfrm>
            <a:off x="5225924" y="5049393"/>
            <a:ext cx="32004" cy="1762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26" name="object 126"/>
          <p:cNvSpPr txBox="1"/>
          <p:nvPr/>
        </p:nvSpPr>
        <p:spPr>
          <a:xfrm>
            <a:off x="5257928" y="5049393"/>
            <a:ext cx="2086737" cy="1762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08838">
              <a:lnSpc>
                <a:spcPts val="919"/>
              </a:lnSpc>
              <a:spcBef>
                <a:spcPts val="46"/>
              </a:spcBef>
            </a:pPr>
            <a:r>
              <a:rPr sz="1500" spc="0" baseline="2843" dirty="0" smtClean="0">
                <a:latin typeface="Cambria"/>
                <a:cs typeface="Cambria"/>
              </a:rPr>
              <a:t>B</a:t>
            </a:r>
            <a:r>
              <a:rPr sz="1500" spc="4" baseline="2843" dirty="0" smtClean="0">
                <a:latin typeface="Cambria"/>
                <a:cs typeface="Cambria"/>
              </a:rPr>
              <a:t>as</a:t>
            </a:r>
            <a:r>
              <a:rPr sz="1500" spc="0" baseline="2843" dirty="0" smtClean="0">
                <a:latin typeface="Cambria"/>
                <a:cs typeface="Cambria"/>
              </a:rPr>
              <a:t>e</a:t>
            </a:r>
            <a:r>
              <a:rPr sz="1500" spc="-40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Ta</a:t>
            </a:r>
            <a:r>
              <a:rPr sz="1500" spc="-4" baseline="2843" dirty="0" smtClean="0">
                <a:latin typeface="Cambria"/>
                <a:cs typeface="Cambria"/>
              </a:rPr>
              <a:t>b</a:t>
            </a:r>
            <a:r>
              <a:rPr sz="1500" spc="4" baseline="2843" dirty="0" smtClean="0">
                <a:latin typeface="Cambria"/>
                <a:cs typeface="Cambria"/>
              </a:rPr>
              <a:t>l</a:t>
            </a:r>
            <a:r>
              <a:rPr sz="1500" spc="0" baseline="2843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25" name="object 125"/>
          <p:cNvSpPr txBox="1"/>
          <p:nvPr/>
        </p:nvSpPr>
        <p:spPr>
          <a:xfrm>
            <a:off x="5225924" y="5225669"/>
            <a:ext cx="32004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24" name="object 124"/>
          <p:cNvSpPr txBox="1"/>
          <p:nvPr/>
        </p:nvSpPr>
        <p:spPr>
          <a:xfrm>
            <a:off x="5257927" y="5225669"/>
            <a:ext cx="525146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23" name="object 123"/>
          <p:cNvSpPr txBox="1"/>
          <p:nvPr/>
        </p:nvSpPr>
        <p:spPr>
          <a:xfrm>
            <a:off x="5783073" y="5225669"/>
            <a:ext cx="311911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22" name="object 122"/>
          <p:cNvSpPr txBox="1"/>
          <p:nvPr/>
        </p:nvSpPr>
        <p:spPr>
          <a:xfrm>
            <a:off x="6094984" y="5225669"/>
            <a:ext cx="557148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21" name="object 121"/>
          <p:cNvSpPr txBox="1"/>
          <p:nvPr/>
        </p:nvSpPr>
        <p:spPr>
          <a:xfrm>
            <a:off x="6652134" y="5225669"/>
            <a:ext cx="692531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20" name="object 120"/>
          <p:cNvSpPr txBox="1"/>
          <p:nvPr/>
        </p:nvSpPr>
        <p:spPr>
          <a:xfrm>
            <a:off x="5225924" y="5343526"/>
            <a:ext cx="32004" cy="1083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119" name="object 119"/>
          <p:cNvSpPr txBox="1"/>
          <p:nvPr/>
        </p:nvSpPr>
        <p:spPr>
          <a:xfrm>
            <a:off x="5257927" y="5343526"/>
            <a:ext cx="525146" cy="1083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118" name="object 118"/>
          <p:cNvSpPr txBox="1"/>
          <p:nvPr/>
        </p:nvSpPr>
        <p:spPr>
          <a:xfrm>
            <a:off x="5783073" y="5343526"/>
            <a:ext cx="311911" cy="1083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117" name="object 117"/>
          <p:cNvSpPr txBox="1"/>
          <p:nvPr/>
        </p:nvSpPr>
        <p:spPr>
          <a:xfrm>
            <a:off x="6094984" y="5343526"/>
            <a:ext cx="557148" cy="1083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116" name="object 116"/>
          <p:cNvSpPr txBox="1"/>
          <p:nvPr/>
        </p:nvSpPr>
        <p:spPr>
          <a:xfrm>
            <a:off x="6652134" y="5343526"/>
            <a:ext cx="692531" cy="1083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115" name="object 115"/>
          <p:cNvSpPr txBox="1"/>
          <p:nvPr/>
        </p:nvSpPr>
        <p:spPr>
          <a:xfrm>
            <a:off x="5225924" y="5451856"/>
            <a:ext cx="32004" cy="4393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4" name="object 114"/>
          <p:cNvSpPr txBox="1"/>
          <p:nvPr/>
        </p:nvSpPr>
        <p:spPr>
          <a:xfrm>
            <a:off x="5257927" y="5451856"/>
            <a:ext cx="525146" cy="4393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85"/>
              </a:lnSpc>
              <a:spcBef>
                <a:spcPts val="309"/>
              </a:spcBef>
            </a:pPr>
            <a:r>
              <a:rPr sz="1500" spc="0" baseline="-5686" dirty="0" smtClean="0">
                <a:latin typeface="Cambria"/>
                <a:cs typeface="Cambria"/>
              </a:rPr>
              <a:t>147,</a:t>
            </a:r>
            <a:r>
              <a:rPr sz="1500" spc="-33" baseline="-5686" dirty="0" smtClean="0">
                <a:latin typeface="Cambria"/>
                <a:cs typeface="Cambria"/>
              </a:rPr>
              <a:t> </a:t>
            </a:r>
            <a:r>
              <a:rPr sz="1500" spc="0" baseline="-5686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>
              <a:lnSpc>
                <a:spcPts val="860"/>
              </a:lnSpc>
            </a:pPr>
            <a:r>
              <a:rPr sz="1500" spc="0" baseline="-2843" dirty="0" smtClean="0">
                <a:latin typeface="Cambria"/>
                <a:cs typeface="Cambria"/>
              </a:rPr>
              <a:t>147,</a:t>
            </a:r>
            <a:r>
              <a:rPr sz="1500" spc="-33" baseline="-2843" dirty="0" smtClean="0">
                <a:latin typeface="Cambria"/>
                <a:cs typeface="Cambria"/>
              </a:rPr>
              <a:t> </a:t>
            </a:r>
            <a:r>
              <a:rPr sz="1500" spc="0" baseline="-2843" dirty="0" smtClean="0">
                <a:latin typeface="Cambria"/>
                <a:cs typeface="Cambria"/>
              </a:rPr>
              <a:t>2</a:t>
            </a:r>
            <a:endParaRPr sz="1000">
              <a:latin typeface="Cambria"/>
              <a:cs typeface="Cambria"/>
            </a:endParaRPr>
          </a:p>
          <a:p>
            <a:pPr>
              <a:lnSpc>
                <a:spcPts val="944"/>
              </a:lnSpc>
              <a:spcBef>
                <a:spcPts val="4"/>
              </a:spcBef>
            </a:pPr>
            <a:r>
              <a:rPr sz="1500" spc="0" baseline="2843" dirty="0" smtClean="0">
                <a:latin typeface="Cambria"/>
                <a:cs typeface="Cambria"/>
              </a:rPr>
              <a:t>388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13" name="object 113"/>
          <p:cNvSpPr txBox="1"/>
          <p:nvPr/>
        </p:nvSpPr>
        <p:spPr>
          <a:xfrm>
            <a:off x="5783071" y="5451856"/>
            <a:ext cx="362943" cy="4393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3" marR="51030">
              <a:lnSpc>
                <a:spcPts val="1085"/>
              </a:lnSpc>
              <a:spcBef>
                <a:spcPts val="269"/>
              </a:spcBef>
            </a:pPr>
            <a:r>
              <a:rPr sz="1500" spc="0" baseline="-5686" dirty="0" smtClean="0">
                <a:latin typeface="Cambria"/>
                <a:cs typeface="Cambria"/>
              </a:rPr>
              <a:t>49</a:t>
            </a:r>
            <a:endParaRPr sz="1000">
              <a:latin typeface="Cambria"/>
              <a:cs typeface="Cambria"/>
            </a:endParaRPr>
          </a:p>
          <a:p>
            <a:pPr marL="21843" marR="51030">
              <a:lnSpc>
                <a:spcPts val="860"/>
              </a:lnSpc>
            </a:pPr>
            <a:r>
              <a:rPr sz="1500" spc="0" baseline="-2843" dirty="0" smtClean="0">
                <a:latin typeface="Cambria"/>
                <a:cs typeface="Cambria"/>
              </a:rPr>
              <a:t>12</a:t>
            </a:r>
            <a:endParaRPr sz="1000">
              <a:latin typeface="Cambria"/>
              <a:cs typeface="Cambria"/>
            </a:endParaRPr>
          </a:p>
          <a:p>
            <a:pPr marL="21843">
              <a:lnSpc>
                <a:spcPts val="944"/>
              </a:lnSpc>
              <a:spcBef>
                <a:spcPts val="4"/>
              </a:spcBef>
            </a:pPr>
            <a:r>
              <a:rPr sz="1500" spc="0" baseline="2843" dirty="0" smtClean="0">
                <a:latin typeface="Cambria"/>
                <a:cs typeface="Cambria"/>
              </a:rPr>
              <a:t>27   </a:t>
            </a:r>
            <a:r>
              <a:rPr sz="1500" spc="138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J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12" name="object 112"/>
          <p:cNvSpPr txBox="1"/>
          <p:nvPr/>
        </p:nvSpPr>
        <p:spPr>
          <a:xfrm>
            <a:off x="6094984" y="5451856"/>
            <a:ext cx="557148" cy="4393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00"/>
              </a:lnSpc>
              <a:spcBef>
                <a:spcPts val="33"/>
              </a:spcBef>
            </a:pPr>
            <a:endParaRPr sz="900"/>
          </a:p>
          <a:p>
            <a:pPr marL="18643">
              <a:lnSpc>
                <a:spcPct val="97696"/>
              </a:lnSpc>
              <a:spcBef>
                <a:spcPts val="1000"/>
              </a:spcBef>
            </a:pP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ne</a:t>
            </a:r>
            <a:r>
              <a:rPr sz="1000" spc="0" dirty="0" smtClean="0">
                <a:latin typeface="Cambria"/>
                <a:cs typeface="Cambria"/>
              </a:rPr>
              <a:t>s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11" name="object 111"/>
          <p:cNvSpPr txBox="1"/>
          <p:nvPr/>
        </p:nvSpPr>
        <p:spPr>
          <a:xfrm>
            <a:off x="6652134" y="5451856"/>
            <a:ext cx="692531" cy="4393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0" name="object 110"/>
          <p:cNvSpPr txBox="1"/>
          <p:nvPr/>
        </p:nvSpPr>
        <p:spPr>
          <a:xfrm>
            <a:off x="2962656" y="5063744"/>
            <a:ext cx="2084323" cy="1666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06297">
              <a:lnSpc>
                <a:spcPts val="919"/>
              </a:lnSpc>
              <a:spcBef>
                <a:spcPts val="46"/>
              </a:spcBef>
            </a:pPr>
            <a:r>
              <a:rPr sz="1500" spc="0" baseline="2843" dirty="0" smtClean="0">
                <a:latin typeface="Cambria"/>
                <a:cs typeface="Cambria"/>
              </a:rPr>
              <a:t>B</a:t>
            </a:r>
            <a:r>
              <a:rPr sz="1500" spc="4" baseline="2843" dirty="0" smtClean="0">
                <a:latin typeface="Cambria"/>
                <a:cs typeface="Cambria"/>
              </a:rPr>
              <a:t>as</a:t>
            </a:r>
            <a:r>
              <a:rPr sz="1500" spc="0" baseline="2843" dirty="0" smtClean="0">
                <a:latin typeface="Cambria"/>
                <a:cs typeface="Cambria"/>
              </a:rPr>
              <a:t>e</a:t>
            </a:r>
            <a:r>
              <a:rPr sz="1500" spc="-40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Ta</a:t>
            </a:r>
            <a:r>
              <a:rPr sz="1500" spc="-4" baseline="2843" dirty="0" smtClean="0">
                <a:latin typeface="Cambria"/>
                <a:cs typeface="Cambria"/>
              </a:rPr>
              <a:t>b</a:t>
            </a:r>
            <a:r>
              <a:rPr sz="1500" spc="4" baseline="2843" dirty="0" smtClean="0">
                <a:latin typeface="Cambria"/>
                <a:cs typeface="Cambria"/>
              </a:rPr>
              <a:t>l</a:t>
            </a:r>
            <a:r>
              <a:rPr sz="1500" spc="0" baseline="2843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09" name="object 109"/>
          <p:cNvSpPr txBox="1"/>
          <p:nvPr/>
        </p:nvSpPr>
        <p:spPr>
          <a:xfrm>
            <a:off x="2962656" y="5230368"/>
            <a:ext cx="486155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08" name="object 108"/>
          <p:cNvSpPr txBox="1"/>
          <p:nvPr/>
        </p:nvSpPr>
        <p:spPr>
          <a:xfrm>
            <a:off x="3448812" y="5230368"/>
            <a:ext cx="330200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07" name="object 107"/>
          <p:cNvSpPr txBox="1"/>
          <p:nvPr/>
        </p:nvSpPr>
        <p:spPr>
          <a:xfrm>
            <a:off x="3779014" y="5230368"/>
            <a:ext cx="538860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06" name="object 106"/>
          <p:cNvSpPr txBox="1"/>
          <p:nvPr/>
        </p:nvSpPr>
        <p:spPr>
          <a:xfrm>
            <a:off x="4317875" y="5230368"/>
            <a:ext cx="729105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05" name="object 105"/>
          <p:cNvSpPr txBox="1"/>
          <p:nvPr/>
        </p:nvSpPr>
        <p:spPr>
          <a:xfrm>
            <a:off x="2962656" y="5348225"/>
            <a:ext cx="486155" cy="1047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25"/>
              </a:spcBef>
            </a:pPr>
            <a:endParaRPr sz="800"/>
          </a:p>
        </p:txBody>
      </p:sp>
      <p:sp>
        <p:nvSpPr>
          <p:cNvPr id="104" name="object 104"/>
          <p:cNvSpPr txBox="1"/>
          <p:nvPr/>
        </p:nvSpPr>
        <p:spPr>
          <a:xfrm>
            <a:off x="3448812" y="5348225"/>
            <a:ext cx="330200" cy="1047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25"/>
              </a:spcBef>
            </a:pPr>
            <a:endParaRPr sz="800"/>
          </a:p>
        </p:txBody>
      </p:sp>
      <p:sp>
        <p:nvSpPr>
          <p:cNvPr id="103" name="object 103"/>
          <p:cNvSpPr txBox="1"/>
          <p:nvPr/>
        </p:nvSpPr>
        <p:spPr>
          <a:xfrm>
            <a:off x="3779014" y="5348225"/>
            <a:ext cx="538860" cy="1047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25"/>
              </a:spcBef>
            </a:pPr>
            <a:endParaRPr sz="800"/>
          </a:p>
        </p:txBody>
      </p:sp>
      <p:sp>
        <p:nvSpPr>
          <p:cNvPr id="102" name="object 102"/>
          <p:cNvSpPr txBox="1"/>
          <p:nvPr/>
        </p:nvSpPr>
        <p:spPr>
          <a:xfrm>
            <a:off x="4317875" y="5348225"/>
            <a:ext cx="729105" cy="1047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25"/>
              </a:spcBef>
            </a:pPr>
            <a:endParaRPr sz="800"/>
          </a:p>
        </p:txBody>
      </p:sp>
      <p:sp>
        <p:nvSpPr>
          <p:cNvPr id="101" name="object 101"/>
          <p:cNvSpPr txBox="1"/>
          <p:nvPr/>
        </p:nvSpPr>
        <p:spPr>
          <a:xfrm>
            <a:off x="2962656" y="5453000"/>
            <a:ext cx="486155" cy="965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9"/>
              </a:spcBef>
            </a:pPr>
            <a:endParaRPr sz="750"/>
          </a:p>
        </p:txBody>
      </p:sp>
      <p:sp>
        <p:nvSpPr>
          <p:cNvPr id="100" name="object 100"/>
          <p:cNvSpPr txBox="1"/>
          <p:nvPr/>
        </p:nvSpPr>
        <p:spPr>
          <a:xfrm>
            <a:off x="3448812" y="5453000"/>
            <a:ext cx="330200" cy="965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9"/>
              </a:spcBef>
            </a:pPr>
            <a:endParaRPr sz="750"/>
          </a:p>
        </p:txBody>
      </p:sp>
      <p:sp>
        <p:nvSpPr>
          <p:cNvPr id="99" name="object 99"/>
          <p:cNvSpPr txBox="1"/>
          <p:nvPr/>
        </p:nvSpPr>
        <p:spPr>
          <a:xfrm>
            <a:off x="3779014" y="5453000"/>
            <a:ext cx="538860" cy="965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9"/>
              </a:spcBef>
            </a:pPr>
            <a:endParaRPr sz="750"/>
          </a:p>
        </p:txBody>
      </p:sp>
      <p:sp>
        <p:nvSpPr>
          <p:cNvPr id="98" name="object 98"/>
          <p:cNvSpPr txBox="1"/>
          <p:nvPr/>
        </p:nvSpPr>
        <p:spPr>
          <a:xfrm>
            <a:off x="4317875" y="5453000"/>
            <a:ext cx="729105" cy="965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9"/>
              </a:spcBef>
            </a:pPr>
            <a:endParaRPr sz="750"/>
          </a:p>
        </p:txBody>
      </p:sp>
      <p:sp>
        <p:nvSpPr>
          <p:cNvPr id="97" name="object 97"/>
          <p:cNvSpPr txBox="1"/>
          <p:nvPr/>
        </p:nvSpPr>
        <p:spPr>
          <a:xfrm>
            <a:off x="2962656" y="5549520"/>
            <a:ext cx="486155" cy="1190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37"/>
              </a:spcBef>
            </a:pPr>
            <a:endParaRPr sz="900"/>
          </a:p>
        </p:txBody>
      </p:sp>
      <p:sp>
        <p:nvSpPr>
          <p:cNvPr id="96" name="object 96"/>
          <p:cNvSpPr txBox="1"/>
          <p:nvPr/>
        </p:nvSpPr>
        <p:spPr>
          <a:xfrm>
            <a:off x="3448812" y="5549520"/>
            <a:ext cx="330200" cy="1190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37"/>
              </a:spcBef>
            </a:pPr>
            <a:endParaRPr sz="900"/>
          </a:p>
        </p:txBody>
      </p:sp>
      <p:sp>
        <p:nvSpPr>
          <p:cNvPr id="95" name="object 95"/>
          <p:cNvSpPr txBox="1"/>
          <p:nvPr/>
        </p:nvSpPr>
        <p:spPr>
          <a:xfrm>
            <a:off x="3779014" y="5549520"/>
            <a:ext cx="538860" cy="1190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37"/>
              </a:spcBef>
            </a:pPr>
            <a:endParaRPr sz="900"/>
          </a:p>
        </p:txBody>
      </p:sp>
      <p:sp>
        <p:nvSpPr>
          <p:cNvPr id="94" name="object 94"/>
          <p:cNvSpPr txBox="1"/>
          <p:nvPr/>
        </p:nvSpPr>
        <p:spPr>
          <a:xfrm>
            <a:off x="4317875" y="5549520"/>
            <a:ext cx="729105" cy="1190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37"/>
              </a:spcBef>
            </a:pPr>
            <a:endParaRPr sz="900"/>
          </a:p>
        </p:txBody>
      </p:sp>
      <p:sp>
        <p:nvSpPr>
          <p:cNvPr id="93" name="object 93"/>
          <p:cNvSpPr txBox="1"/>
          <p:nvPr/>
        </p:nvSpPr>
        <p:spPr>
          <a:xfrm>
            <a:off x="2962656" y="5668568"/>
            <a:ext cx="486155" cy="1000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7"/>
              </a:spcBef>
            </a:pPr>
            <a:endParaRPr sz="750"/>
          </a:p>
        </p:txBody>
      </p:sp>
      <p:sp>
        <p:nvSpPr>
          <p:cNvPr id="92" name="object 92"/>
          <p:cNvSpPr txBox="1"/>
          <p:nvPr/>
        </p:nvSpPr>
        <p:spPr>
          <a:xfrm>
            <a:off x="3448812" y="5668568"/>
            <a:ext cx="330200" cy="1000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7"/>
              </a:spcBef>
            </a:pPr>
            <a:endParaRPr sz="750"/>
          </a:p>
        </p:txBody>
      </p:sp>
      <p:sp>
        <p:nvSpPr>
          <p:cNvPr id="91" name="object 91"/>
          <p:cNvSpPr txBox="1"/>
          <p:nvPr/>
        </p:nvSpPr>
        <p:spPr>
          <a:xfrm>
            <a:off x="3779014" y="5668568"/>
            <a:ext cx="538860" cy="1000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7"/>
              </a:spcBef>
            </a:pPr>
            <a:endParaRPr sz="750"/>
          </a:p>
        </p:txBody>
      </p:sp>
      <p:sp>
        <p:nvSpPr>
          <p:cNvPr id="90" name="object 90"/>
          <p:cNvSpPr txBox="1"/>
          <p:nvPr/>
        </p:nvSpPr>
        <p:spPr>
          <a:xfrm>
            <a:off x="4317875" y="5668568"/>
            <a:ext cx="729105" cy="1000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7"/>
              </a:spcBef>
            </a:pPr>
            <a:endParaRPr sz="750"/>
          </a:p>
        </p:txBody>
      </p:sp>
      <p:sp>
        <p:nvSpPr>
          <p:cNvPr id="89" name="object 89"/>
          <p:cNvSpPr txBox="1"/>
          <p:nvPr/>
        </p:nvSpPr>
        <p:spPr>
          <a:xfrm>
            <a:off x="2962656" y="5768582"/>
            <a:ext cx="486155" cy="12739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8" name="object 88"/>
          <p:cNvSpPr txBox="1"/>
          <p:nvPr/>
        </p:nvSpPr>
        <p:spPr>
          <a:xfrm>
            <a:off x="3448812" y="5768582"/>
            <a:ext cx="330200" cy="12739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7" name="object 87"/>
          <p:cNvSpPr txBox="1"/>
          <p:nvPr/>
        </p:nvSpPr>
        <p:spPr>
          <a:xfrm>
            <a:off x="3779014" y="5768582"/>
            <a:ext cx="538860" cy="12739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6" name="object 86"/>
          <p:cNvSpPr txBox="1"/>
          <p:nvPr/>
        </p:nvSpPr>
        <p:spPr>
          <a:xfrm>
            <a:off x="4317875" y="5768582"/>
            <a:ext cx="729105" cy="12739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5" name="object 85"/>
          <p:cNvSpPr txBox="1"/>
          <p:nvPr/>
        </p:nvSpPr>
        <p:spPr>
          <a:xfrm>
            <a:off x="2962656" y="5895975"/>
            <a:ext cx="486155" cy="357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 txBox="1"/>
          <p:nvPr/>
        </p:nvSpPr>
        <p:spPr>
          <a:xfrm>
            <a:off x="3448812" y="5895975"/>
            <a:ext cx="330200" cy="357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3"/>
          <p:cNvSpPr txBox="1"/>
          <p:nvPr/>
        </p:nvSpPr>
        <p:spPr>
          <a:xfrm>
            <a:off x="3779014" y="5895975"/>
            <a:ext cx="538860" cy="357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2"/>
          <p:cNvSpPr txBox="1"/>
          <p:nvPr/>
        </p:nvSpPr>
        <p:spPr>
          <a:xfrm>
            <a:off x="4317875" y="5895975"/>
            <a:ext cx="729105" cy="357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1"/>
          <p:cNvSpPr txBox="1"/>
          <p:nvPr/>
        </p:nvSpPr>
        <p:spPr>
          <a:xfrm>
            <a:off x="593904" y="5063744"/>
            <a:ext cx="36682" cy="1666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0" name="object 80"/>
          <p:cNvSpPr txBox="1"/>
          <p:nvPr/>
        </p:nvSpPr>
        <p:spPr>
          <a:xfrm>
            <a:off x="630587" y="5063744"/>
            <a:ext cx="2091276" cy="1666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12692">
              <a:lnSpc>
                <a:spcPts val="919"/>
              </a:lnSpc>
              <a:spcBef>
                <a:spcPts val="46"/>
              </a:spcBef>
            </a:pPr>
            <a:r>
              <a:rPr sz="1500" spc="0" baseline="2843" dirty="0" smtClean="0">
                <a:latin typeface="Cambria"/>
                <a:cs typeface="Cambria"/>
              </a:rPr>
              <a:t>B</a:t>
            </a:r>
            <a:r>
              <a:rPr sz="1500" spc="4" baseline="2843" dirty="0" smtClean="0">
                <a:latin typeface="Cambria"/>
                <a:cs typeface="Cambria"/>
              </a:rPr>
              <a:t>as</a:t>
            </a:r>
            <a:r>
              <a:rPr sz="1500" spc="0" baseline="2843" dirty="0" smtClean="0">
                <a:latin typeface="Cambria"/>
                <a:cs typeface="Cambria"/>
              </a:rPr>
              <a:t>e</a:t>
            </a:r>
            <a:r>
              <a:rPr sz="1500" spc="-40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Ta</a:t>
            </a:r>
            <a:r>
              <a:rPr sz="1500" spc="-4" baseline="2843" dirty="0" smtClean="0">
                <a:latin typeface="Cambria"/>
                <a:cs typeface="Cambria"/>
              </a:rPr>
              <a:t>b</a:t>
            </a:r>
            <a:r>
              <a:rPr sz="1500" spc="4" baseline="2843" dirty="0" smtClean="0">
                <a:latin typeface="Cambria"/>
                <a:cs typeface="Cambria"/>
              </a:rPr>
              <a:t>l</a:t>
            </a:r>
            <a:r>
              <a:rPr sz="1500" spc="0" baseline="2843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593904" y="5230368"/>
            <a:ext cx="36682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78" name="object 78"/>
          <p:cNvSpPr txBox="1"/>
          <p:nvPr/>
        </p:nvSpPr>
        <p:spPr>
          <a:xfrm>
            <a:off x="630586" y="5230368"/>
            <a:ext cx="520529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77" name="object 77"/>
          <p:cNvSpPr txBox="1"/>
          <p:nvPr/>
        </p:nvSpPr>
        <p:spPr>
          <a:xfrm>
            <a:off x="1151116" y="5230368"/>
            <a:ext cx="311797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76" name="object 76"/>
          <p:cNvSpPr txBox="1"/>
          <p:nvPr/>
        </p:nvSpPr>
        <p:spPr>
          <a:xfrm>
            <a:off x="1462915" y="5230368"/>
            <a:ext cx="557275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75" name="object 75"/>
          <p:cNvSpPr txBox="1"/>
          <p:nvPr/>
        </p:nvSpPr>
        <p:spPr>
          <a:xfrm>
            <a:off x="2020190" y="5230368"/>
            <a:ext cx="701676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74" name="object 74"/>
          <p:cNvSpPr txBox="1"/>
          <p:nvPr/>
        </p:nvSpPr>
        <p:spPr>
          <a:xfrm>
            <a:off x="593904" y="5348225"/>
            <a:ext cx="36682" cy="10845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73" name="object 73"/>
          <p:cNvSpPr txBox="1"/>
          <p:nvPr/>
        </p:nvSpPr>
        <p:spPr>
          <a:xfrm>
            <a:off x="630586" y="5348225"/>
            <a:ext cx="520529" cy="10845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72" name="object 72"/>
          <p:cNvSpPr txBox="1"/>
          <p:nvPr/>
        </p:nvSpPr>
        <p:spPr>
          <a:xfrm>
            <a:off x="1151116" y="5348225"/>
            <a:ext cx="311797" cy="10845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71" name="object 71"/>
          <p:cNvSpPr txBox="1"/>
          <p:nvPr/>
        </p:nvSpPr>
        <p:spPr>
          <a:xfrm>
            <a:off x="1462915" y="5348225"/>
            <a:ext cx="557275" cy="10845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70" name="object 70"/>
          <p:cNvSpPr txBox="1"/>
          <p:nvPr/>
        </p:nvSpPr>
        <p:spPr>
          <a:xfrm>
            <a:off x="2020190" y="5348225"/>
            <a:ext cx="701676" cy="10845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69" name="object 69"/>
          <p:cNvSpPr txBox="1"/>
          <p:nvPr/>
        </p:nvSpPr>
        <p:spPr>
          <a:xfrm>
            <a:off x="593904" y="5456682"/>
            <a:ext cx="36682" cy="2214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8" name="object 68"/>
          <p:cNvSpPr txBox="1"/>
          <p:nvPr/>
        </p:nvSpPr>
        <p:spPr>
          <a:xfrm>
            <a:off x="630586" y="5456682"/>
            <a:ext cx="520529" cy="2214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7" name="object 67"/>
          <p:cNvSpPr txBox="1"/>
          <p:nvPr/>
        </p:nvSpPr>
        <p:spPr>
          <a:xfrm>
            <a:off x="1151116" y="5456682"/>
            <a:ext cx="311797" cy="2214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145">
              <a:lnSpc>
                <a:spcPct val="97696"/>
              </a:lnSpc>
              <a:spcBef>
                <a:spcPts val="215"/>
              </a:spcBef>
            </a:pPr>
            <a:r>
              <a:rPr sz="1000" spc="0" dirty="0" smtClean="0">
                <a:latin typeface="Cambria"/>
                <a:cs typeface="Cambria"/>
              </a:rPr>
              <a:t>37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1462915" y="5456682"/>
            <a:ext cx="557275" cy="2214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5" name="object 65"/>
          <p:cNvSpPr txBox="1"/>
          <p:nvPr/>
        </p:nvSpPr>
        <p:spPr>
          <a:xfrm>
            <a:off x="2020190" y="5456682"/>
            <a:ext cx="701676" cy="2214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4" name="object 64"/>
          <p:cNvSpPr txBox="1"/>
          <p:nvPr/>
        </p:nvSpPr>
        <p:spPr>
          <a:xfrm>
            <a:off x="593904" y="5678093"/>
            <a:ext cx="36682" cy="1000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7"/>
              </a:spcBef>
            </a:pPr>
            <a:endParaRPr sz="750"/>
          </a:p>
        </p:txBody>
      </p:sp>
      <p:sp>
        <p:nvSpPr>
          <p:cNvPr id="63" name="object 63"/>
          <p:cNvSpPr txBox="1"/>
          <p:nvPr/>
        </p:nvSpPr>
        <p:spPr>
          <a:xfrm>
            <a:off x="630586" y="5678093"/>
            <a:ext cx="520529" cy="1000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7"/>
              </a:spcBef>
            </a:pPr>
            <a:endParaRPr sz="750"/>
          </a:p>
        </p:txBody>
      </p:sp>
      <p:sp>
        <p:nvSpPr>
          <p:cNvPr id="62" name="object 62"/>
          <p:cNvSpPr txBox="1"/>
          <p:nvPr/>
        </p:nvSpPr>
        <p:spPr>
          <a:xfrm>
            <a:off x="1151116" y="5678093"/>
            <a:ext cx="311797" cy="1000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7"/>
              </a:spcBef>
            </a:pPr>
            <a:endParaRPr sz="750"/>
          </a:p>
        </p:txBody>
      </p:sp>
      <p:sp>
        <p:nvSpPr>
          <p:cNvPr id="61" name="object 61"/>
          <p:cNvSpPr txBox="1"/>
          <p:nvPr/>
        </p:nvSpPr>
        <p:spPr>
          <a:xfrm>
            <a:off x="1462915" y="5678093"/>
            <a:ext cx="557275" cy="1000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7"/>
              </a:spcBef>
            </a:pPr>
            <a:endParaRPr sz="750"/>
          </a:p>
        </p:txBody>
      </p:sp>
      <p:sp>
        <p:nvSpPr>
          <p:cNvPr id="60" name="object 60"/>
          <p:cNvSpPr txBox="1"/>
          <p:nvPr/>
        </p:nvSpPr>
        <p:spPr>
          <a:xfrm>
            <a:off x="2020190" y="5678093"/>
            <a:ext cx="701676" cy="1000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7"/>
              </a:spcBef>
            </a:pPr>
            <a:endParaRPr sz="750"/>
          </a:p>
        </p:txBody>
      </p:sp>
      <p:sp>
        <p:nvSpPr>
          <p:cNvPr id="59" name="object 59"/>
          <p:cNvSpPr txBox="1"/>
          <p:nvPr/>
        </p:nvSpPr>
        <p:spPr>
          <a:xfrm>
            <a:off x="593904" y="5778106"/>
            <a:ext cx="36682" cy="1178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58" name="object 58"/>
          <p:cNvSpPr txBox="1"/>
          <p:nvPr/>
        </p:nvSpPr>
        <p:spPr>
          <a:xfrm>
            <a:off x="630586" y="5778106"/>
            <a:ext cx="520529" cy="1178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57" name="object 57"/>
          <p:cNvSpPr txBox="1"/>
          <p:nvPr/>
        </p:nvSpPr>
        <p:spPr>
          <a:xfrm>
            <a:off x="1151116" y="5778106"/>
            <a:ext cx="311797" cy="1178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56" name="object 56"/>
          <p:cNvSpPr txBox="1"/>
          <p:nvPr/>
        </p:nvSpPr>
        <p:spPr>
          <a:xfrm>
            <a:off x="1462915" y="5778106"/>
            <a:ext cx="557275" cy="1178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55" name="object 55"/>
          <p:cNvSpPr txBox="1"/>
          <p:nvPr/>
        </p:nvSpPr>
        <p:spPr>
          <a:xfrm>
            <a:off x="2020190" y="5778106"/>
            <a:ext cx="701676" cy="1178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54" name="object 54"/>
          <p:cNvSpPr txBox="1"/>
          <p:nvPr/>
        </p:nvSpPr>
        <p:spPr>
          <a:xfrm>
            <a:off x="593904" y="5895975"/>
            <a:ext cx="36682" cy="357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 txBox="1"/>
          <p:nvPr/>
        </p:nvSpPr>
        <p:spPr>
          <a:xfrm>
            <a:off x="630586" y="5895975"/>
            <a:ext cx="520529" cy="357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 txBox="1"/>
          <p:nvPr/>
        </p:nvSpPr>
        <p:spPr>
          <a:xfrm>
            <a:off x="1151116" y="5895975"/>
            <a:ext cx="311797" cy="357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 txBox="1"/>
          <p:nvPr/>
        </p:nvSpPr>
        <p:spPr>
          <a:xfrm>
            <a:off x="1462915" y="5895975"/>
            <a:ext cx="557275" cy="357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 txBox="1"/>
          <p:nvPr/>
        </p:nvSpPr>
        <p:spPr>
          <a:xfrm>
            <a:off x="2020190" y="5895975"/>
            <a:ext cx="701676" cy="357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 txBox="1"/>
          <p:nvPr/>
        </p:nvSpPr>
        <p:spPr>
          <a:xfrm>
            <a:off x="2921382" y="3758819"/>
            <a:ext cx="2118740" cy="1369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98474">
              <a:lnSpc>
                <a:spcPts val="860"/>
              </a:lnSpc>
              <a:spcBef>
                <a:spcPts val="43"/>
              </a:spcBef>
            </a:pPr>
            <a:r>
              <a:rPr sz="1500" spc="4" baseline="2843" dirty="0" smtClean="0">
                <a:latin typeface="Cambria"/>
                <a:cs typeface="Cambria"/>
              </a:rPr>
              <a:t>N</a:t>
            </a:r>
            <a:r>
              <a:rPr sz="1500" spc="0" baseline="2843" dirty="0" smtClean="0">
                <a:latin typeface="Cambria"/>
                <a:cs typeface="Cambria"/>
              </a:rPr>
              <a:t>USI</a:t>
            </a:r>
            <a:r>
              <a:rPr sz="1500" spc="-21" baseline="2843" dirty="0" smtClean="0">
                <a:latin typeface="Cambria"/>
                <a:cs typeface="Cambria"/>
              </a:rPr>
              <a:t> </a:t>
            </a:r>
            <a:r>
              <a:rPr sz="1500" spc="-4" baseline="2843" dirty="0" smtClean="0">
                <a:latin typeface="Cambria"/>
                <a:cs typeface="Cambria"/>
              </a:rPr>
              <a:t>S</a:t>
            </a:r>
            <a:r>
              <a:rPr sz="1500" spc="0" baseline="2843" dirty="0" smtClean="0">
                <a:latin typeface="Cambria"/>
                <a:cs typeface="Cambria"/>
              </a:rPr>
              <a:t>ub</a:t>
            </a:r>
            <a:r>
              <a:rPr sz="1500" spc="-4" baseline="2843" dirty="0" smtClean="0">
                <a:latin typeface="Cambria"/>
                <a:cs typeface="Cambria"/>
              </a:rPr>
              <a:t>t</a:t>
            </a:r>
            <a:r>
              <a:rPr sz="1500" spc="4" baseline="2843" dirty="0" smtClean="0">
                <a:latin typeface="Cambria"/>
                <a:cs typeface="Cambria"/>
              </a:rPr>
              <a:t>a</a:t>
            </a:r>
            <a:r>
              <a:rPr sz="1500" spc="-4" baseline="2843" dirty="0" smtClean="0">
                <a:latin typeface="Cambria"/>
                <a:cs typeface="Cambria"/>
              </a:rPr>
              <a:t>b</a:t>
            </a:r>
            <a:r>
              <a:rPr sz="1500" spc="4" baseline="2843" dirty="0" smtClean="0">
                <a:latin typeface="Cambria"/>
                <a:cs typeface="Cambria"/>
              </a:rPr>
              <a:t>l</a:t>
            </a:r>
            <a:r>
              <a:rPr sz="1500" spc="0" baseline="2843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2921381" y="3895725"/>
            <a:ext cx="559434" cy="1190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37"/>
              </a:spcBef>
            </a:pPr>
            <a:endParaRPr sz="900"/>
          </a:p>
        </p:txBody>
      </p:sp>
      <p:sp>
        <p:nvSpPr>
          <p:cNvPr id="47" name="object 47"/>
          <p:cNvSpPr txBox="1"/>
          <p:nvPr/>
        </p:nvSpPr>
        <p:spPr>
          <a:xfrm>
            <a:off x="3480817" y="3895725"/>
            <a:ext cx="559562" cy="1190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37"/>
              </a:spcBef>
            </a:pPr>
            <a:endParaRPr sz="900"/>
          </a:p>
        </p:txBody>
      </p:sp>
      <p:sp>
        <p:nvSpPr>
          <p:cNvPr id="46" name="object 46"/>
          <p:cNvSpPr txBox="1"/>
          <p:nvPr/>
        </p:nvSpPr>
        <p:spPr>
          <a:xfrm>
            <a:off x="4040378" y="3895725"/>
            <a:ext cx="999745" cy="1190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37"/>
              </a:spcBef>
            </a:pPr>
            <a:endParaRPr sz="900"/>
          </a:p>
        </p:txBody>
      </p:sp>
      <p:sp>
        <p:nvSpPr>
          <p:cNvPr id="45" name="object 45"/>
          <p:cNvSpPr txBox="1"/>
          <p:nvPr/>
        </p:nvSpPr>
        <p:spPr>
          <a:xfrm>
            <a:off x="2921381" y="4014755"/>
            <a:ext cx="559434" cy="1262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60"/>
              </a:lnSpc>
              <a:spcBef>
                <a:spcPts val="268"/>
              </a:spcBef>
            </a:pPr>
            <a:r>
              <a:rPr sz="1500" spc="0" baseline="-19902" dirty="0" smtClean="0">
                <a:latin typeface="Cambria"/>
                <a:cs typeface="Cambria"/>
              </a:rPr>
              <a:t>567,</a:t>
            </a:r>
            <a:r>
              <a:rPr sz="1500" spc="-33" baseline="-19902" dirty="0" smtClean="0">
                <a:latin typeface="Cambria"/>
                <a:cs typeface="Cambria"/>
              </a:rPr>
              <a:t> </a:t>
            </a:r>
            <a:r>
              <a:rPr sz="1500" spc="0" baseline="-19902" dirty="0" smtClean="0">
                <a:latin typeface="Cambria"/>
                <a:cs typeface="Cambria"/>
              </a:rPr>
              <a:t>2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3480817" y="4014755"/>
            <a:ext cx="559562" cy="1262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43"/>
              </a:spcBef>
            </a:pPr>
            <a:endParaRPr sz="950"/>
          </a:p>
        </p:txBody>
      </p:sp>
      <p:sp>
        <p:nvSpPr>
          <p:cNvPr id="43" name="object 43"/>
          <p:cNvSpPr txBox="1"/>
          <p:nvPr/>
        </p:nvSpPr>
        <p:spPr>
          <a:xfrm>
            <a:off x="4040378" y="4014755"/>
            <a:ext cx="999745" cy="1262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60"/>
              </a:lnSpc>
              <a:spcBef>
                <a:spcPts val="268"/>
              </a:spcBef>
            </a:pPr>
            <a:r>
              <a:rPr sz="1500" spc="0" baseline="-19902" dirty="0" smtClean="0">
                <a:latin typeface="Cambria"/>
                <a:cs typeface="Cambria"/>
              </a:rPr>
              <a:t>471,</a:t>
            </a:r>
            <a:r>
              <a:rPr sz="1500" spc="-33" baseline="-19902" dirty="0" smtClean="0">
                <a:latin typeface="Cambria"/>
                <a:cs typeface="Cambria"/>
              </a:rPr>
              <a:t> </a:t>
            </a:r>
            <a:r>
              <a:rPr sz="1500" spc="0" baseline="-19902" dirty="0" smtClean="0">
                <a:latin typeface="Cambria"/>
                <a:cs typeface="Cambria"/>
              </a:rPr>
              <a:t>1</a:t>
            </a:r>
            <a:r>
              <a:rPr sz="1500" spc="-10" baseline="-19902" dirty="0" smtClean="0">
                <a:latin typeface="Cambria"/>
                <a:cs typeface="Cambria"/>
              </a:rPr>
              <a:t> </a:t>
            </a:r>
            <a:r>
              <a:rPr sz="1500" u="sng" spc="0" baseline="-19902" dirty="0" smtClean="0">
                <a:latin typeface="Cambria"/>
                <a:cs typeface="Cambria"/>
              </a:rPr>
              <a:t>717,</a:t>
            </a:r>
            <a:r>
              <a:rPr sz="1500" u="sng" spc="-20" baseline="-19902" dirty="0" smtClean="0">
                <a:latin typeface="Cambria"/>
                <a:cs typeface="Cambria"/>
              </a:rPr>
              <a:t> </a:t>
            </a:r>
            <a:r>
              <a:rPr sz="1500" u="sng" spc="0" baseline="-19902" dirty="0" smtClean="0">
                <a:latin typeface="Cambria"/>
                <a:cs typeface="Cambria"/>
              </a:rPr>
              <a:t>2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2921381" y="4140962"/>
            <a:ext cx="559434" cy="3191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90"/>
              </a:lnSpc>
              <a:spcBef>
                <a:spcPts val="204"/>
              </a:spcBef>
            </a:pPr>
            <a:r>
              <a:rPr sz="1500" spc="0" baseline="-5686" dirty="0" smtClean="0">
                <a:latin typeface="Cambria"/>
                <a:cs typeface="Cambria"/>
              </a:rPr>
              <a:t>852,</a:t>
            </a:r>
            <a:r>
              <a:rPr sz="1500" spc="-33" baseline="-5686" dirty="0" smtClean="0">
                <a:latin typeface="Cambria"/>
                <a:cs typeface="Cambria"/>
              </a:rPr>
              <a:t> </a:t>
            </a:r>
            <a:r>
              <a:rPr sz="1500" spc="0" baseline="-5686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>
              <a:lnSpc>
                <a:spcPts val="944"/>
              </a:lnSpc>
            </a:pPr>
            <a:r>
              <a:rPr sz="1500" spc="0" baseline="2843" dirty="0" smtClean="0">
                <a:latin typeface="Cambria"/>
                <a:cs typeface="Cambria"/>
              </a:rPr>
              <a:t>432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3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3480817" y="4140962"/>
            <a:ext cx="559562" cy="3191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0" name="object 40"/>
          <p:cNvSpPr txBox="1"/>
          <p:nvPr/>
        </p:nvSpPr>
        <p:spPr>
          <a:xfrm>
            <a:off x="4040378" y="4140962"/>
            <a:ext cx="999745" cy="3191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60"/>
              </a:lnSpc>
              <a:spcBef>
                <a:spcPts val="203"/>
              </a:spcBef>
            </a:pPr>
            <a:r>
              <a:rPr sz="1500" spc="0" baseline="-5686" dirty="0" smtClean="0">
                <a:latin typeface="Cambria"/>
                <a:cs typeface="Cambria"/>
              </a:rPr>
              <a:t>555,</a:t>
            </a:r>
            <a:r>
              <a:rPr sz="1500" spc="-33" baseline="-5686" dirty="0" smtClean="0">
                <a:latin typeface="Cambria"/>
                <a:cs typeface="Cambria"/>
              </a:rPr>
              <a:t> </a:t>
            </a:r>
            <a:r>
              <a:rPr sz="1500" spc="0" baseline="-5686" dirty="0" smtClean="0">
                <a:latin typeface="Cambria"/>
                <a:cs typeface="Cambria"/>
              </a:rPr>
              <a:t>6</a:t>
            </a:r>
            <a:endParaRPr sz="1000">
              <a:latin typeface="Cambria"/>
              <a:cs typeface="Cambria"/>
            </a:endParaRPr>
          </a:p>
          <a:p>
            <a:pPr>
              <a:lnSpc>
                <a:spcPts val="919"/>
              </a:lnSpc>
            </a:pPr>
            <a:r>
              <a:rPr sz="1500" spc="0" baseline="2843" dirty="0" smtClean="0">
                <a:latin typeface="Cambria"/>
                <a:cs typeface="Cambria"/>
              </a:rPr>
              <a:t>884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7791832" y="3881501"/>
            <a:ext cx="710819" cy="53924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9784">
              <a:lnSpc>
                <a:spcPts val="1060"/>
              </a:lnSpc>
              <a:spcBef>
                <a:spcPts val="303"/>
              </a:spcBef>
            </a:pPr>
            <a:r>
              <a:rPr sz="1500" spc="4" baseline="-5686" dirty="0" smtClean="0">
                <a:latin typeface="Cambria"/>
                <a:cs typeface="Cambria"/>
              </a:rPr>
              <a:t>R</a:t>
            </a:r>
            <a:r>
              <a:rPr sz="1500" spc="0" baseline="-5686" dirty="0" smtClean="0">
                <a:latin typeface="Cambria"/>
                <a:cs typeface="Cambria"/>
              </a:rPr>
              <a:t>o</a:t>
            </a:r>
            <a:r>
              <a:rPr sz="1500" spc="-4" baseline="-5686" dirty="0" smtClean="0">
                <a:latin typeface="Cambria"/>
                <a:cs typeface="Cambria"/>
              </a:rPr>
              <a:t>w</a:t>
            </a:r>
            <a:r>
              <a:rPr sz="1500" spc="0" baseline="-5686" dirty="0" smtClean="0">
                <a:latin typeface="Cambria"/>
                <a:cs typeface="Cambria"/>
              </a:rPr>
              <a:t>ID</a:t>
            </a:r>
            <a:endParaRPr sz="1000">
              <a:latin typeface="Cambria"/>
              <a:cs typeface="Cambria"/>
            </a:endParaRPr>
          </a:p>
          <a:p>
            <a:pPr marL="10795">
              <a:lnSpc>
                <a:spcPts val="800"/>
              </a:lnSpc>
            </a:pPr>
            <a:r>
              <a:rPr sz="1500" spc="0" baseline="-2843" dirty="0" smtClean="0">
                <a:latin typeface="Cambria"/>
                <a:cs typeface="Cambria"/>
              </a:rPr>
              <a:t>262,</a:t>
            </a:r>
            <a:r>
              <a:rPr sz="1500" spc="-33" baseline="-2843" dirty="0" smtClean="0">
                <a:latin typeface="Cambria"/>
                <a:cs typeface="Cambria"/>
              </a:rPr>
              <a:t> </a:t>
            </a:r>
            <a:r>
              <a:rPr sz="1500" spc="0" baseline="-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 marL="12826">
              <a:lnSpc>
                <a:spcPts val="830"/>
              </a:lnSpc>
              <a:spcBef>
                <a:spcPts val="1"/>
              </a:spcBef>
            </a:pPr>
            <a:r>
              <a:rPr sz="1500" spc="0" baseline="-2843" dirty="0" smtClean="0">
                <a:latin typeface="Cambria"/>
                <a:cs typeface="Cambria"/>
              </a:rPr>
              <a:t>396,</a:t>
            </a:r>
            <a:r>
              <a:rPr sz="1500" spc="-33" baseline="-2843" dirty="0" smtClean="0">
                <a:latin typeface="Cambria"/>
                <a:cs typeface="Cambria"/>
              </a:rPr>
              <a:t> </a:t>
            </a:r>
            <a:r>
              <a:rPr sz="1500" spc="0" baseline="-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 marL="12826">
              <a:lnSpc>
                <a:spcPts val="944"/>
              </a:lnSpc>
              <a:spcBef>
                <a:spcPts val="5"/>
              </a:spcBef>
            </a:pPr>
            <a:r>
              <a:rPr sz="1500" spc="0" baseline="2843" dirty="0" smtClean="0">
                <a:latin typeface="Cambria"/>
                <a:cs typeface="Cambria"/>
              </a:rPr>
              <a:t>432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5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8502652" y="3881501"/>
            <a:ext cx="1151127" cy="53924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00"/>
              </a:lnSpc>
              <a:spcBef>
                <a:spcPts val="0"/>
              </a:spcBef>
            </a:pPr>
            <a:endParaRPr sz="500"/>
          </a:p>
          <a:p>
            <a:pPr marL="1524" marR="180842" indent="7111">
              <a:lnSpc>
                <a:spcPts val="1222"/>
              </a:lnSpc>
            </a:pPr>
            <a:r>
              <a:rPr sz="1500" spc="4" baseline="2843" dirty="0" smtClean="0">
                <a:latin typeface="Cambria"/>
                <a:cs typeface="Cambria"/>
              </a:rPr>
              <a:t>Na</a:t>
            </a:r>
            <a:r>
              <a:rPr sz="1500" spc="0" baseline="2843" dirty="0" smtClean="0">
                <a:latin typeface="Cambria"/>
                <a:cs typeface="Cambria"/>
              </a:rPr>
              <a:t>me         </a:t>
            </a:r>
            <a:r>
              <a:rPr sz="1000" spc="4" dirty="0" smtClean="0">
                <a:latin typeface="Cambria"/>
                <a:cs typeface="Cambria"/>
              </a:rPr>
              <a:t>R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w</a:t>
            </a:r>
            <a:r>
              <a:rPr sz="1000" spc="0" dirty="0" smtClean="0">
                <a:latin typeface="Cambria"/>
                <a:cs typeface="Cambria"/>
              </a:rPr>
              <a:t>ID </a:t>
            </a:r>
            <a:endParaRPr sz="1000">
              <a:latin typeface="Cambria"/>
              <a:cs typeface="Cambria"/>
            </a:endParaRPr>
          </a:p>
          <a:p>
            <a:pPr marL="1524" marR="180842">
              <a:lnSpc>
                <a:spcPts val="1172"/>
              </a:lnSpc>
            </a:pPr>
            <a:r>
              <a:rPr sz="1000" spc="-4" dirty="0" smtClean="0">
                <a:latin typeface="Cambria"/>
                <a:cs typeface="Cambria"/>
              </a:rPr>
              <a:t>J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ne</a:t>
            </a:r>
            <a:r>
              <a:rPr sz="1000" spc="0" dirty="0" smtClean="0">
                <a:latin typeface="Cambria"/>
                <a:cs typeface="Cambria"/>
              </a:rPr>
              <a:t>s         </a:t>
            </a:r>
            <a:r>
              <a:rPr sz="1000" spc="56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639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 marL="10668">
              <a:lnSpc>
                <a:spcPts val="780"/>
              </a:lnSpc>
            </a:pPr>
            <a:r>
              <a:rPr sz="1000" spc="0" dirty="0" smtClean="0">
                <a:latin typeface="Cambria"/>
                <a:cs typeface="Cambria"/>
              </a:rPr>
              <a:t>P</a:t>
            </a:r>
            <a:r>
              <a:rPr sz="1000" spc="-9" dirty="0" smtClean="0">
                <a:latin typeface="Cambria"/>
                <a:cs typeface="Cambria"/>
              </a:rPr>
              <a:t>e</a:t>
            </a:r>
            <a:r>
              <a:rPr sz="1000" spc="0" dirty="0" smtClean="0">
                <a:latin typeface="Cambria"/>
                <a:cs typeface="Cambria"/>
              </a:rPr>
              <a:t>t</a:t>
            </a:r>
            <a:r>
              <a:rPr sz="1000" spc="-4" dirty="0" smtClean="0">
                <a:latin typeface="Cambria"/>
                <a:cs typeface="Cambria"/>
              </a:rPr>
              <a:t>er</a:t>
            </a:r>
            <a:r>
              <a:rPr sz="1000" spc="0" dirty="0" smtClean="0">
                <a:latin typeface="Cambria"/>
                <a:cs typeface="Cambria"/>
              </a:rPr>
              <a:t>s       </a:t>
            </a:r>
            <a:r>
              <a:rPr sz="1000" spc="52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778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3</a:t>
            </a:r>
            <a:endParaRPr sz="1000">
              <a:latin typeface="Cambria"/>
              <a:cs typeface="Cambria"/>
            </a:endParaRPr>
          </a:p>
          <a:p>
            <a:pPr marL="10668">
              <a:lnSpc>
                <a:spcPts val="944"/>
              </a:lnSpc>
              <a:spcBef>
                <a:spcPts val="8"/>
              </a:spcBef>
            </a:pPr>
            <a:r>
              <a:rPr sz="1500" spc="0" baseline="2843" dirty="0" smtClean="0">
                <a:latin typeface="Cambria"/>
                <a:cs typeface="Cambria"/>
              </a:rPr>
              <a:t>Sm</a:t>
            </a:r>
            <a:r>
              <a:rPr sz="1500" spc="-4" baseline="2843" dirty="0" smtClean="0">
                <a:latin typeface="Cambria"/>
                <a:cs typeface="Cambria"/>
              </a:rPr>
              <a:t>i</a:t>
            </a:r>
            <a:r>
              <a:rPr sz="1500" spc="0" baseline="2843" dirty="0" smtClean="0">
                <a:latin typeface="Cambria"/>
                <a:cs typeface="Cambria"/>
              </a:rPr>
              <a:t>th        </a:t>
            </a:r>
            <a:r>
              <a:rPr sz="1500" spc="44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778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7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5494148" y="3881501"/>
            <a:ext cx="710818" cy="53924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9275">
              <a:lnSpc>
                <a:spcPts val="1060"/>
              </a:lnSpc>
              <a:spcBef>
                <a:spcPts val="303"/>
              </a:spcBef>
            </a:pPr>
            <a:r>
              <a:rPr sz="1500" spc="4" baseline="-5686" dirty="0" smtClean="0">
                <a:latin typeface="Cambria"/>
                <a:cs typeface="Cambria"/>
              </a:rPr>
              <a:t>R</a:t>
            </a:r>
            <a:r>
              <a:rPr sz="1500" spc="0" baseline="-5686" dirty="0" smtClean="0">
                <a:latin typeface="Cambria"/>
                <a:cs typeface="Cambria"/>
              </a:rPr>
              <a:t>o</a:t>
            </a:r>
            <a:r>
              <a:rPr sz="1500" spc="-4" baseline="-5686" dirty="0" smtClean="0">
                <a:latin typeface="Cambria"/>
                <a:cs typeface="Cambria"/>
              </a:rPr>
              <a:t>w</a:t>
            </a:r>
            <a:r>
              <a:rPr sz="1500" spc="0" baseline="-5686" dirty="0" smtClean="0">
                <a:latin typeface="Cambria"/>
                <a:cs typeface="Cambria"/>
              </a:rPr>
              <a:t>ID</a:t>
            </a:r>
            <a:endParaRPr sz="1000">
              <a:latin typeface="Cambria"/>
              <a:cs typeface="Cambria"/>
            </a:endParaRPr>
          </a:p>
          <a:p>
            <a:pPr marL="10287">
              <a:lnSpc>
                <a:spcPts val="800"/>
              </a:lnSpc>
            </a:pPr>
            <a:r>
              <a:rPr sz="1500" spc="0" baseline="-2843" dirty="0" smtClean="0">
                <a:latin typeface="Cambria"/>
                <a:cs typeface="Cambria"/>
              </a:rPr>
              <a:t>432,</a:t>
            </a:r>
            <a:r>
              <a:rPr sz="1500" spc="-33" baseline="-2843" dirty="0" smtClean="0">
                <a:latin typeface="Cambria"/>
                <a:cs typeface="Cambria"/>
              </a:rPr>
              <a:t> </a:t>
            </a:r>
            <a:r>
              <a:rPr sz="1500" spc="0" baseline="-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 marL="12700">
              <a:lnSpc>
                <a:spcPts val="830"/>
              </a:lnSpc>
              <a:spcBef>
                <a:spcPts val="1"/>
              </a:spcBef>
            </a:pPr>
            <a:r>
              <a:rPr sz="1500" spc="0" baseline="-2843" dirty="0" smtClean="0">
                <a:latin typeface="Cambria"/>
                <a:cs typeface="Cambria"/>
              </a:rPr>
              <a:t>770,</a:t>
            </a:r>
            <a:r>
              <a:rPr sz="1500" spc="-33" baseline="-2843" dirty="0" smtClean="0">
                <a:latin typeface="Cambria"/>
                <a:cs typeface="Cambria"/>
              </a:rPr>
              <a:t> </a:t>
            </a:r>
            <a:r>
              <a:rPr sz="1500" spc="0" baseline="-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 marL="12700">
              <a:lnSpc>
                <a:spcPts val="944"/>
              </a:lnSpc>
              <a:spcBef>
                <a:spcPts val="5"/>
              </a:spcBef>
            </a:pPr>
            <a:r>
              <a:rPr sz="1500" spc="0" baseline="2843" dirty="0" smtClean="0">
                <a:latin typeface="Cambria"/>
                <a:cs typeface="Cambria"/>
              </a:rPr>
              <a:t>567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6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6204965" y="3881501"/>
            <a:ext cx="1151129" cy="53924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00"/>
              </a:lnSpc>
              <a:spcBef>
                <a:spcPts val="0"/>
              </a:spcBef>
            </a:pPr>
            <a:endParaRPr sz="500"/>
          </a:p>
          <a:p>
            <a:pPr marL="1397" marR="181096" indent="6985">
              <a:lnSpc>
                <a:spcPts val="1222"/>
              </a:lnSpc>
            </a:pPr>
            <a:r>
              <a:rPr sz="1500" spc="4" baseline="2843" dirty="0" smtClean="0">
                <a:latin typeface="Cambria"/>
                <a:cs typeface="Cambria"/>
              </a:rPr>
              <a:t>Na</a:t>
            </a:r>
            <a:r>
              <a:rPr sz="1500" spc="0" baseline="2843" dirty="0" smtClean="0">
                <a:latin typeface="Cambria"/>
                <a:cs typeface="Cambria"/>
              </a:rPr>
              <a:t>me         </a:t>
            </a:r>
            <a:r>
              <a:rPr sz="1000" spc="4" dirty="0" smtClean="0">
                <a:latin typeface="Cambria"/>
                <a:cs typeface="Cambria"/>
              </a:rPr>
              <a:t>R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w</a:t>
            </a:r>
            <a:r>
              <a:rPr sz="1000" spc="0" dirty="0" smtClean="0">
                <a:latin typeface="Cambria"/>
                <a:cs typeface="Cambria"/>
              </a:rPr>
              <a:t>ID </a:t>
            </a:r>
            <a:endParaRPr sz="1000">
              <a:latin typeface="Cambria"/>
              <a:cs typeface="Cambria"/>
            </a:endParaRPr>
          </a:p>
          <a:p>
            <a:pPr marL="1397" marR="181096">
              <a:lnSpc>
                <a:spcPts val="1172"/>
              </a:lnSpc>
            </a:pPr>
            <a:r>
              <a:rPr sz="1000" spc="0" dirty="0" smtClean="0">
                <a:latin typeface="Cambria"/>
                <a:cs typeface="Cambria"/>
              </a:rPr>
              <a:t>Sm</a:t>
            </a:r>
            <a:r>
              <a:rPr sz="1000" spc="-4" dirty="0" smtClean="0">
                <a:latin typeface="Cambria"/>
                <a:cs typeface="Cambria"/>
              </a:rPr>
              <a:t>i</a:t>
            </a:r>
            <a:r>
              <a:rPr sz="1000" spc="0" dirty="0" smtClean="0">
                <a:latin typeface="Cambria"/>
                <a:cs typeface="Cambria"/>
              </a:rPr>
              <a:t>th        </a:t>
            </a:r>
            <a:r>
              <a:rPr sz="1000" spc="79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47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 marL="10541">
              <a:lnSpc>
                <a:spcPts val="780"/>
              </a:lnSpc>
            </a:pPr>
            <a:r>
              <a:rPr sz="1000" spc="-4" dirty="0" smtClean="0">
                <a:latin typeface="Cambria"/>
                <a:cs typeface="Cambria"/>
              </a:rPr>
              <a:t>Y</a:t>
            </a:r>
            <a:r>
              <a:rPr sz="1000" spc="0" dirty="0" smtClean="0">
                <a:latin typeface="Cambria"/>
                <a:cs typeface="Cambria"/>
              </a:rPr>
              <a:t>oung       </a:t>
            </a:r>
            <a:r>
              <a:rPr sz="1000" spc="57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47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2</a:t>
            </a:r>
            <a:endParaRPr sz="1000">
              <a:latin typeface="Cambria"/>
              <a:cs typeface="Cambria"/>
            </a:endParaRPr>
          </a:p>
          <a:p>
            <a:pPr marL="10541">
              <a:lnSpc>
                <a:spcPts val="944"/>
              </a:lnSpc>
              <a:spcBef>
                <a:spcPts val="8"/>
              </a:spcBef>
            </a:pPr>
            <a:r>
              <a:rPr sz="1500" spc="-4" baseline="2843" dirty="0" smtClean="0">
                <a:latin typeface="Cambria"/>
                <a:cs typeface="Cambria"/>
              </a:rPr>
              <a:t>J</a:t>
            </a:r>
            <a:r>
              <a:rPr sz="1500" spc="0" baseline="2843" dirty="0" smtClean="0">
                <a:latin typeface="Cambria"/>
                <a:cs typeface="Cambria"/>
              </a:rPr>
              <a:t>o</a:t>
            </a:r>
            <a:r>
              <a:rPr sz="1500" spc="-4" baseline="2843" dirty="0" smtClean="0">
                <a:latin typeface="Cambria"/>
                <a:cs typeface="Cambria"/>
              </a:rPr>
              <a:t>ne</a:t>
            </a:r>
            <a:r>
              <a:rPr sz="1500" spc="0" baseline="2843" dirty="0" smtClean="0">
                <a:latin typeface="Cambria"/>
                <a:cs typeface="Cambria"/>
              </a:rPr>
              <a:t>s         </a:t>
            </a:r>
            <a:r>
              <a:rPr sz="1500" spc="21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338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781939" y="3895725"/>
            <a:ext cx="703961" cy="3262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1630">
              <a:lnSpc>
                <a:spcPts val="1060"/>
              </a:lnSpc>
              <a:spcBef>
                <a:spcPts val="303"/>
              </a:spcBef>
            </a:pPr>
            <a:r>
              <a:rPr sz="1500" spc="4" baseline="-5686" dirty="0" smtClean="0">
                <a:latin typeface="Cambria"/>
                <a:cs typeface="Cambria"/>
              </a:rPr>
              <a:t>R</a:t>
            </a:r>
            <a:r>
              <a:rPr sz="1500" spc="0" baseline="-5686" dirty="0" smtClean="0">
                <a:latin typeface="Cambria"/>
                <a:cs typeface="Cambria"/>
              </a:rPr>
              <a:t>o</a:t>
            </a:r>
            <a:r>
              <a:rPr sz="1500" spc="-4" baseline="-5686" dirty="0" smtClean="0">
                <a:latin typeface="Cambria"/>
                <a:cs typeface="Cambria"/>
              </a:rPr>
              <a:t>w</a:t>
            </a:r>
            <a:r>
              <a:rPr sz="1500" spc="0" baseline="-5686" dirty="0" smtClean="0">
                <a:latin typeface="Cambria"/>
                <a:cs typeface="Cambria"/>
              </a:rPr>
              <a:t>ID</a:t>
            </a:r>
            <a:endParaRPr sz="1000">
              <a:latin typeface="Cambria"/>
              <a:cs typeface="Cambria"/>
            </a:endParaRPr>
          </a:p>
          <a:p>
            <a:pPr marL="2616">
              <a:lnSpc>
                <a:spcPts val="919"/>
              </a:lnSpc>
            </a:pPr>
            <a:r>
              <a:rPr sz="1500" spc="0" baseline="2843" dirty="0" smtClean="0">
                <a:latin typeface="Cambria"/>
                <a:cs typeface="Cambria"/>
              </a:rPr>
              <a:t>448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1485901" y="3895725"/>
            <a:ext cx="1162559" cy="3262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7619">
              <a:lnSpc>
                <a:spcPts val="1222"/>
              </a:lnSpc>
              <a:spcBef>
                <a:spcPts val="200"/>
              </a:spcBef>
            </a:pPr>
            <a:r>
              <a:rPr sz="1500" spc="4" baseline="2843" dirty="0" smtClean="0">
                <a:latin typeface="Cambria"/>
                <a:cs typeface="Cambria"/>
              </a:rPr>
              <a:t>Na</a:t>
            </a:r>
            <a:r>
              <a:rPr sz="1500" spc="0" baseline="2843" dirty="0" smtClean="0">
                <a:latin typeface="Cambria"/>
                <a:cs typeface="Cambria"/>
              </a:rPr>
              <a:t>me         </a:t>
            </a:r>
            <a:r>
              <a:rPr sz="1000" spc="4" dirty="0" smtClean="0">
                <a:latin typeface="Cambria"/>
                <a:cs typeface="Cambria"/>
              </a:rPr>
              <a:t>R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w</a:t>
            </a:r>
            <a:r>
              <a:rPr sz="1000" spc="0" dirty="0" smtClean="0">
                <a:latin typeface="Cambria"/>
                <a:cs typeface="Cambria"/>
              </a:rPr>
              <a:t>ID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781939" y="4222020"/>
            <a:ext cx="703961" cy="976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18"/>
              </a:spcBef>
            </a:pPr>
            <a:endParaRPr sz="750"/>
          </a:p>
        </p:txBody>
      </p:sp>
      <p:sp>
        <p:nvSpPr>
          <p:cNvPr id="32" name="object 32"/>
          <p:cNvSpPr txBox="1"/>
          <p:nvPr/>
        </p:nvSpPr>
        <p:spPr>
          <a:xfrm>
            <a:off x="1485900" y="4222020"/>
            <a:ext cx="1121284" cy="976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18"/>
              </a:spcBef>
            </a:pPr>
            <a:endParaRPr sz="750"/>
          </a:p>
        </p:txBody>
      </p:sp>
      <p:sp>
        <p:nvSpPr>
          <p:cNvPr id="31" name="object 31"/>
          <p:cNvSpPr txBox="1"/>
          <p:nvPr/>
        </p:nvSpPr>
        <p:spPr>
          <a:xfrm>
            <a:off x="2607184" y="4222020"/>
            <a:ext cx="52705" cy="976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18"/>
              </a:spcBef>
            </a:pPr>
            <a:endParaRPr sz="750"/>
          </a:p>
        </p:txBody>
      </p:sp>
      <p:sp>
        <p:nvSpPr>
          <p:cNvPr id="30" name="object 30"/>
          <p:cNvSpPr txBox="1"/>
          <p:nvPr/>
        </p:nvSpPr>
        <p:spPr>
          <a:xfrm>
            <a:off x="781939" y="4319652"/>
            <a:ext cx="703961" cy="1154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9"/>
              </a:spcBef>
            </a:pPr>
            <a:endParaRPr sz="900"/>
          </a:p>
        </p:txBody>
      </p:sp>
      <p:sp>
        <p:nvSpPr>
          <p:cNvPr id="29" name="object 29"/>
          <p:cNvSpPr txBox="1"/>
          <p:nvPr/>
        </p:nvSpPr>
        <p:spPr>
          <a:xfrm>
            <a:off x="1485900" y="4319652"/>
            <a:ext cx="1173989" cy="1154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9"/>
              </a:spcBef>
            </a:pPr>
            <a:endParaRPr sz="900"/>
          </a:p>
        </p:txBody>
      </p:sp>
      <p:sp>
        <p:nvSpPr>
          <p:cNvPr id="28" name="object 28"/>
          <p:cNvSpPr txBox="1"/>
          <p:nvPr/>
        </p:nvSpPr>
        <p:spPr>
          <a:xfrm>
            <a:off x="7654162" y="3180168"/>
            <a:ext cx="1880362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33958" marR="849142" algn="ctr">
              <a:lnSpc>
                <a:spcPct val="97696"/>
              </a:lnSpc>
              <a:spcBef>
                <a:spcPts val="445"/>
              </a:spcBef>
            </a:pPr>
            <a:r>
              <a:rPr sz="1000" spc="4" dirty="0" smtClean="0">
                <a:solidFill>
                  <a:srgbClr val="253046"/>
                </a:solidFill>
                <a:latin typeface="Cambria"/>
                <a:cs typeface="Cambria"/>
              </a:rPr>
              <a:t>AM</a:t>
            </a: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P</a:t>
            </a:r>
            <a:r>
              <a:rPr sz="1000" spc="-39" dirty="0" smtClean="0">
                <a:solidFill>
                  <a:srgbClr val="253046"/>
                </a:solidFill>
                <a:latin typeface="Cambria"/>
                <a:cs typeface="Cambria"/>
              </a:rPr>
              <a:t> </a:t>
            </a: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4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5354321" y="3180168"/>
            <a:ext cx="1880362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00"/>
              </a:lnSpc>
              <a:spcBef>
                <a:spcPts val="3"/>
              </a:spcBef>
            </a:pPr>
            <a:endParaRPr sz="500"/>
          </a:p>
          <a:p>
            <a:pPr marL="637197" marR="848571" algn="ctr">
              <a:lnSpc>
                <a:spcPct val="97696"/>
              </a:lnSpc>
            </a:pPr>
            <a:r>
              <a:rPr sz="1000" spc="4" dirty="0" smtClean="0">
                <a:solidFill>
                  <a:srgbClr val="253046"/>
                </a:solidFill>
                <a:latin typeface="Cambria"/>
                <a:cs typeface="Cambria"/>
              </a:rPr>
              <a:t>AM</a:t>
            </a: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P</a:t>
            </a:r>
            <a:r>
              <a:rPr sz="1000" spc="-39" dirty="0" smtClean="0">
                <a:solidFill>
                  <a:srgbClr val="253046"/>
                </a:solidFill>
                <a:latin typeface="Cambria"/>
                <a:cs typeface="Cambria"/>
              </a:rPr>
              <a:t> </a:t>
            </a: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3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054351" y="3180168"/>
            <a:ext cx="470027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5" name="object 25"/>
          <p:cNvSpPr txBox="1"/>
          <p:nvPr/>
        </p:nvSpPr>
        <p:spPr>
          <a:xfrm>
            <a:off x="3524378" y="3180168"/>
            <a:ext cx="541819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00"/>
              </a:lnSpc>
              <a:spcBef>
                <a:spcPts val="12"/>
              </a:spcBef>
            </a:pPr>
            <a:endParaRPr sz="500"/>
          </a:p>
          <a:p>
            <a:pPr marL="92710">
              <a:lnSpc>
                <a:spcPct val="97696"/>
              </a:lnSpc>
            </a:pPr>
            <a:r>
              <a:rPr sz="1000" spc="4" dirty="0" smtClean="0">
                <a:latin typeface="Cambria"/>
                <a:cs typeface="Cambria"/>
              </a:rPr>
              <a:t>AM</a:t>
            </a:r>
            <a:r>
              <a:rPr sz="1000" spc="0" dirty="0" smtClean="0">
                <a:latin typeface="Cambria"/>
                <a:cs typeface="Cambria"/>
              </a:rPr>
              <a:t>P</a:t>
            </a:r>
            <a:r>
              <a:rPr sz="1000" spc="-39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2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4066198" y="3180168"/>
            <a:ext cx="868514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3" name="object 23"/>
          <p:cNvSpPr txBox="1"/>
          <p:nvPr/>
        </p:nvSpPr>
        <p:spPr>
          <a:xfrm>
            <a:off x="3054351" y="3396869"/>
            <a:ext cx="470027" cy="455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3524378" y="3396869"/>
            <a:ext cx="541819" cy="455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4066198" y="3396869"/>
            <a:ext cx="868514" cy="455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752120" y="3180168"/>
            <a:ext cx="534263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9" name="object 19"/>
          <p:cNvSpPr txBox="1"/>
          <p:nvPr/>
        </p:nvSpPr>
        <p:spPr>
          <a:xfrm>
            <a:off x="1286385" y="3180168"/>
            <a:ext cx="541819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50"/>
              </a:lnSpc>
              <a:spcBef>
                <a:spcPts val="37"/>
              </a:spcBef>
            </a:pPr>
            <a:endParaRPr sz="550"/>
          </a:p>
          <a:p>
            <a:pPr marL="92201">
              <a:lnSpc>
                <a:spcPts val="1120"/>
              </a:lnSpc>
              <a:spcBef>
                <a:spcPts val="55"/>
              </a:spcBef>
            </a:pPr>
            <a:r>
              <a:rPr sz="1500" spc="4" baseline="-2843" dirty="0" smtClean="0">
                <a:latin typeface="Cambria"/>
                <a:cs typeface="Cambria"/>
              </a:rPr>
              <a:t>AM</a:t>
            </a:r>
            <a:r>
              <a:rPr sz="1500" spc="0" baseline="-2843" dirty="0" smtClean="0">
                <a:latin typeface="Cambria"/>
                <a:cs typeface="Cambria"/>
              </a:rPr>
              <a:t>P</a:t>
            </a:r>
            <a:r>
              <a:rPr sz="1500" spc="-39" baseline="-2843" dirty="0" smtClean="0">
                <a:latin typeface="Cambria"/>
                <a:cs typeface="Cambria"/>
              </a:rPr>
              <a:t> </a:t>
            </a:r>
            <a:r>
              <a:rPr sz="1500" spc="0" baseline="-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828204" y="3180168"/>
            <a:ext cx="806564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7" name="object 17"/>
          <p:cNvSpPr txBox="1"/>
          <p:nvPr/>
        </p:nvSpPr>
        <p:spPr>
          <a:xfrm>
            <a:off x="752120" y="3396870"/>
            <a:ext cx="534263" cy="551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1286385" y="3396870"/>
            <a:ext cx="541819" cy="551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1828204" y="3396870"/>
            <a:ext cx="806564" cy="551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811746" y="2602699"/>
            <a:ext cx="8782431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176979" marR="4177203" algn="ctr">
              <a:lnSpc>
                <a:spcPct val="97696"/>
              </a:lnSpc>
              <a:spcBef>
                <a:spcPts val="150"/>
              </a:spcBef>
            </a:pPr>
            <a:r>
              <a:rPr sz="1000" spc="0" dirty="0" smtClean="0">
                <a:latin typeface="Cambria"/>
                <a:cs typeface="Cambria"/>
              </a:rPr>
              <a:t>B</a:t>
            </a:r>
            <a:r>
              <a:rPr sz="1000" spc="-4" dirty="0" smtClean="0">
                <a:latin typeface="Cambria"/>
                <a:cs typeface="Cambria"/>
              </a:rPr>
              <a:t>Y</a:t>
            </a:r>
            <a:r>
              <a:rPr sz="1000" spc="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ET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120130" y="2191943"/>
            <a:ext cx="837013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4229">
              <a:lnSpc>
                <a:spcPts val="940"/>
              </a:lnSpc>
              <a:spcBef>
                <a:spcPts val="377"/>
              </a:spcBef>
            </a:pPr>
            <a:r>
              <a:rPr sz="1350" spc="-4" baseline="-6318" dirty="0" smtClean="0">
                <a:latin typeface="Cambria"/>
                <a:cs typeface="Cambria"/>
              </a:rPr>
              <a:t>T</a:t>
            </a:r>
            <a:r>
              <a:rPr sz="1350" spc="4" baseline="-6318" dirty="0" smtClean="0">
                <a:latin typeface="Cambria"/>
                <a:cs typeface="Cambria"/>
              </a:rPr>
              <a:t>a</a:t>
            </a:r>
            <a:r>
              <a:rPr sz="1350" spc="0" baseline="-6318" dirty="0" smtClean="0">
                <a:latin typeface="Cambria"/>
                <a:cs typeface="Cambria"/>
              </a:rPr>
              <a:t>b</a:t>
            </a:r>
            <a:r>
              <a:rPr sz="1350" spc="-4" baseline="-6318" dirty="0" smtClean="0">
                <a:latin typeface="Cambria"/>
                <a:cs typeface="Cambria"/>
              </a:rPr>
              <a:t>l</a:t>
            </a:r>
            <a:r>
              <a:rPr sz="1350" spc="0" baseline="-6318" dirty="0" smtClean="0">
                <a:latin typeface="Cambria"/>
                <a:cs typeface="Cambria"/>
              </a:rPr>
              <a:t>e</a:t>
            </a:r>
            <a:r>
              <a:rPr sz="1350" spc="-4" baseline="-6318" dirty="0" smtClean="0">
                <a:latin typeface="Cambria"/>
                <a:cs typeface="Cambria"/>
              </a:rPr>
              <a:t> I</a:t>
            </a:r>
            <a:r>
              <a:rPr sz="1350" spc="0" baseline="-6318" dirty="0" smtClean="0">
                <a:latin typeface="Cambria"/>
                <a:cs typeface="Cambria"/>
              </a:rPr>
              <a:t>D</a:t>
            </a:r>
            <a:endParaRPr sz="900">
              <a:latin typeface="Cambria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957141" y="2191943"/>
            <a:ext cx="951642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4146">
              <a:lnSpc>
                <a:spcPts val="940"/>
              </a:lnSpc>
              <a:spcBef>
                <a:spcPts val="377"/>
              </a:spcBef>
            </a:pPr>
            <a:r>
              <a:rPr sz="1350" spc="4" baseline="-6318" dirty="0" smtClean="0">
                <a:latin typeface="Cambria"/>
                <a:cs typeface="Cambria"/>
              </a:rPr>
              <a:t>R</a:t>
            </a:r>
            <a:r>
              <a:rPr sz="1350" spc="0" baseline="-6318" dirty="0" smtClean="0">
                <a:latin typeface="Cambria"/>
                <a:cs typeface="Cambria"/>
              </a:rPr>
              <a:t>ow</a:t>
            </a:r>
            <a:r>
              <a:rPr sz="1350" spc="-14" baseline="-6318" dirty="0" smtClean="0">
                <a:latin typeface="Cambria"/>
                <a:cs typeface="Cambria"/>
              </a:rPr>
              <a:t> </a:t>
            </a:r>
            <a:r>
              <a:rPr sz="1350" spc="-4" baseline="-6318" dirty="0" smtClean="0">
                <a:latin typeface="Cambria"/>
                <a:cs typeface="Cambria"/>
              </a:rPr>
              <a:t>H</a:t>
            </a:r>
            <a:r>
              <a:rPr sz="1350" spc="4" baseline="-6318" dirty="0" smtClean="0">
                <a:latin typeface="Cambria"/>
                <a:cs typeface="Cambria"/>
              </a:rPr>
              <a:t>a</a:t>
            </a:r>
            <a:r>
              <a:rPr sz="1350" spc="0" baseline="-6318" dirty="0" smtClean="0">
                <a:latin typeface="Cambria"/>
                <a:cs typeface="Cambria"/>
              </a:rPr>
              <a:t>sh</a:t>
            </a:r>
            <a:endParaRPr sz="900">
              <a:latin typeface="Cambria"/>
              <a:cs typeface="Cambr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908785" y="2191943"/>
            <a:ext cx="928662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5379">
              <a:lnSpc>
                <a:spcPts val="885"/>
              </a:lnSpc>
              <a:spcBef>
                <a:spcPts val="429"/>
              </a:spcBef>
            </a:pPr>
            <a:r>
              <a:rPr sz="1350" spc="0" baseline="-9477" dirty="0" smtClean="0">
                <a:latin typeface="Cambria"/>
                <a:cs typeface="Cambria"/>
              </a:rPr>
              <a:t>N</a:t>
            </a:r>
            <a:r>
              <a:rPr sz="1350" spc="4" baseline="-9477" dirty="0" smtClean="0">
                <a:latin typeface="Cambria"/>
                <a:cs typeface="Cambria"/>
              </a:rPr>
              <a:t>U</a:t>
            </a:r>
            <a:r>
              <a:rPr sz="1350" spc="0" baseline="-9477" dirty="0" smtClean="0">
                <a:latin typeface="Cambria"/>
                <a:cs typeface="Cambria"/>
              </a:rPr>
              <a:t>SI</a:t>
            </a:r>
            <a:r>
              <a:rPr sz="1350" spc="-14" baseline="-9477" dirty="0" smtClean="0">
                <a:latin typeface="Cambria"/>
                <a:cs typeface="Cambria"/>
              </a:rPr>
              <a:t> </a:t>
            </a:r>
            <a:r>
              <a:rPr sz="1350" spc="-4" baseline="-9477" dirty="0" smtClean="0">
                <a:latin typeface="Cambria"/>
                <a:cs typeface="Cambria"/>
              </a:rPr>
              <a:t>V</a:t>
            </a:r>
            <a:r>
              <a:rPr sz="1350" spc="4" baseline="-9477" dirty="0" smtClean="0">
                <a:latin typeface="Cambria"/>
                <a:cs typeface="Cambria"/>
              </a:rPr>
              <a:t>a</a:t>
            </a:r>
            <a:r>
              <a:rPr sz="1350" spc="-4" baseline="-9477" dirty="0" smtClean="0">
                <a:latin typeface="Cambria"/>
                <a:cs typeface="Cambria"/>
              </a:rPr>
              <a:t>lu</a:t>
            </a:r>
            <a:r>
              <a:rPr sz="1350" spc="0" baseline="-9477" dirty="0" smtClean="0">
                <a:latin typeface="Cambria"/>
                <a:cs typeface="Cambria"/>
              </a:rPr>
              <a:t>e</a:t>
            </a:r>
            <a:endParaRPr sz="900">
              <a:latin typeface="Cambria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120130" y="2353271"/>
            <a:ext cx="837013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64211">
              <a:lnSpc>
                <a:spcPts val="955"/>
              </a:lnSpc>
              <a:spcBef>
                <a:spcPts val="362"/>
              </a:spcBef>
            </a:pPr>
            <a:r>
              <a:rPr sz="1500" spc="0" baseline="-11373" dirty="0" smtClean="0">
                <a:latin typeface="Cambria"/>
                <a:cs typeface="Cambria"/>
              </a:rPr>
              <a:t>100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957141" y="2353271"/>
            <a:ext cx="951642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95611" marR="401455" algn="ctr">
              <a:lnSpc>
                <a:spcPts val="1085"/>
              </a:lnSpc>
              <a:spcBef>
                <a:spcPts val="239"/>
              </a:spcBef>
            </a:pPr>
            <a:r>
              <a:rPr sz="1500" spc="0" baseline="-5686" dirty="0" smtClean="0">
                <a:latin typeface="Cambria"/>
                <a:cs typeface="Cambria"/>
              </a:rPr>
              <a:t>567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7908785" y="2353271"/>
            <a:ext cx="928662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8940">
              <a:lnSpc>
                <a:spcPts val="955"/>
              </a:lnSpc>
              <a:spcBef>
                <a:spcPts val="362"/>
              </a:spcBef>
            </a:pPr>
            <a:r>
              <a:rPr sz="1500" spc="-4" baseline="-11373" dirty="0" smtClean="0">
                <a:latin typeface="Cambria"/>
                <a:cs typeface="Cambria"/>
              </a:rPr>
              <a:t>‘</a:t>
            </a:r>
            <a:r>
              <a:rPr sz="1500" spc="4" baseline="-11373" dirty="0" smtClean="0">
                <a:latin typeface="Cambria"/>
                <a:cs typeface="Cambria"/>
              </a:rPr>
              <a:t>A</a:t>
            </a:r>
            <a:r>
              <a:rPr sz="1500" spc="0" baseline="-11373" dirty="0" smtClean="0">
                <a:latin typeface="Cambria"/>
                <a:cs typeface="Cambria"/>
              </a:rPr>
              <a:t>d</a:t>
            </a:r>
            <a:r>
              <a:rPr sz="1500" spc="4" baseline="-11373" dirty="0" smtClean="0">
                <a:latin typeface="Cambria"/>
                <a:cs typeface="Cambria"/>
              </a:rPr>
              <a:t>a</a:t>
            </a:r>
            <a:r>
              <a:rPr sz="1500" spc="0" baseline="-11373" dirty="0" smtClean="0">
                <a:latin typeface="Cambria"/>
                <a:cs typeface="Cambria"/>
              </a:rPr>
              <a:t>ms’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748526" y="1812189"/>
            <a:ext cx="1357502" cy="2690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37490">
              <a:lnSpc>
                <a:spcPct val="97696"/>
              </a:lnSpc>
              <a:spcBef>
                <a:spcPts val="405"/>
              </a:spcBef>
            </a:pP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H</a:t>
            </a:r>
            <a:r>
              <a:rPr sz="1000" spc="4" dirty="0" smtClean="0">
                <a:solidFill>
                  <a:srgbClr val="253046"/>
                </a:solidFill>
                <a:latin typeface="Cambria"/>
                <a:cs typeface="Cambria"/>
              </a:rPr>
              <a:t>as</a:t>
            </a: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hing</a:t>
            </a:r>
            <a:r>
              <a:rPr sz="1000" spc="-39" dirty="0" smtClean="0">
                <a:solidFill>
                  <a:srgbClr val="253046"/>
                </a:solidFill>
                <a:latin typeface="Cambria"/>
                <a:cs typeface="Cambria"/>
              </a:rPr>
              <a:t> </a:t>
            </a:r>
            <a:r>
              <a:rPr sz="1000" spc="4" dirty="0" smtClean="0">
                <a:solidFill>
                  <a:srgbClr val="253046"/>
                </a:solidFill>
                <a:latin typeface="Cambria"/>
                <a:cs typeface="Cambria"/>
              </a:rPr>
              <a:t>Al</a:t>
            </a: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go</a:t>
            </a:r>
            <a:r>
              <a:rPr sz="1000" spc="-4" dirty="0" smtClean="0">
                <a:solidFill>
                  <a:srgbClr val="253046"/>
                </a:solidFill>
                <a:latin typeface="Cambria"/>
                <a:cs typeface="Cambria"/>
              </a:rPr>
              <a:t>r</a:t>
            </a: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ithm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660145" y="1715223"/>
            <a:ext cx="3201161" cy="6469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456">
              <a:lnSpc>
                <a:spcPct val="97696"/>
              </a:lnSpc>
              <a:spcBef>
                <a:spcPts val="390"/>
              </a:spcBef>
            </a:pPr>
            <a:r>
              <a:rPr sz="1200" spc="4" dirty="0" smtClean="0">
                <a:solidFill>
                  <a:srgbClr val="253046"/>
                </a:solidFill>
                <a:latin typeface="Cambria"/>
                <a:cs typeface="Cambria"/>
              </a:rPr>
              <a:t>SELE</a:t>
            </a:r>
            <a:r>
              <a:rPr sz="1200" spc="-4" dirty="0" smtClean="0">
                <a:solidFill>
                  <a:srgbClr val="253046"/>
                </a:solidFill>
                <a:latin typeface="Cambria"/>
                <a:cs typeface="Cambria"/>
              </a:rPr>
              <a:t>C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T</a:t>
            </a:r>
            <a:r>
              <a:rPr sz="1200" spc="238" dirty="0" smtClean="0">
                <a:solidFill>
                  <a:srgbClr val="253046"/>
                </a:solidFill>
                <a:latin typeface="Cambria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*</a:t>
            </a:r>
            <a:endParaRPr sz="1200">
              <a:latin typeface="Cambria"/>
              <a:cs typeface="Cambria"/>
            </a:endParaRPr>
          </a:p>
          <a:p>
            <a:pPr marL="92456">
              <a:lnSpc>
                <a:spcPct val="97696"/>
              </a:lnSpc>
              <a:spcBef>
                <a:spcPts val="30"/>
              </a:spcBef>
            </a:pPr>
            <a:r>
              <a:rPr sz="1200" spc="4" dirty="0" smtClean="0">
                <a:solidFill>
                  <a:srgbClr val="253046"/>
                </a:solidFill>
                <a:latin typeface="Cambria"/>
                <a:cs typeface="Cambria"/>
              </a:rPr>
              <a:t>F</a:t>
            </a:r>
            <a:r>
              <a:rPr sz="1200" spc="-25" dirty="0" smtClean="0">
                <a:solidFill>
                  <a:srgbClr val="253046"/>
                </a:solidFill>
                <a:latin typeface="Cambria"/>
                <a:cs typeface="Cambria"/>
              </a:rPr>
              <a:t>R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OM    </a:t>
            </a:r>
            <a:r>
              <a:rPr sz="1200" spc="254" dirty="0" smtClean="0">
                <a:solidFill>
                  <a:srgbClr val="253046"/>
                </a:solidFill>
                <a:latin typeface="Cambria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cus</a:t>
            </a:r>
            <a:r>
              <a:rPr sz="1200" spc="-14" dirty="0" smtClean="0">
                <a:solidFill>
                  <a:srgbClr val="253046"/>
                </a:solidFill>
                <a:latin typeface="Cambria"/>
                <a:cs typeface="Cambria"/>
              </a:rPr>
              <a:t>t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o</a:t>
            </a:r>
            <a:r>
              <a:rPr sz="1200" spc="-4" dirty="0" smtClean="0">
                <a:solidFill>
                  <a:srgbClr val="253046"/>
                </a:solidFill>
                <a:latin typeface="Cambria"/>
                <a:cs typeface="Cambria"/>
              </a:rPr>
              <a:t>m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er</a:t>
            </a:r>
            <a:endParaRPr sz="1200">
              <a:latin typeface="Cambria"/>
              <a:cs typeface="Cambria"/>
            </a:endParaRPr>
          </a:p>
          <a:p>
            <a:pPr marL="92456">
              <a:lnSpc>
                <a:spcPct val="97696"/>
              </a:lnSpc>
              <a:spcBef>
                <a:spcPts val="30"/>
              </a:spcBef>
            </a:pP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WH</a:t>
            </a:r>
            <a:r>
              <a:rPr sz="1200" spc="4" dirty="0" smtClean="0">
                <a:solidFill>
                  <a:srgbClr val="253046"/>
                </a:solidFill>
                <a:latin typeface="Cambria"/>
                <a:cs typeface="Cambria"/>
              </a:rPr>
              <a:t>E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RE </a:t>
            </a:r>
            <a:r>
              <a:rPr sz="1200" spc="233" dirty="0" smtClean="0">
                <a:solidFill>
                  <a:srgbClr val="253046"/>
                </a:solidFill>
                <a:latin typeface="Cambria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n</a:t>
            </a:r>
            <a:r>
              <a:rPr sz="1200" spc="4" dirty="0" smtClean="0">
                <a:solidFill>
                  <a:srgbClr val="253046"/>
                </a:solidFill>
                <a:latin typeface="Cambria"/>
                <a:cs typeface="Cambria"/>
              </a:rPr>
              <a:t>a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me =</a:t>
            </a:r>
            <a:r>
              <a:rPr sz="1200" spc="4" dirty="0" smtClean="0">
                <a:solidFill>
                  <a:srgbClr val="253046"/>
                </a:solidFill>
                <a:latin typeface="Cambria"/>
                <a:cs typeface="Cambria"/>
              </a:rPr>
              <a:t> </a:t>
            </a:r>
            <a:r>
              <a:rPr sz="1200" spc="-144" dirty="0" smtClean="0">
                <a:solidFill>
                  <a:srgbClr val="253046"/>
                </a:solidFill>
                <a:latin typeface="Cambria"/>
                <a:cs typeface="Cambria"/>
              </a:rPr>
              <a:t>‘</a:t>
            </a:r>
            <a:r>
              <a:rPr sz="1200" spc="-14" dirty="0" smtClean="0">
                <a:solidFill>
                  <a:srgbClr val="253046"/>
                </a:solidFill>
                <a:latin typeface="Cambria"/>
                <a:cs typeface="Cambria"/>
              </a:rPr>
              <a:t>A</a:t>
            </a:r>
            <a:r>
              <a:rPr sz="1200" spc="-4" dirty="0" smtClean="0">
                <a:solidFill>
                  <a:srgbClr val="253046"/>
                </a:solidFill>
                <a:latin typeface="Cambria"/>
                <a:cs typeface="Cambria"/>
              </a:rPr>
              <a:t>d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ams’;</a:t>
            </a:r>
            <a:endParaRPr sz="1200">
              <a:latin typeface="Cambria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450329" y="1146556"/>
            <a:ext cx="1992630" cy="2798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53441">
              <a:lnSpc>
                <a:spcPct val="97696"/>
              </a:lnSpc>
              <a:spcBef>
                <a:spcPts val="300"/>
              </a:spcBef>
            </a:pPr>
            <a:r>
              <a:rPr sz="1000" spc="0" dirty="0" smtClean="0">
                <a:latin typeface="Cambria"/>
                <a:cs typeface="Cambria"/>
              </a:rPr>
              <a:t>Cu</a:t>
            </a:r>
            <a:r>
              <a:rPr sz="1000" spc="4" dirty="0" smtClean="0">
                <a:latin typeface="Cambria"/>
                <a:cs typeface="Cambria"/>
              </a:rPr>
              <a:t>s</a:t>
            </a:r>
            <a:r>
              <a:rPr sz="1000" spc="0" dirty="0" smtClean="0">
                <a:latin typeface="Cambria"/>
                <a:cs typeface="Cambria"/>
              </a:rPr>
              <a:t>tom</a:t>
            </a:r>
            <a:r>
              <a:rPr sz="1000" spc="-9" dirty="0" smtClean="0">
                <a:latin typeface="Cambria"/>
                <a:cs typeface="Cambria"/>
              </a:rPr>
              <a:t>e</a:t>
            </a:r>
            <a:r>
              <a:rPr sz="1000" spc="0" dirty="0" smtClean="0">
                <a:latin typeface="Cambria"/>
                <a:cs typeface="Cambria"/>
              </a:rPr>
              <a:t>r</a:t>
            </a:r>
            <a:r>
              <a:rPr sz="1000" spc="-36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t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-4" dirty="0" smtClean="0">
                <a:latin typeface="Cambria"/>
                <a:cs typeface="Cambria"/>
              </a:rPr>
              <a:t>b</a:t>
            </a:r>
            <a:r>
              <a:rPr sz="1000" spc="4" dirty="0" smtClean="0">
                <a:latin typeface="Cambria"/>
                <a:cs typeface="Cambria"/>
              </a:rPr>
              <a:t>l</a:t>
            </a:r>
            <a:r>
              <a:rPr sz="1000" spc="0" dirty="0" smtClean="0">
                <a:latin typeface="Cambria"/>
                <a:cs typeface="Cambria"/>
              </a:rPr>
              <a:t>e</a:t>
            </a:r>
            <a:r>
              <a:rPr sz="1000" spc="-21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Id</a:t>
            </a:r>
            <a:r>
              <a:rPr sz="1000" spc="-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= 100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450329" y="1426394"/>
            <a:ext cx="1992630" cy="2834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00"/>
              </a:lnSpc>
              <a:spcBef>
                <a:spcPts val="48"/>
              </a:spcBef>
            </a:pPr>
            <a:endParaRPr sz="900"/>
          </a:p>
          <a:p>
            <a:pPr marL="37973">
              <a:lnSpc>
                <a:spcPct val="97696"/>
              </a:lnSpc>
            </a:pPr>
            <a:r>
              <a:rPr sz="1000" spc="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USI</a:t>
            </a:r>
            <a:r>
              <a:rPr sz="1000" spc="-21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Va</a:t>
            </a:r>
            <a:r>
              <a:rPr sz="1000" spc="4" dirty="0" smtClean="0">
                <a:latin typeface="Cambria"/>
                <a:cs typeface="Cambria"/>
              </a:rPr>
              <a:t>l</a:t>
            </a:r>
            <a:r>
              <a:rPr sz="1000" spc="0" dirty="0" smtClean="0">
                <a:latin typeface="Cambria"/>
                <a:cs typeface="Cambria"/>
              </a:rPr>
              <a:t>ue</a:t>
            </a:r>
            <a:r>
              <a:rPr sz="1000" spc="-18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=</a:t>
            </a:r>
            <a:r>
              <a:rPr sz="1000" spc="-5" dirty="0" smtClean="0">
                <a:latin typeface="Cambria"/>
                <a:cs typeface="Cambria"/>
              </a:rPr>
              <a:t> </a:t>
            </a:r>
            <a:r>
              <a:rPr sz="1000" spc="-4" dirty="0" smtClean="0">
                <a:latin typeface="Cambria"/>
                <a:cs typeface="Cambria"/>
              </a:rPr>
              <a:t>‘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0" dirty="0" smtClean="0">
                <a:latin typeface="Cambria"/>
                <a:cs typeface="Cambria"/>
              </a:rPr>
              <a:t>d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0" dirty="0" smtClean="0">
                <a:latin typeface="Cambria"/>
                <a:cs typeface="Cambria"/>
              </a:rPr>
              <a:t>ms’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664716" y="1134224"/>
            <a:ext cx="3024505" cy="27763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456">
              <a:lnSpc>
                <a:spcPct val="97696"/>
              </a:lnSpc>
              <a:spcBef>
                <a:spcPts val="385"/>
              </a:spcBef>
            </a:pPr>
            <a:r>
              <a:rPr sz="1200" spc="-4" dirty="0" smtClean="0">
                <a:solidFill>
                  <a:srgbClr val="253046"/>
                </a:solidFill>
                <a:latin typeface="Cambria"/>
                <a:cs typeface="Cambria"/>
              </a:rPr>
              <a:t>C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R</a:t>
            </a:r>
            <a:r>
              <a:rPr sz="1200" spc="-9" dirty="0" smtClean="0">
                <a:solidFill>
                  <a:srgbClr val="253046"/>
                </a:solidFill>
                <a:latin typeface="Cambria"/>
                <a:cs typeface="Cambria"/>
              </a:rPr>
              <a:t>E</a:t>
            </a:r>
            <a:r>
              <a:rPr sz="1200" spc="-75" dirty="0" smtClean="0">
                <a:solidFill>
                  <a:srgbClr val="253046"/>
                </a:solidFill>
                <a:latin typeface="Cambria"/>
                <a:cs typeface="Cambria"/>
              </a:rPr>
              <a:t>A</a:t>
            </a:r>
            <a:r>
              <a:rPr sz="1200" spc="-4" dirty="0" smtClean="0">
                <a:solidFill>
                  <a:srgbClr val="253046"/>
                </a:solidFill>
                <a:latin typeface="Cambria"/>
                <a:cs typeface="Cambria"/>
              </a:rPr>
              <a:t>T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E</a:t>
            </a:r>
            <a:r>
              <a:rPr sz="1200" spc="-4" dirty="0" smtClean="0">
                <a:solidFill>
                  <a:srgbClr val="253046"/>
                </a:solidFill>
                <a:latin typeface="Cambria"/>
                <a:cs typeface="Cambria"/>
              </a:rPr>
              <a:t> I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NDEX  (name)</a:t>
            </a:r>
            <a:r>
              <a:rPr sz="1200" spc="25" dirty="0" smtClean="0">
                <a:solidFill>
                  <a:srgbClr val="253046"/>
                </a:solidFill>
                <a:latin typeface="Cambria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on cus</a:t>
            </a:r>
            <a:r>
              <a:rPr sz="1200" spc="-9" dirty="0" smtClean="0">
                <a:solidFill>
                  <a:srgbClr val="253046"/>
                </a:solidFill>
                <a:latin typeface="Cambria"/>
                <a:cs typeface="Cambria"/>
              </a:rPr>
              <a:t>t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o</a:t>
            </a:r>
            <a:r>
              <a:rPr sz="1200" spc="-4" dirty="0" smtClean="0">
                <a:solidFill>
                  <a:srgbClr val="253046"/>
                </a:solidFill>
                <a:latin typeface="Cambria"/>
                <a:cs typeface="Cambria"/>
              </a:rPr>
              <a:t>m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er;</a:t>
            </a:r>
            <a:endParaRPr sz="1200">
              <a:latin typeface="Cambria"/>
              <a:cs typeface="Cambria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2" y="6223000"/>
            <a:ext cx="9905998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ing and Accessing Data Rows</a:t>
            </a:r>
            <a:endParaRPr lang="en-US" dirty="0"/>
          </a:p>
        </p:txBody>
      </p:sp>
      <p:sp>
        <p:nvSpPr>
          <p:cNvPr id="13" name="object 13"/>
          <p:cNvSpPr/>
          <p:nvPr/>
        </p:nvSpPr>
        <p:spPr>
          <a:xfrm>
            <a:off x="-2223311" y="4344436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Content Placeholder 1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object 47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1581214" y="1472273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1587315" y="1473556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4691320" y="1472273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4697419" y="1473556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5899192" y="1472273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5905291" y="1473556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1572284" y="1905982"/>
            <a:ext cx="8929" cy="0"/>
          </a:xfrm>
          <a:custGeom>
            <a:avLst/>
            <a:gdLst/>
            <a:ahLst/>
            <a:cxnLst/>
            <a:rect l="l" t="t" r="r" b="b"/>
            <a:pathLst>
              <a:path w="8929">
                <a:moveTo>
                  <a:pt x="0" y="0"/>
                </a:moveTo>
                <a:lnTo>
                  <a:pt x="8929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1578384" y="1907433"/>
            <a:ext cx="5952" cy="0"/>
          </a:xfrm>
          <a:custGeom>
            <a:avLst/>
            <a:gdLst/>
            <a:ahLst/>
            <a:cxnLst/>
            <a:rect l="l" t="t" r="r" b="b"/>
            <a:pathLst>
              <a:path w="5952">
                <a:moveTo>
                  <a:pt x="0" y="0"/>
                </a:moveTo>
                <a:lnTo>
                  <a:pt x="595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7" name="object 57"/>
          <p:cNvSpPr/>
          <p:nvPr/>
        </p:nvSpPr>
        <p:spPr>
          <a:xfrm>
            <a:off x="1581214" y="1905982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1587315" y="1907433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4682657" y="1905982"/>
            <a:ext cx="8632" cy="0"/>
          </a:xfrm>
          <a:custGeom>
            <a:avLst/>
            <a:gdLst/>
            <a:ahLst/>
            <a:cxnLst/>
            <a:rect l="l" t="t" r="r" b="b"/>
            <a:pathLst>
              <a:path w="8631">
                <a:moveTo>
                  <a:pt x="0" y="0"/>
                </a:moveTo>
                <a:lnTo>
                  <a:pt x="8631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4688756" y="1907433"/>
            <a:ext cx="5612" cy="0"/>
          </a:xfrm>
          <a:custGeom>
            <a:avLst/>
            <a:gdLst/>
            <a:ahLst/>
            <a:cxnLst/>
            <a:rect l="l" t="t" r="r" b="b"/>
            <a:pathLst>
              <a:path w="5612">
                <a:moveTo>
                  <a:pt x="0" y="0"/>
                </a:moveTo>
                <a:lnTo>
                  <a:pt x="561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4691320" y="1905982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4697419" y="1907433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3" name="object 63"/>
          <p:cNvSpPr/>
          <p:nvPr/>
        </p:nvSpPr>
        <p:spPr>
          <a:xfrm>
            <a:off x="5890163" y="1905982"/>
            <a:ext cx="8929" cy="0"/>
          </a:xfrm>
          <a:custGeom>
            <a:avLst/>
            <a:gdLst/>
            <a:ahLst/>
            <a:cxnLst/>
            <a:rect l="l" t="t" r="r" b="b"/>
            <a:pathLst>
              <a:path w="8928">
                <a:moveTo>
                  <a:pt x="0" y="0"/>
                </a:moveTo>
                <a:lnTo>
                  <a:pt x="8928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4" name="object 64"/>
          <p:cNvSpPr/>
          <p:nvPr/>
        </p:nvSpPr>
        <p:spPr>
          <a:xfrm>
            <a:off x="5896262" y="1907433"/>
            <a:ext cx="5978" cy="0"/>
          </a:xfrm>
          <a:custGeom>
            <a:avLst/>
            <a:gdLst/>
            <a:ahLst/>
            <a:cxnLst/>
            <a:rect l="l" t="t" r="r" b="b"/>
            <a:pathLst>
              <a:path w="5978">
                <a:moveTo>
                  <a:pt x="0" y="0"/>
                </a:moveTo>
                <a:lnTo>
                  <a:pt x="597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5" name="object 65"/>
          <p:cNvSpPr/>
          <p:nvPr/>
        </p:nvSpPr>
        <p:spPr>
          <a:xfrm>
            <a:off x="5899192" y="1905982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6" name="object 66"/>
          <p:cNvSpPr/>
          <p:nvPr/>
        </p:nvSpPr>
        <p:spPr>
          <a:xfrm>
            <a:off x="5905291" y="1907433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7" name="object 67"/>
          <p:cNvSpPr/>
          <p:nvPr/>
        </p:nvSpPr>
        <p:spPr>
          <a:xfrm>
            <a:off x="1572284" y="2276085"/>
            <a:ext cx="8929" cy="0"/>
          </a:xfrm>
          <a:custGeom>
            <a:avLst/>
            <a:gdLst/>
            <a:ahLst/>
            <a:cxnLst/>
            <a:rect l="l" t="t" r="r" b="b"/>
            <a:pathLst>
              <a:path w="8929">
                <a:moveTo>
                  <a:pt x="0" y="0"/>
                </a:moveTo>
                <a:lnTo>
                  <a:pt x="8929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8" name="object 68"/>
          <p:cNvSpPr/>
          <p:nvPr/>
        </p:nvSpPr>
        <p:spPr>
          <a:xfrm>
            <a:off x="1578384" y="2277441"/>
            <a:ext cx="5952" cy="0"/>
          </a:xfrm>
          <a:custGeom>
            <a:avLst/>
            <a:gdLst/>
            <a:ahLst/>
            <a:cxnLst/>
            <a:rect l="l" t="t" r="r" b="b"/>
            <a:pathLst>
              <a:path w="5952">
                <a:moveTo>
                  <a:pt x="0" y="0"/>
                </a:moveTo>
                <a:lnTo>
                  <a:pt x="595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9" name="object 69"/>
          <p:cNvSpPr/>
          <p:nvPr/>
        </p:nvSpPr>
        <p:spPr>
          <a:xfrm>
            <a:off x="1581214" y="2276085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1587315" y="2277441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1" name="object 71"/>
          <p:cNvSpPr/>
          <p:nvPr/>
        </p:nvSpPr>
        <p:spPr>
          <a:xfrm>
            <a:off x="4682657" y="2276085"/>
            <a:ext cx="8632" cy="0"/>
          </a:xfrm>
          <a:custGeom>
            <a:avLst/>
            <a:gdLst/>
            <a:ahLst/>
            <a:cxnLst/>
            <a:rect l="l" t="t" r="r" b="b"/>
            <a:pathLst>
              <a:path w="8631">
                <a:moveTo>
                  <a:pt x="0" y="0"/>
                </a:moveTo>
                <a:lnTo>
                  <a:pt x="8631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2" name="object 72"/>
          <p:cNvSpPr/>
          <p:nvPr/>
        </p:nvSpPr>
        <p:spPr>
          <a:xfrm>
            <a:off x="4688756" y="2277441"/>
            <a:ext cx="5612" cy="0"/>
          </a:xfrm>
          <a:custGeom>
            <a:avLst/>
            <a:gdLst/>
            <a:ahLst/>
            <a:cxnLst/>
            <a:rect l="l" t="t" r="r" b="b"/>
            <a:pathLst>
              <a:path w="5612">
                <a:moveTo>
                  <a:pt x="0" y="0"/>
                </a:moveTo>
                <a:lnTo>
                  <a:pt x="561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3" name="object 73"/>
          <p:cNvSpPr/>
          <p:nvPr/>
        </p:nvSpPr>
        <p:spPr>
          <a:xfrm>
            <a:off x="4691320" y="2276085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4697419" y="2277441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5" name="object 75"/>
          <p:cNvSpPr/>
          <p:nvPr/>
        </p:nvSpPr>
        <p:spPr>
          <a:xfrm>
            <a:off x="5890163" y="2276085"/>
            <a:ext cx="8929" cy="0"/>
          </a:xfrm>
          <a:custGeom>
            <a:avLst/>
            <a:gdLst/>
            <a:ahLst/>
            <a:cxnLst/>
            <a:rect l="l" t="t" r="r" b="b"/>
            <a:pathLst>
              <a:path w="8928">
                <a:moveTo>
                  <a:pt x="0" y="0"/>
                </a:moveTo>
                <a:lnTo>
                  <a:pt x="8928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6" name="object 76"/>
          <p:cNvSpPr/>
          <p:nvPr/>
        </p:nvSpPr>
        <p:spPr>
          <a:xfrm>
            <a:off x="5896262" y="2277441"/>
            <a:ext cx="5978" cy="0"/>
          </a:xfrm>
          <a:custGeom>
            <a:avLst/>
            <a:gdLst/>
            <a:ahLst/>
            <a:cxnLst/>
            <a:rect l="l" t="t" r="r" b="b"/>
            <a:pathLst>
              <a:path w="5978">
                <a:moveTo>
                  <a:pt x="0" y="0"/>
                </a:moveTo>
                <a:lnTo>
                  <a:pt x="597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7" name="object 77"/>
          <p:cNvSpPr/>
          <p:nvPr/>
        </p:nvSpPr>
        <p:spPr>
          <a:xfrm>
            <a:off x="5899192" y="2276085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5905291" y="2277441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1572284" y="2646355"/>
            <a:ext cx="8929" cy="0"/>
          </a:xfrm>
          <a:custGeom>
            <a:avLst/>
            <a:gdLst/>
            <a:ahLst/>
            <a:cxnLst/>
            <a:rect l="l" t="t" r="r" b="b"/>
            <a:pathLst>
              <a:path w="8929">
                <a:moveTo>
                  <a:pt x="0" y="0"/>
                </a:moveTo>
                <a:lnTo>
                  <a:pt x="8929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1578384" y="2647543"/>
            <a:ext cx="5952" cy="0"/>
          </a:xfrm>
          <a:custGeom>
            <a:avLst/>
            <a:gdLst/>
            <a:ahLst/>
            <a:cxnLst/>
            <a:rect l="l" t="t" r="r" b="b"/>
            <a:pathLst>
              <a:path w="5952">
                <a:moveTo>
                  <a:pt x="0" y="0"/>
                </a:moveTo>
                <a:lnTo>
                  <a:pt x="595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1" name="object 81"/>
          <p:cNvSpPr/>
          <p:nvPr/>
        </p:nvSpPr>
        <p:spPr>
          <a:xfrm>
            <a:off x="1581214" y="2646355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1587315" y="2647543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3" name="object 83"/>
          <p:cNvSpPr/>
          <p:nvPr/>
        </p:nvSpPr>
        <p:spPr>
          <a:xfrm>
            <a:off x="4682657" y="2646355"/>
            <a:ext cx="8632" cy="0"/>
          </a:xfrm>
          <a:custGeom>
            <a:avLst/>
            <a:gdLst/>
            <a:ahLst/>
            <a:cxnLst/>
            <a:rect l="l" t="t" r="r" b="b"/>
            <a:pathLst>
              <a:path w="8631">
                <a:moveTo>
                  <a:pt x="0" y="0"/>
                </a:moveTo>
                <a:lnTo>
                  <a:pt x="8631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4688756" y="2647543"/>
            <a:ext cx="5612" cy="0"/>
          </a:xfrm>
          <a:custGeom>
            <a:avLst/>
            <a:gdLst/>
            <a:ahLst/>
            <a:cxnLst/>
            <a:rect l="l" t="t" r="r" b="b"/>
            <a:pathLst>
              <a:path w="5612">
                <a:moveTo>
                  <a:pt x="0" y="0"/>
                </a:moveTo>
                <a:lnTo>
                  <a:pt x="561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5" name="object 85"/>
          <p:cNvSpPr/>
          <p:nvPr/>
        </p:nvSpPr>
        <p:spPr>
          <a:xfrm>
            <a:off x="4691320" y="2646355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4697419" y="2647543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7" name="object 87"/>
          <p:cNvSpPr/>
          <p:nvPr/>
        </p:nvSpPr>
        <p:spPr>
          <a:xfrm>
            <a:off x="5890163" y="2646355"/>
            <a:ext cx="8929" cy="0"/>
          </a:xfrm>
          <a:custGeom>
            <a:avLst/>
            <a:gdLst/>
            <a:ahLst/>
            <a:cxnLst/>
            <a:rect l="l" t="t" r="r" b="b"/>
            <a:pathLst>
              <a:path w="8928">
                <a:moveTo>
                  <a:pt x="0" y="0"/>
                </a:moveTo>
                <a:lnTo>
                  <a:pt x="8928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5896262" y="2647543"/>
            <a:ext cx="5978" cy="0"/>
          </a:xfrm>
          <a:custGeom>
            <a:avLst/>
            <a:gdLst/>
            <a:ahLst/>
            <a:cxnLst/>
            <a:rect l="l" t="t" r="r" b="b"/>
            <a:pathLst>
              <a:path w="5978">
                <a:moveTo>
                  <a:pt x="0" y="0"/>
                </a:moveTo>
                <a:lnTo>
                  <a:pt x="597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9" name="object 89"/>
          <p:cNvSpPr/>
          <p:nvPr/>
        </p:nvSpPr>
        <p:spPr>
          <a:xfrm>
            <a:off x="5899192" y="2646355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0" name="object 90"/>
          <p:cNvSpPr/>
          <p:nvPr/>
        </p:nvSpPr>
        <p:spPr>
          <a:xfrm>
            <a:off x="5905291" y="2647543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1" name="object 91"/>
          <p:cNvSpPr/>
          <p:nvPr/>
        </p:nvSpPr>
        <p:spPr>
          <a:xfrm>
            <a:off x="1572284" y="3016363"/>
            <a:ext cx="8929" cy="0"/>
          </a:xfrm>
          <a:custGeom>
            <a:avLst/>
            <a:gdLst/>
            <a:ahLst/>
            <a:cxnLst/>
            <a:rect l="l" t="t" r="r" b="b"/>
            <a:pathLst>
              <a:path w="8929">
                <a:moveTo>
                  <a:pt x="0" y="0"/>
                </a:moveTo>
                <a:lnTo>
                  <a:pt x="8929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2" name="object 92"/>
          <p:cNvSpPr/>
          <p:nvPr/>
        </p:nvSpPr>
        <p:spPr>
          <a:xfrm>
            <a:off x="1578384" y="3017646"/>
            <a:ext cx="5952" cy="0"/>
          </a:xfrm>
          <a:custGeom>
            <a:avLst/>
            <a:gdLst/>
            <a:ahLst/>
            <a:cxnLst/>
            <a:rect l="l" t="t" r="r" b="b"/>
            <a:pathLst>
              <a:path w="5952">
                <a:moveTo>
                  <a:pt x="0" y="0"/>
                </a:moveTo>
                <a:lnTo>
                  <a:pt x="595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1581214" y="3016363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4" name="object 94"/>
          <p:cNvSpPr/>
          <p:nvPr/>
        </p:nvSpPr>
        <p:spPr>
          <a:xfrm>
            <a:off x="1587315" y="3017646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5" name="object 95"/>
          <p:cNvSpPr/>
          <p:nvPr/>
        </p:nvSpPr>
        <p:spPr>
          <a:xfrm>
            <a:off x="4682657" y="3016363"/>
            <a:ext cx="8632" cy="0"/>
          </a:xfrm>
          <a:custGeom>
            <a:avLst/>
            <a:gdLst/>
            <a:ahLst/>
            <a:cxnLst/>
            <a:rect l="l" t="t" r="r" b="b"/>
            <a:pathLst>
              <a:path w="8631">
                <a:moveTo>
                  <a:pt x="0" y="0"/>
                </a:moveTo>
                <a:lnTo>
                  <a:pt x="8631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6" name="object 96"/>
          <p:cNvSpPr/>
          <p:nvPr/>
        </p:nvSpPr>
        <p:spPr>
          <a:xfrm>
            <a:off x="4688756" y="3017646"/>
            <a:ext cx="5612" cy="0"/>
          </a:xfrm>
          <a:custGeom>
            <a:avLst/>
            <a:gdLst/>
            <a:ahLst/>
            <a:cxnLst/>
            <a:rect l="l" t="t" r="r" b="b"/>
            <a:pathLst>
              <a:path w="5612">
                <a:moveTo>
                  <a:pt x="0" y="0"/>
                </a:moveTo>
                <a:lnTo>
                  <a:pt x="561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7" name="object 97"/>
          <p:cNvSpPr/>
          <p:nvPr/>
        </p:nvSpPr>
        <p:spPr>
          <a:xfrm>
            <a:off x="4691320" y="3016363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8" name="object 98"/>
          <p:cNvSpPr/>
          <p:nvPr/>
        </p:nvSpPr>
        <p:spPr>
          <a:xfrm>
            <a:off x="4697419" y="3017646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5890163" y="3016363"/>
            <a:ext cx="8929" cy="0"/>
          </a:xfrm>
          <a:custGeom>
            <a:avLst/>
            <a:gdLst/>
            <a:ahLst/>
            <a:cxnLst/>
            <a:rect l="l" t="t" r="r" b="b"/>
            <a:pathLst>
              <a:path w="8928">
                <a:moveTo>
                  <a:pt x="0" y="0"/>
                </a:moveTo>
                <a:lnTo>
                  <a:pt x="8928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0" name="object 100"/>
          <p:cNvSpPr/>
          <p:nvPr/>
        </p:nvSpPr>
        <p:spPr>
          <a:xfrm>
            <a:off x="5896262" y="3017646"/>
            <a:ext cx="5978" cy="0"/>
          </a:xfrm>
          <a:custGeom>
            <a:avLst/>
            <a:gdLst/>
            <a:ahLst/>
            <a:cxnLst/>
            <a:rect l="l" t="t" r="r" b="b"/>
            <a:pathLst>
              <a:path w="5978">
                <a:moveTo>
                  <a:pt x="0" y="0"/>
                </a:moveTo>
                <a:lnTo>
                  <a:pt x="597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1" name="object 101"/>
          <p:cNvSpPr/>
          <p:nvPr/>
        </p:nvSpPr>
        <p:spPr>
          <a:xfrm>
            <a:off x="5899192" y="3016363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2" name="object 102"/>
          <p:cNvSpPr/>
          <p:nvPr/>
        </p:nvSpPr>
        <p:spPr>
          <a:xfrm>
            <a:off x="5905291" y="3017646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3" name="object 103"/>
          <p:cNvSpPr/>
          <p:nvPr/>
        </p:nvSpPr>
        <p:spPr>
          <a:xfrm>
            <a:off x="1572284" y="3386465"/>
            <a:ext cx="8929" cy="0"/>
          </a:xfrm>
          <a:custGeom>
            <a:avLst/>
            <a:gdLst/>
            <a:ahLst/>
            <a:cxnLst/>
            <a:rect l="l" t="t" r="r" b="b"/>
            <a:pathLst>
              <a:path w="8929">
                <a:moveTo>
                  <a:pt x="0" y="0"/>
                </a:moveTo>
                <a:lnTo>
                  <a:pt x="8929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4" name="object 104"/>
          <p:cNvSpPr/>
          <p:nvPr/>
        </p:nvSpPr>
        <p:spPr>
          <a:xfrm>
            <a:off x="1578384" y="3387748"/>
            <a:ext cx="5952" cy="0"/>
          </a:xfrm>
          <a:custGeom>
            <a:avLst/>
            <a:gdLst/>
            <a:ahLst/>
            <a:cxnLst/>
            <a:rect l="l" t="t" r="r" b="b"/>
            <a:pathLst>
              <a:path w="5952">
                <a:moveTo>
                  <a:pt x="0" y="0"/>
                </a:moveTo>
                <a:lnTo>
                  <a:pt x="595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5" name="object 105"/>
          <p:cNvSpPr/>
          <p:nvPr/>
        </p:nvSpPr>
        <p:spPr>
          <a:xfrm>
            <a:off x="1581214" y="3386465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6" name="object 106"/>
          <p:cNvSpPr/>
          <p:nvPr/>
        </p:nvSpPr>
        <p:spPr>
          <a:xfrm>
            <a:off x="1587315" y="3387748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7" name="object 107"/>
          <p:cNvSpPr/>
          <p:nvPr/>
        </p:nvSpPr>
        <p:spPr>
          <a:xfrm>
            <a:off x="4682657" y="3386465"/>
            <a:ext cx="8632" cy="0"/>
          </a:xfrm>
          <a:custGeom>
            <a:avLst/>
            <a:gdLst/>
            <a:ahLst/>
            <a:cxnLst/>
            <a:rect l="l" t="t" r="r" b="b"/>
            <a:pathLst>
              <a:path w="8631">
                <a:moveTo>
                  <a:pt x="0" y="0"/>
                </a:moveTo>
                <a:lnTo>
                  <a:pt x="8631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8" name="object 108"/>
          <p:cNvSpPr/>
          <p:nvPr/>
        </p:nvSpPr>
        <p:spPr>
          <a:xfrm>
            <a:off x="4688756" y="3387748"/>
            <a:ext cx="5612" cy="0"/>
          </a:xfrm>
          <a:custGeom>
            <a:avLst/>
            <a:gdLst/>
            <a:ahLst/>
            <a:cxnLst/>
            <a:rect l="l" t="t" r="r" b="b"/>
            <a:pathLst>
              <a:path w="5612">
                <a:moveTo>
                  <a:pt x="0" y="0"/>
                </a:moveTo>
                <a:lnTo>
                  <a:pt x="561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9" name="object 109"/>
          <p:cNvSpPr/>
          <p:nvPr/>
        </p:nvSpPr>
        <p:spPr>
          <a:xfrm>
            <a:off x="4691320" y="3386465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4697419" y="3387748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1" name="object 111"/>
          <p:cNvSpPr/>
          <p:nvPr/>
        </p:nvSpPr>
        <p:spPr>
          <a:xfrm>
            <a:off x="5890163" y="3386465"/>
            <a:ext cx="8929" cy="0"/>
          </a:xfrm>
          <a:custGeom>
            <a:avLst/>
            <a:gdLst/>
            <a:ahLst/>
            <a:cxnLst/>
            <a:rect l="l" t="t" r="r" b="b"/>
            <a:pathLst>
              <a:path w="8928">
                <a:moveTo>
                  <a:pt x="0" y="0"/>
                </a:moveTo>
                <a:lnTo>
                  <a:pt x="8928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2" name="object 112"/>
          <p:cNvSpPr/>
          <p:nvPr/>
        </p:nvSpPr>
        <p:spPr>
          <a:xfrm>
            <a:off x="5896262" y="3387748"/>
            <a:ext cx="5978" cy="0"/>
          </a:xfrm>
          <a:custGeom>
            <a:avLst/>
            <a:gdLst/>
            <a:ahLst/>
            <a:cxnLst/>
            <a:rect l="l" t="t" r="r" b="b"/>
            <a:pathLst>
              <a:path w="5978">
                <a:moveTo>
                  <a:pt x="0" y="0"/>
                </a:moveTo>
                <a:lnTo>
                  <a:pt x="597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3" name="object 113"/>
          <p:cNvSpPr/>
          <p:nvPr/>
        </p:nvSpPr>
        <p:spPr>
          <a:xfrm>
            <a:off x="5899192" y="3386465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4" name="object 114"/>
          <p:cNvSpPr/>
          <p:nvPr/>
        </p:nvSpPr>
        <p:spPr>
          <a:xfrm>
            <a:off x="5905291" y="3387748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5" name="object 115"/>
          <p:cNvSpPr/>
          <p:nvPr/>
        </p:nvSpPr>
        <p:spPr>
          <a:xfrm>
            <a:off x="1572284" y="3756683"/>
            <a:ext cx="8929" cy="0"/>
          </a:xfrm>
          <a:custGeom>
            <a:avLst/>
            <a:gdLst/>
            <a:ahLst/>
            <a:cxnLst/>
            <a:rect l="l" t="t" r="r" b="b"/>
            <a:pathLst>
              <a:path w="8929">
                <a:moveTo>
                  <a:pt x="0" y="0"/>
                </a:moveTo>
                <a:lnTo>
                  <a:pt x="8929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6" name="object 116"/>
          <p:cNvSpPr/>
          <p:nvPr/>
        </p:nvSpPr>
        <p:spPr>
          <a:xfrm>
            <a:off x="1578384" y="3758133"/>
            <a:ext cx="5952" cy="0"/>
          </a:xfrm>
          <a:custGeom>
            <a:avLst/>
            <a:gdLst/>
            <a:ahLst/>
            <a:cxnLst/>
            <a:rect l="l" t="t" r="r" b="b"/>
            <a:pathLst>
              <a:path w="5952">
                <a:moveTo>
                  <a:pt x="0" y="0"/>
                </a:moveTo>
                <a:lnTo>
                  <a:pt x="595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7" name="object 117"/>
          <p:cNvSpPr/>
          <p:nvPr/>
        </p:nvSpPr>
        <p:spPr>
          <a:xfrm>
            <a:off x="1581214" y="3756683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8" name="object 118"/>
          <p:cNvSpPr/>
          <p:nvPr/>
        </p:nvSpPr>
        <p:spPr>
          <a:xfrm>
            <a:off x="1587315" y="3758133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9" name="object 119"/>
          <p:cNvSpPr/>
          <p:nvPr/>
        </p:nvSpPr>
        <p:spPr>
          <a:xfrm>
            <a:off x="4682657" y="3756683"/>
            <a:ext cx="8632" cy="0"/>
          </a:xfrm>
          <a:custGeom>
            <a:avLst/>
            <a:gdLst/>
            <a:ahLst/>
            <a:cxnLst/>
            <a:rect l="l" t="t" r="r" b="b"/>
            <a:pathLst>
              <a:path w="8631">
                <a:moveTo>
                  <a:pt x="0" y="0"/>
                </a:moveTo>
                <a:lnTo>
                  <a:pt x="8631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0" name="object 120"/>
          <p:cNvSpPr/>
          <p:nvPr/>
        </p:nvSpPr>
        <p:spPr>
          <a:xfrm>
            <a:off x="4688756" y="3758133"/>
            <a:ext cx="5612" cy="0"/>
          </a:xfrm>
          <a:custGeom>
            <a:avLst/>
            <a:gdLst/>
            <a:ahLst/>
            <a:cxnLst/>
            <a:rect l="l" t="t" r="r" b="b"/>
            <a:pathLst>
              <a:path w="5612">
                <a:moveTo>
                  <a:pt x="0" y="0"/>
                </a:moveTo>
                <a:lnTo>
                  <a:pt x="561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1" name="object 121"/>
          <p:cNvSpPr/>
          <p:nvPr/>
        </p:nvSpPr>
        <p:spPr>
          <a:xfrm>
            <a:off x="4691320" y="3756683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2" name="object 122"/>
          <p:cNvSpPr/>
          <p:nvPr/>
        </p:nvSpPr>
        <p:spPr>
          <a:xfrm>
            <a:off x="4697419" y="3758133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3" name="object 123"/>
          <p:cNvSpPr/>
          <p:nvPr/>
        </p:nvSpPr>
        <p:spPr>
          <a:xfrm>
            <a:off x="5890163" y="3756683"/>
            <a:ext cx="8929" cy="0"/>
          </a:xfrm>
          <a:custGeom>
            <a:avLst/>
            <a:gdLst/>
            <a:ahLst/>
            <a:cxnLst/>
            <a:rect l="l" t="t" r="r" b="b"/>
            <a:pathLst>
              <a:path w="8928">
                <a:moveTo>
                  <a:pt x="0" y="0"/>
                </a:moveTo>
                <a:lnTo>
                  <a:pt x="8928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4" name="object 124"/>
          <p:cNvSpPr/>
          <p:nvPr/>
        </p:nvSpPr>
        <p:spPr>
          <a:xfrm>
            <a:off x="5896262" y="3758133"/>
            <a:ext cx="5978" cy="0"/>
          </a:xfrm>
          <a:custGeom>
            <a:avLst/>
            <a:gdLst/>
            <a:ahLst/>
            <a:cxnLst/>
            <a:rect l="l" t="t" r="r" b="b"/>
            <a:pathLst>
              <a:path w="5978">
                <a:moveTo>
                  <a:pt x="0" y="0"/>
                </a:moveTo>
                <a:lnTo>
                  <a:pt x="597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5" name="object 125"/>
          <p:cNvSpPr/>
          <p:nvPr/>
        </p:nvSpPr>
        <p:spPr>
          <a:xfrm>
            <a:off x="5899192" y="3756683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6" name="object 126"/>
          <p:cNvSpPr/>
          <p:nvPr/>
        </p:nvSpPr>
        <p:spPr>
          <a:xfrm>
            <a:off x="5905291" y="3758133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7" name="object 127"/>
          <p:cNvSpPr/>
          <p:nvPr/>
        </p:nvSpPr>
        <p:spPr>
          <a:xfrm>
            <a:off x="1572284" y="4126953"/>
            <a:ext cx="8929" cy="0"/>
          </a:xfrm>
          <a:custGeom>
            <a:avLst/>
            <a:gdLst/>
            <a:ahLst/>
            <a:cxnLst/>
            <a:rect l="l" t="t" r="r" b="b"/>
            <a:pathLst>
              <a:path w="8929">
                <a:moveTo>
                  <a:pt x="0" y="0"/>
                </a:moveTo>
                <a:lnTo>
                  <a:pt x="8929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8" name="object 128"/>
          <p:cNvSpPr/>
          <p:nvPr/>
        </p:nvSpPr>
        <p:spPr>
          <a:xfrm>
            <a:off x="1578384" y="4128236"/>
            <a:ext cx="5952" cy="0"/>
          </a:xfrm>
          <a:custGeom>
            <a:avLst/>
            <a:gdLst/>
            <a:ahLst/>
            <a:cxnLst/>
            <a:rect l="l" t="t" r="r" b="b"/>
            <a:pathLst>
              <a:path w="5952">
                <a:moveTo>
                  <a:pt x="0" y="0"/>
                </a:moveTo>
                <a:lnTo>
                  <a:pt x="595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9" name="object 129"/>
          <p:cNvSpPr/>
          <p:nvPr/>
        </p:nvSpPr>
        <p:spPr>
          <a:xfrm>
            <a:off x="1581214" y="4126953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0" name="object 130"/>
          <p:cNvSpPr/>
          <p:nvPr/>
        </p:nvSpPr>
        <p:spPr>
          <a:xfrm>
            <a:off x="1587315" y="4128236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1" name="object 131"/>
          <p:cNvSpPr/>
          <p:nvPr/>
        </p:nvSpPr>
        <p:spPr>
          <a:xfrm>
            <a:off x="4682657" y="4126953"/>
            <a:ext cx="8632" cy="0"/>
          </a:xfrm>
          <a:custGeom>
            <a:avLst/>
            <a:gdLst/>
            <a:ahLst/>
            <a:cxnLst/>
            <a:rect l="l" t="t" r="r" b="b"/>
            <a:pathLst>
              <a:path w="8631">
                <a:moveTo>
                  <a:pt x="0" y="0"/>
                </a:moveTo>
                <a:lnTo>
                  <a:pt x="8631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2" name="object 132"/>
          <p:cNvSpPr/>
          <p:nvPr/>
        </p:nvSpPr>
        <p:spPr>
          <a:xfrm>
            <a:off x="4688756" y="4128236"/>
            <a:ext cx="5612" cy="0"/>
          </a:xfrm>
          <a:custGeom>
            <a:avLst/>
            <a:gdLst/>
            <a:ahLst/>
            <a:cxnLst/>
            <a:rect l="l" t="t" r="r" b="b"/>
            <a:pathLst>
              <a:path w="5612">
                <a:moveTo>
                  <a:pt x="0" y="0"/>
                </a:moveTo>
                <a:lnTo>
                  <a:pt x="561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3" name="object 133"/>
          <p:cNvSpPr/>
          <p:nvPr/>
        </p:nvSpPr>
        <p:spPr>
          <a:xfrm>
            <a:off x="4691320" y="4126953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4" name="object 134"/>
          <p:cNvSpPr/>
          <p:nvPr/>
        </p:nvSpPr>
        <p:spPr>
          <a:xfrm>
            <a:off x="4697419" y="4128236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5" name="object 135"/>
          <p:cNvSpPr/>
          <p:nvPr/>
        </p:nvSpPr>
        <p:spPr>
          <a:xfrm>
            <a:off x="5890163" y="4126953"/>
            <a:ext cx="8929" cy="0"/>
          </a:xfrm>
          <a:custGeom>
            <a:avLst/>
            <a:gdLst/>
            <a:ahLst/>
            <a:cxnLst/>
            <a:rect l="l" t="t" r="r" b="b"/>
            <a:pathLst>
              <a:path w="8928">
                <a:moveTo>
                  <a:pt x="0" y="0"/>
                </a:moveTo>
                <a:lnTo>
                  <a:pt x="8928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6" name="object 136"/>
          <p:cNvSpPr/>
          <p:nvPr/>
        </p:nvSpPr>
        <p:spPr>
          <a:xfrm>
            <a:off x="5896262" y="4128236"/>
            <a:ext cx="5978" cy="0"/>
          </a:xfrm>
          <a:custGeom>
            <a:avLst/>
            <a:gdLst/>
            <a:ahLst/>
            <a:cxnLst/>
            <a:rect l="l" t="t" r="r" b="b"/>
            <a:pathLst>
              <a:path w="5978">
                <a:moveTo>
                  <a:pt x="0" y="0"/>
                </a:moveTo>
                <a:lnTo>
                  <a:pt x="597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7" name="object 137"/>
          <p:cNvSpPr/>
          <p:nvPr/>
        </p:nvSpPr>
        <p:spPr>
          <a:xfrm>
            <a:off x="5899192" y="4126953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8" name="object 138"/>
          <p:cNvSpPr/>
          <p:nvPr/>
        </p:nvSpPr>
        <p:spPr>
          <a:xfrm>
            <a:off x="5905291" y="4128236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9" name="object 139"/>
          <p:cNvSpPr/>
          <p:nvPr/>
        </p:nvSpPr>
        <p:spPr>
          <a:xfrm>
            <a:off x="1572284" y="4497055"/>
            <a:ext cx="8929" cy="0"/>
          </a:xfrm>
          <a:custGeom>
            <a:avLst/>
            <a:gdLst/>
            <a:ahLst/>
            <a:cxnLst/>
            <a:rect l="l" t="t" r="r" b="b"/>
            <a:pathLst>
              <a:path w="8929">
                <a:moveTo>
                  <a:pt x="0" y="0"/>
                </a:moveTo>
                <a:lnTo>
                  <a:pt x="8929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0" name="object 140"/>
          <p:cNvSpPr/>
          <p:nvPr/>
        </p:nvSpPr>
        <p:spPr>
          <a:xfrm>
            <a:off x="1578384" y="4498244"/>
            <a:ext cx="5952" cy="0"/>
          </a:xfrm>
          <a:custGeom>
            <a:avLst/>
            <a:gdLst/>
            <a:ahLst/>
            <a:cxnLst/>
            <a:rect l="l" t="t" r="r" b="b"/>
            <a:pathLst>
              <a:path w="5952">
                <a:moveTo>
                  <a:pt x="0" y="0"/>
                </a:moveTo>
                <a:lnTo>
                  <a:pt x="595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1" name="object 141"/>
          <p:cNvSpPr/>
          <p:nvPr/>
        </p:nvSpPr>
        <p:spPr>
          <a:xfrm>
            <a:off x="1581214" y="4497055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2" name="object 142"/>
          <p:cNvSpPr/>
          <p:nvPr/>
        </p:nvSpPr>
        <p:spPr>
          <a:xfrm>
            <a:off x="1587315" y="4498244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3" name="object 143"/>
          <p:cNvSpPr/>
          <p:nvPr/>
        </p:nvSpPr>
        <p:spPr>
          <a:xfrm>
            <a:off x="4682657" y="4497055"/>
            <a:ext cx="8632" cy="0"/>
          </a:xfrm>
          <a:custGeom>
            <a:avLst/>
            <a:gdLst/>
            <a:ahLst/>
            <a:cxnLst/>
            <a:rect l="l" t="t" r="r" b="b"/>
            <a:pathLst>
              <a:path w="8631">
                <a:moveTo>
                  <a:pt x="0" y="0"/>
                </a:moveTo>
                <a:lnTo>
                  <a:pt x="8631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4" name="object 144"/>
          <p:cNvSpPr/>
          <p:nvPr/>
        </p:nvSpPr>
        <p:spPr>
          <a:xfrm>
            <a:off x="4688756" y="4498244"/>
            <a:ext cx="5612" cy="0"/>
          </a:xfrm>
          <a:custGeom>
            <a:avLst/>
            <a:gdLst/>
            <a:ahLst/>
            <a:cxnLst/>
            <a:rect l="l" t="t" r="r" b="b"/>
            <a:pathLst>
              <a:path w="5612">
                <a:moveTo>
                  <a:pt x="0" y="0"/>
                </a:moveTo>
                <a:lnTo>
                  <a:pt x="561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5" name="object 145"/>
          <p:cNvSpPr/>
          <p:nvPr/>
        </p:nvSpPr>
        <p:spPr>
          <a:xfrm>
            <a:off x="4691320" y="4497055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6" name="object 146"/>
          <p:cNvSpPr/>
          <p:nvPr/>
        </p:nvSpPr>
        <p:spPr>
          <a:xfrm>
            <a:off x="4697419" y="4498244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7" name="object 147"/>
          <p:cNvSpPr/>
          <p:nvPr/>
        </p:nvSpPr>
        <p:spPr>
          <a:xfrm>
            <a:off x="5890163" y="4497055"/>
            <a:ext cx="8929" cy="0"/>
          </a:xfrm>
          <a:custGeom>
            <a:avLst/>
            <a:gdLst/>
            <a:ahLst/>
            <a:cxnLst/>
            <a:rect l="l" t="t" r="r" b="b"/>
            <a:pathLst>
              <a:path w="8928">
                <a:moveTo>
                  <a:pt x="0" y="0"/>
                </a:moveTo>
                <a:lnTo>
                  <a:pt x="8928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8" name="object 148"/>
          <p:cNvSpPr/>
          <p:nvPr/>
        </p:nvSpPr>
        <p:spPr>
          <a:xfrm>
            <a:off x="5896262" y="4498244"/>
            <a:ext cx="5978" cy="0"/>
          </a:xfrm>
          <a:custGeom>
            <a:avLst/>
            <a:gdLst/>
            <a:ahLst/>
            <a:cxnLst/>
            <a:rect l="l" t="t" r="r" b="b"/>
            <a:pathLst>
              <a:path w="5978">
                <a:moveTo>
                  <a:pt x="0" y="0"/>
                </a:moveTo>
                <a:lnTo>
                  <a:pt x="597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9" name="object 149"/>
          <p:cNvSpPr/>
          <p:nvPr/>
        </p:nvSpPr>
        <p:spPr>
          <a:xfrm>
            <a:off x="5899192" y="4497055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0" name="object 150"/>
          <p:cNvSpPr/>
          <p:nvPr/>
        </p:nvSpPr>
        <p:spPr>
          <a:xfrm>
            <a:off x="5905291" y="4498244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1" name="object 151"/>
          <p:cNvSpPr/>
          <p:nvPr/>
        </p:nvSpPr>
        <p:spPr>
          <a:xfrm>
            <a:off x="1572284" y="4867111"/>
            <a:ext cx="8929" cy="0"/>
          </a:xfrm>
          <a:custGeom>
            <a:avLst/>
            <a:gdLst/>
            <a:ahLst/>
            <a:cxnLst/>
            <a:rect l="l" t="t" r="r" b="b"/>
            <a:pathLst>
              <a:path w="8929">
                <a:moveTo>
                  <a:pt x="0" y="0"/>
                </a:moveTo>
                <a:lnTo>
                  <a:pt x="8929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2" name="object 152"/>
          <p:cNvSpPr/>
          <p:nvPr/>
        </p:nvSpPr>
        <p:spPr>
          <a:xfrm>
            <a:off x="1578384" y="4868374"/>
            <a:ext cx="5952" cy="0"/>
          </a:xfrm>
          <a:custGeom>
            <a:avLst/>
            <a:gdLst/>
            <a:ahLst/>
            <a:cxnLst/>
            <a:rect l="l" t="t" r="r" b="b"/>
            <a:pathLst>
              <a:path w="5952">
                <a:moveTo>
                  <a:pt x="0" y="0"/>
                </a:moveTo>
                <a:lnTo>
                  <a:pt x="595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3" name="object 153"/>
          <p:cNvSpPr/>
          <p:nvPr/>
        </p:nvSpPr>
        <p:spPr>
          <a:xfrm>
            <a:off x="1581214" y="4867111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4" name="object 154"/>
          <p:cNvSpPr/>
          <p:nvPr/>
        </p:nvSpPr>
        <p:spPr>
          <a:xfrm>
            <a:off x="1587315" y="4868374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5" name="object 155"/>
          <p:cNvSpPr/>
          <p:nvPr/>
        </p:nvSpPr>
        <p:spPr>
          <a:xfrm>
            <a:off x="4682657" y="4867111"/>
            <a:ext cx="8632" cy="0"/>
          </a:xfrm>
          <a:custGeom>
            <a:avLst/>
            <a:gdLst/>
            <a:ahLst/>
            <a:cxnLst/>
            <a:rect l="l" t="t" r="r" b="b"/>
            <a:pathLst>
              <a:path w="8631">
                <a:moveTo>
                  <a:pt x="0" y="0"/>
                </a:moveTo>
                <a:lnTo>
                  <a:pt x="8631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6" name="object 156"/>
          <p:cNvSpPr/>
          <p:nvPr/>
        </p:nvSpPr>
        <p:spPr>
          <a:xfrm>
            <a:off x="4688756" y="4868374"/>
            <a:ext cx="5612" cy="0"/>
          </a:xfrm>
          <a:custGeom>
            <a:avLst/>
            <a:gdLst/>
            <a:ahLst/>
            <a:cxnLst/>
            <a:rect l="l" t="t" r="r" b="b"/>
            <a:pathLst>
              <a:path w="5612">
                <a:moveTo>
                  <a:pt x="0" y="0"/>
                </a:moveTo>
                <a:lnTo>
                  <a:pt x="561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7" name="object 157"/>
          <p:cNvSpPr/>
          <p:nvPr/>
        </p:nvSpPr>
        <p:spPr>
          <a:xfrm>
            <a:off x="4691320" y="4867111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8" name="object 158"/>
          <p:cNvSpPr/>
          <p:nvPr/>
        </p:nvSpPr>
        <p:spPr>
          <a:xfrm>
            <a:off x="4697419" y="4868374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9" name="object 159"/>
          <p:cNvSpPr/>
          <p:nvPr/>
        </p:nvSpPr>
        <p:spPr>
          <a:xfrm>
            <a:off x="5890163" y="4867111"/>
            <a:ext cx="8929" cy="0"/>
          </a:xfrm>
          <a:custGeom>
            <a:avLst/>
            <a:gdLst/>
            <a:ahLst/>
            <a:cxnLst/>
            <a:rect l="l" t="t" r="r" b="b"/>
            <a:pathLst>
              <a:path w="8928">
                <a:moveTo>
                  <a:pt x="0" y="0"/>
                </a:moveTo>
                <a:lnTo>
                  <a:pt x="8928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0" name="object 160"/>
          <p:cNvSpPr/>
          <p:nvPr/>
        </p:nvSpPr>
        <p:spPr>
          <a:xfrm>
            <a:off x="5896262" y="4868374"/>
            <a:ext cx="5978" cy="0"/>
          </a:xfrm>
          <a:custGeom>
            <a:avLst/>
            <a:gdLst/>
            <a:ahLst/>
            <a:cxnLst/>
            <a:rect l="l" t="t" r="r" b="b"/>
            <a:pathLst>
              <a:path w="5978">
                <a:moveTo>
                  <a:pt x="0" y="0"/>
                </a:moveTo>
                <a:lnTo>
                  <a:pt x="597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1" name="object 161"/>
          <p:cNvSpPr/>
          <p:nvPr/>
        </p:nvSpPr>
        <p:spPr>
          <a:xfrm>
            <a:off x="5899192" y="4867111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2" name="object 162"/>
          <p:cNvSpPr/>
          <p:nvPr/>
        </p:nvSpPr>
        <p:spPr>
          <a:xfrm>
            <a:off x="5905291" y="4868374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5" name="object 165"/>
          <p:cNvSpPr/>
          <p:nvPr/>
        </p:nvSpPr>
        <p:spPr>
          <a:xfrm>
            <a:off x="1581214" y="5237319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6" name="object 166"/>
          <p:cNvSpPr/>
          <p:nvPr/>
        </p:nvSpPr>
        <p:spPr>
          <a:xfrm>
            <a:off x="1587315" y="5238703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7" name="object 167"/>
          <p:cNvSpPr/>
          <p:nvPr/>
        </p:nvSpPr>
        <p:spPr>
          <a:xfrm>
            <a:off x="4682657" y="5237319"/>
            <a:ext cx="8632" cy="0"/>
          </a:xfrm>
          <a:custGeom>
            <a:avLst/>
            <a:gdLst/>
            <a:ahLst/>
            <a:cxnLst/>
            <a:rect l="l" t="t" r="r" b="b"/>
            <a:pathLst>
              <a:path w="8631">
                <a:moveTo>
                  <a:pt x="0" y="0"/>
                </a:moveTo>
                <a:lnTo>
                  <a:pt x="8631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8" name="object 168"/>
          <p:cNvSpPr/>
          <p:nvPr/>
        </p:nvSpPr>
        <p:spPr>
          <a:xfrm>
            <a:off x="4688756" y="5238703"/>
            <a:ext cx="5612" cy="0"/>
          </a:xfrm>
          <a:custGeom>
            <a:avLst/>
            <a:gdLst/>
            <a:ahLst/>
            <a:cxnLst/>
            <a:rect l="l" t="t" r="r" b="b"/>
            <a:pathLst>
              <a:path w="5612">
                <a:moveTo>
                  <a:pt x="0" y="0"/>
                </a:moveTo>
                <a:lnTo>
                  <a:pt x="561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9" name="object 169"/>
          <p:cNvSpPr/>
          <p:nvPr/>
        </p:nvSpPr>
        <p:spPr>
          <a:xfrm>
            <a:off x="4691320" y="5237319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0" name="object 170"/>
          <p:cNvSpPr/>
          <p:nvPr/>
        </p:nvSpPr>
        <p:spPr>
          <a:xfrm>
            <a:off x="4697419" y="5238703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1" name="object 171"/>
          <p:cNvSpPr/>
          <p:nvPr/>
        </p:nvSpPr>
        <p:spPr>
          <a:xfrm>
            <a:off x="5890163" y="5237319"/>
            <a:ext cx="8929" cy="0"/>
          </a:xfrm>
          <a:custGeom>
            <a:avLst/>
            <a:gdLst/>
            <a:ahLst/>
            <a:cxnLst/>
            <a:rect l="l" t="t" r="r" b="b"/>
            <a:pathLst>
              <a:path w="8928">
                <a:moveTo>
                  <a:pt x="0" y="0"/>
                </a:moveTo>
                <a:lnTo>
                  <a:pt x="8928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2" name="object 172"/>
          <p:cNvSpPr/>
          <p:nvPr/>
        </p:nvSpPr>
        <p:spPr>
          <a:xfrm>
            <a:off x="5896262" y="5238703"/>
            <a:ext cx="5978" cy="0"/>
          </a:xfrm>
          <a:custGeom>
            <a:avLst/>
            <a:gdLst/>
            <a:ahLst/>
            <a:cxnLst/>
            <a:rect l="l" t="t" r="r" b="b"/>
            <a:pathLst>
              <a:path w="5978">
                <a:moveTo>
                  <a:pt x="0" y="0"/>
                </a:moveTo>
                <a:lnTo>
                  <a:pt x="597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3" name="object 173"/>
          <p:cNvSpPr/>
          <p:nvPr/>
        </p:nvSpPr>
        <p:spPr>
          <a:xfrm>
            <a:off x="5899192" y="5237319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4" name="object 174"/>
          <p:cNvSpPr/>
          <p:nvPr/>
        </p:nvSpPr>
        <p:spPr>
          <a:xfrm>
            <a:off x="5905291" y="5238703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5" name="object 175"/>
          <p:cNvSpPr/>
          <p:nvPr/>
        </p:nvSpPr>
        <p:spPr>
          <a:xfrm>
            <a:off x="1578824" y="1467809"/>
            <a:ext cx="0" cy="4145591"/>
          </a:xfrm>
          <a:custGeom>
            <a:avLst/>
            <a:gdLst/>
            <a:ahLst/>
            <a:cxnLst/>
            <a:rect l="l" t="t" r="r" b="b"/>
            <a:pathLst>
              <a:path h="4145591">
                <a:moveTo>
                  <a:pt x="0" y="0"/>
                </a:moveTo>
                <a:lnTo>
                  <a:pt x="0" y="4145591"/>
                </a:lnTo>
              </a:path>
            </a:pathLst>
          </a:custGeom>
          <a:ln w="892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6" name="object 176"/>
          <p:cNvSpPr/>
          <p:nvPr/>
        </p:nvSpPr>
        <p:spPr>
          <a:xfrm>
            <a:off x="1581214" y="5607532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7" name="object 177"/>
          <p:cNvSpPr/>
          <p:nvPr/>
        </p:nvSpPr>
        <p:spPr>
          <a:xfrm>
            <a:off x="1587315" y="5608796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8" name="object 178"/>
          <p:cNvSpPr/>
          <p:nvPr/>
        </p:nvSpPr>
        <p:spPr>
          <a:xfrm>
            <a:off x="4688922" y="1467957"/>
            <a:ext cx="0" cy="4145442"/>
          </a:xfrm>
          <a:custGeom>
            <a:avLst/>
            <a:gdLst/>
            <a:ahLst/>
            <a:cxnLst/>
            <a:rect l="l" t="t" r="r" b="b"/>
            <a:pathLst>
              <a:path h="4145442">
                <a:moveTo>
                  <a:pt x="0" y="0"/>
                </a:moveTo>
                <a:lnTo>
                  <a:pt x="0" y="4145442"/>
                </a:lnTo>
              </a:path>
            </a:pathLst>
          </a:custGeom>
          <a:ln w="863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9" name="object 179"/>
          <p:cNvSpPr/>
          <p:nvPr/>
        </p:nvSpPr>
        <p:spPr>
          <a:xfrm>
            <a:off x="4691320" y="5607532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0" name="object 180"/>
          <p:cNvSpPr/>
          <p:nvPr/>
        </p:nvSpPr>
        <p:spPr>
          <a:xfrm>
            <a:off x="4697419" y="5608796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1" name="object 181"/>
          <p:cNvSpPr/>
          <p:nvPr/>
        </p:nvSpPr>
        <p:spPr>
          <a:xfrm>
            <a:off x="5896594" y="1467809"/>
            <a:ext cx="0" cy="4145591"/>
          </a:xfrm>
          <a:custGeom>
            <a:avLst/>
            <a:gdLst/>
            <a:ahLst/>
            <a:cxnLst/>
            <a:rect l="l" t="t" r="r" b="b"/>
            <a:pathLst>
              <a:path h="4145591">
                <a:moveTo>
                  <a:pt x="0" y="0"/>
                </a:moveTo>
                <a:lnTo>
                  <a:pt x="0" y="4145591"/>
                </a:lnTo>
              </a:path>
            </a:pathLst>
          </a:custGeom>
          <a:ln w="892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2" name="object 182"/>
          <p:cNvSpPr/>
          <p:nvPr/>
        </p:nvSpPr>
        <p:spPr>
          <a:xfrm>
            <a:off x="5899192" y="5607532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3" name="object 183"/>
          <p:cNvSpPr/>
          <p:nvPr/>
        </p:nvSpPr>
        <p:spPr>
          <a:xfrm>
            <a:off x="5905291" y="5608796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1578825" y="1472273"/>
            <a:ext cx="3110097" cy="4337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4"/>
              </a:spcBef>
            </a:pPr>
            <a:endParaRPr sz="1400" dirty="0">
              <a:latin typeface="+mj-lt"/>
            </a:endParaRPr>
          </a:p>
          <a:p>
            <a:pPr marL="914069">
              <a:lnSpc>
                <a:spcPct val="95825"/>
              </a:lnSpc>
            </a:pPr>
            <a:r>
              <a:rPr sz="1200" b="1" spc="6" dirty="0" smtClean="0">
                <a:latin typeface="+mj-lt"/>
                <a:cs typeface="Arial"/>
              </a:rPr>
              <a:t>I</a:t>
            </a:r>
            <a:r>
              <a:rPr sz="1200" b="1" spc="0" dirty="0" smtClean="0">
                <a:latin typeface="+mj-lt"/>
                <a:cs typeface="Arial"/>
              </a:rPr>
              <a:t>nd</a:t>
            </a:r>
            <a:r>
              <a:rPr sz="1200" b="1" spc="-12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x F</a:t>
            </a:r>
            <a:r>
              <a:rPr sz="1200" b="1" spc="-9" dirty="0" smtClean="0">
                <a:latin typeface="+mj-lt"/>
                <a:cs typeface="Arial"/>
              </a:rPr>
              <a:t>eat</a:t>
            </a:r>
            <a:r>
              <a:rPr sz="1200" b="1" spc="0" dirty="0" smtClean="0">
                <a:latin typeface="+mj-lt"/>
                <a:cs typeface="Arial"/>
              </a:rPr>
              <a:t>ure</a:t>
            </a:r>
            <a:endParaRPr sz="1200" dirty="0">
              <a:latin typeface="+mj-lt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4688924" y="1472273"/>
            <a:ext cx="1207670" cy="4337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4"/>
              </a:spcBef>
            </a:pPr>
            <a:endParaRPr sz="1400">
              <a:latin typeface="+mj-lt"/>
            </a:endParaRPr>
          </a:p>
          <a:p>
            <a:pPr marL="64010">
              <a:lnSpc>
                <a:spcPct val="95825"/>
              </a:lnSpc>
            </a:pPr>
            <a:r>
              <a:rPr sz="1200" b="1" spc="4" dirty="0" smtClean="0">
                <a:latin typeface="+mj-lt"/>
                <a:cs typeface="Arial"/>
              </a:rPr>
              <a:t>P</a:t>
            </a:r>
            <a:r>
              <a:rPr sz="1200" b="1" spc="0" dirty="0" smtClean="0">
                <a:latin typeface="+mj-lt"/>
                <a:cs typeface="Arial"/>
              </a:rPr>
              <a:t>r</a:t>
            </a:r>
            <a:r>
              <a:rPr sz="1200" b="1" spc="4" dirty="0" smtClean="0">
                <a:latin typeface="+mj-lt"/>
                <a:cs typeface="Arial"/>
              </a:rPr>
              <a:t>im</a:t>
            </a:r>
            <a:r>
              <a:rPr sz="1200" b="1" spc="-9" dirty="0" smtClean="0">
                <a:latin typeface="+mj-lt"/>
                <a:cs typeface="Arial"/>
              </a:rPr>
              <a:t>a</a:t>
            </a:r>
            <a:r>
              <a:rPr sz="1200" b="1" spc="0" dirty="0" smtClean="0">
                <a:latin typeface="+mj-lt"/>
                <a:cs typeface="Arial"/>
              </a:rPr>
              <a:t>ry</a:t>
            </a:r>
            <a:endParaRPr sz="1200">
              <a:latin typeface="+mj-lt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5896594" y="1472273"/>
            <a:ext cx="1151907" cy="4337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4"/>
              </a:spcBef>
            </a:pPr>
            <a:endParaRPr sz="1400">
              <a:latin typeface="+mj-lt"/>
            </a:endParaRPr>
          </a:p>
          <a:p>
            <a:pPr marL="67140">
              <a:lnSpc>
                <a:spcPct val="95825"/>
              </a:lnSpc>
            </a:pPr>
            <a:r>
              <a:rPr sz="1200" b="1" spc="4" dirty="0" smtClean="0">
                <a:latin typeface="+mj-lt"/>
                <a:cs typeface="Arial"/>
              </a:rPr>
              <a:t>S</a:t>
            </a:r>
            <a:r>
              <a:rPr sz="1200" b="1" spc="-9" dirty="0" smtClean="0">
                <a:latin typeface="+mj-lt"/>
                <a:cs typeface="Arial"/>
              </a:rPr>
              <a:t>ec</a:t>
            </a:r>
            <a:r>
              <a:rPr sz="1200" b="1" spc="0" dirty="0" smtClean="0">
                <a:latin typeface="+mj-lt"/>
                <a:cs typeface="Arial"/>
              </a:rPr>
              <a:t>ond</a:t>
            </a:r>
            <a:r>
              <a:rPr sz="1200" b="1" spc="-9" dirty="0" smtClean="0">
                <a:latin typeface="+mj-lt"/>
                <a:cs typeface="Arial"/>
              </a:rPr>
              <a:t>a</a:t>
            </a:r>
            <a:r>
              <a:rPr sz="1200" b="1" spc="0" dirty="0" smtClean="0">
                <a:latin typeface="+mj-lt"/>
                <a:cs typeface="Arial"/>
              </a:rPr>
              <a:t>ry</a:t>
            </a:r>
            <a:endParaRPr sz="1200">
              <a:latin typeface="+mj-lt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1578825" y="1905982"/>
            <a:ext cx="3110097" cy="370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3995">
              <a:lnSpc>
                <a:spcPct val="95825"/>
              </a:lnSpc>
            </a:pPr>
            <a:r>
              <a:rPr sz="1200" b="1" spc="-9" dirty="0" smtClean="0">
                <a:latin typeface="+mj-lt"/>
                <a:cs typeface="Arial"/>
              </a:rPr>
              <a:t>Re</a:t>
            </a:r>
            <a:r>
              <a:rPr sz="1200" b="1" spc="0" dirty="0" smtClean="0">
                <a:latin typeface="+mj-lt"/>
                <a:cs typeface="Arial"/>
              </a:rPr>
              <a:t>qu</a:t>
            </a:r>
            <a:r>
              <a:rPr sz="1200" b="1" spc="4" dirty="0" smtClean="0">
                <a:latin typeface="+mj-lt"/>
                <a:cs typeface="Arial"/>
              </a:rPr>
              <a:t>i</a:t>
            </a:r>
            <a:r>
              <a:rPr sz="1200" b="1" spc="0" dirty="0" smtClean="0">
                <a:latin typeface="+mj-lt"/>
                <a:cs typeface="Arial"/>
              </a:rPr>
              <a:t>r</a:t>
            </a:r>
            <a:r>
              <a:rPr sz="1200" b="1" spc="-9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d?</a:t>
            </a:r>
            <a:endParaRPr sz="1200">
              <a:latin typeface="+mj-lt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4688924" y="1905982"/>
            <a:ext cx="1207670" cy="370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4010">
              <a:lnSpc>
                <a:spcPct val="95825"/>
              </a:lnSpc>
            </a:pPr>
            <a:r>
              <a:rPr sz="1200" b="1" spc="-19" dirty="0" smtClean="0">
                <a:latin typeface="+mj-lt"/>
                <a:cs typeface="Arial"/>
              </a:rPr>
              <a:t>Y</a:t>
            </a:r>
            <a:r>
              <a:rPr sz="1200" b="1" spc="-9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896594" y="1905982"/>
            <a:ext cx="1151907" cy="370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7140">
              <a:lnSpc>
                <a:spcPct val="95825"/>
              </a:lnSpc>
            </a:pPr>
            <a:r>
              <a:rPr sz="1200" b="1" spc="-9" dirty="0" smtClean="0">
                <a:latin typeface="+mj-lt"/>
                <a:cs typeface="Arial"/>
              </a:rPr>
              <a:t>No</a:t>
            </a:r>
            <a:endParaRPr sz="1200">
              <a:latin typeface="+mj-lt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1578825" y="2276086"/>
            <a:ext cx="3110097" cy="3702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3995">
              <a:lnSpc>
                <a:spcPct val="95825"/>
              </a:lnSpc>
            </a:pPr>
            <a:r>
              <a:rPr sz="1200" b="1" spc="-12" dirty="0" smtClean="0">
                <a:latin typeface="+mj-lt"/>
                <a:cs typeface="Arial"/>
              </a:rPr>
              <a:t>N</a:t>
            </a:r>
            <a:r>
              <a:rPr sz="1200" b="1" spc="0" dirty="0" smtClean="0">
                <a:latin typeface="+mj-lt"/>
                <a:cs typeface="Arial"/>
              </a:rPr>
              <a:t>u</a:t>
            </a:r>
            <a:r>
              <a:rPr sz="1200" b="1" spc="6" dirty="0" smtClean="0">
                <a:latin typeface="+mj-lt"/>
                <a:cs typeface="Arial"/>
              </a:rPr>
              <a:t>m</a:t>
            </a:r>
            <a:r>
              <a:rPr sz="1200" b="1" spc="0" dirty="0" smtClean="0">
                <a:latin typeface="+mj-lt"/>
                <a:cs typeface="Arial"/>
              </a:rPr>
              <a:t>b</a:t>
            </a:r>
            <a:r>
              <a:rPr sz="1200" b="1" spc="-12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r</a:t>
            </a:r>
            <a:r>
              <a:rPr sz="1200" b="1" spc="7" dirty="0" smtClean="0">
                <a:latin typeface="+mj-lt"/>
                <a:cs typeface="Arial"/>
              </a:rPr>
              <a:t> </a:t>
            </a:r>
            <a:r>
              <a:rPr sz="1200" b="1" spc="0" dirty="0" smtClean="0">
                <a:latin typeface="+mj-lt"/>
                <a:cs typeface="Arial"/>
              </a:rPr>
              <a:t>p</a:t>
            </a:r>
            <a:r>
              <a:rPr sz="1200" b="1" spc="-12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r</a:t>
            </a:r>
            <a:r>
              <a:rPr sz="1200" b="1" spc="6" dirty="0" smtClean="0">
                <a:latin typeface="+mj-lt"/>
                <a:cs typeface="Arial"/>
              </a:rPr>
              <a:t> </a:t>
            </a:r>
            <a:r>
              <a:rPr sz="1200" b="1" spc="-25" dirty="0" smtClean="0">
                <a:latin typeface="+mj-lt"/>
                <a:cs typeface="Arial"/>
              </a:rPr>
              <a:t>T</a:t>
            </a:r>
            <a:r>
              <a:rPr sz="1200" b="1" spc="-9" dirty="0" smtClean="0">
                <a:latin typeface="+mj-lt"/>
                <a:cs typeface="Arial"/>
              </a:rPr>
              <a:t>a</a:t>
            </a:r>
            <a:r>
              <a:rPr sz="1200" b="1" spc="0" dirty="0" smtClean="0">
                <a:latin typeface="+mj-lt"/>
                <a:cs typeface="Arial"/>
              </a:rPr>
              <a:t>b</a:t>
            </a:r>
            <a:r>
              <a:rPr sz="1200" b="1" spc="4" dirty="0" smtClean="0">
                <a:latin typeface="+mj-lt"/>
                <a:cs typeface="Arial"/>
              </a:rPr>
              <a:t>l</a:t>
            </a:r>
            <a:r>
              <a:rPr sz="1200" b="1" spc="0" dirty="0" smtClean="0">
                <a:latin typeface="+mj-lt"/>
                <a:cs typeface="Arial"/>
              </a:rPr>
              <a:t>e</a:t>
            </a:r>
            <a:endParaRPr sz="1200">
              <a:latin typeface="+mj-lt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688924" y="2276086"/>
            <a:ext cx="1207670" cy="3702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4010">
              <a:lnSpc>
                <a:spcPct val="95825"/>
              </a:lnSpc>
            </a:pPr>
            <a:r>
              <a:rPr sz="1200" b="1" spc="0" dirty="0" smtClean="0">
                <a:latin typeface="+mj-lt"/>
                <a:cs typeface="Arial"/>
              </a:rPr>
              <a:t>1</a:t>
            </a:r>
            <a:endParaRPr sz="1200">
              <a:latin typeface="+mj-lt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5896594" y="2276086"/>
            <a:ext cx="1151907" cy="3702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7140">
              <a:lnSpc>
                <a:spcPct val="95825"/>
              </a:lnSpc>
            </a:pPr>
            <a:r>
              <a:rPr sz="1200" b="1" spc="-9" dirty="0" smtClean="0">
                <a:latin typeface="+mj-lt"/>
                <a:cs typeface="Arial"/>
              </a:rPr>
              <a:t>0-32</a:t>
            </a:r>
            <a:endParaRPr sz="1200">
              <a:latin typeface="+mj-lt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578825" y="2646355"/>
            <a:ext cx="3110097" cy="3700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4"/>
              </a:spcBef>
            </a:pPr>
            <a:endParaRPr sz="1400">
              <a:latin typeface="+mj-lt"/>
            </a:endParaRPr>
          </a:p>
          <a:p>
            <a:pPr marL="63995">
              <a:lnSpc>
                <a:spcPct val="95825"/>
              </a:lnSpc>
            </a:pPr>
            <a:r>
              <a:rPr sz="1200" b="1" spc="32" dirty="0" smtClean="0">
                <a:latin typeface="+mj-lt"/>
                <a:cs typeface="Arial"/>
              </a:rPr>
              <a:t>M</a:t>
            </a:r>
            <a:r>
              <a:rPr sz="1200" b="1" spc="-12" dirty="0" smtClean="0">
                <a:latin typeface="+mj-lt"/>
                <a:cs typeface="Arial"/>
              </a:rPr>
              <a:t>a</a:t>
            </a:r>
            <a:r>
              <a:rPr sz="1200" b="1" spc="0" dirty="0" smtClean="0">
                <a:latin typeface="+mj-lt"/>
                <a:cs typeface="Arial"/>
              </a:rPr>
              <a:t>x</a:t>
            </a:r>
            <a:r>
              <a:rPr sz="1200" b="1" spc="-5" dirty="0" smtClean="0">
                <a:latin typeface="+mj-lt"/>
                <a:cs typeface="Arial"/>
              </a:rPr>
              <a:t> </a:t>
            </a:r>
            <a:r>
              <a:rPr sz="1200" b="1" spc="-12" dirty="0" smtClean="0">
                <a:latin typeface="+mj-lt"/>
                <a:cs typeface="Arial"/>
              </a:rPr>
              <a:t>N</a:t>
            </a:r>
            <a:r>
              <a:rPr sz="1200" b="1" spc="0" dirty="0" smtClean="0">
                <a:latin typeface="+mj-lt"/>
                <a:cs typeface="Arial"/>
              </a:rPr>
              <a:t>u</a:t>
            </a:r>
            <a:r>
              <a:rPr sz="1200" b="1" spc="6" dirty="0" smtClean="0">
                <a:latin typeface="+mj-lt"/>
                <a:cs typeface="Arial"/>
              </a:rPr>
              <a:t>m</a:t>
            </a:r>
            <a:r>
              <a:rPr sz="1200" b="1" spc="0" dirty="0" smtClean="0">
                <a:latin typeface="+mj-lt"/>
                <a:cs typeface="Arial"/>
              </a:rPr>
              <a:t>b</a:t>
            </a:r>
            <a:r>
              <a:rPr sz="1200" b="1" spc="-12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r</a:t>
            </a:r>
            <a:r>
              <a:rPr sz="1200" b="1" spc="7" dirty="0" smtClean="0">
                <a:latin typeface="+mj-lt"/>
                <a:cs typeface="Arial"/>
              </a:rPr>
              <a:t> </a:t>
            </a:r>
            <a:r>
              <a:rPr sz="1200" b="1" spc="0" dirty="0" smtClean="0">
                <a:latin typeface="+mj-lt"/>
                <a:cs typeface="Arial"/>
              </a:rPr>
              <a:t>of</a:t>
            </a:r>
            <a:r>
              <a:rPr sz="1200" b="1" spc="-1" dirty="0" smtClean="0">
                <a:latin typeface="+mj-lt"/>
                <a:cs typeface="Arial"/>
              </a:rPr>
              <a:t> </a:t>
            </a:r>
            <a:r>
              <a:rPr sz="1200" b="1" spc="-12" dirty="0" smtClean="0">
                <a:latin typeface="+mj-lt"/>
                <a:cs typeface="Arial"/>
              </a:rPr>
              <a:t>C</a:t>
            </a:r>
            <a:r>
              <a:rPr sz="1200" b="1" spc="0" dirty="0" smtClean="0">
                <a:latin typeface="+mj-lt"/>
                <a:cs typeface="Arial"/>
              </a:rPr>
              <a:t>o</a:t>
            </a:r>
            <a:r>
              <a:rPr sz="1200" b="1" spc="6" dirty="0" smtClean="0">
                <a:latin typeface="+mj-lt"/>
                <a:cs typeface="Arial"/>
              </a:rPr>
              <a:t>l</a:t>
            </a:r>
            <a:r>
              <a:rPr sz="1200" b="1" spc="0" dirty="0" smtClean="0">
                <a:latin typeface="+mj-lt"/>
                <a:cs typeface="Arial"/>
              </a:rPr>
              <a:t>u</a:t>
            </a:r>
            <a:r>
              <a:rPr sz="1200" b="1" spc="6" dirty="0" smtClean="0">
                <a:latin typeface="+mj-lt"/>
                <a:cs typeface="Arial"/>
              </a:rPr>
              <a:t>m</a:t>
            </a:r>
            <a:r>
              <a:rPr sz="1200" b="1" spc="0" dirty="0" smtClean="0">
                <a:latin typeface="+mj-lt"/>
                <a:cs typeface="Arial"/>
              </a:rPr>
              <a:t>n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688924" y="2646355"/>
            <a:ext cx="1207670" cy="3700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4"/>
              </a:spcBef>
            </a:pPr>
            <a:endParaRPr sz="1400">
              <a:latin typeface="+mj-lt"/>
            </a:endParaRPr>
          </a:p>
          <a:p>
            <a:pPr marL="64010">
              <a:lnSpc>
                <a:spcPct val="95825"/>
              </a:lnSpc>
            </a:pPr>
            <a:r>
              <a:rPr sz="1200" b="1" spc="-9" dirty="0" smtClean="0">
                <a:latin typeface="+mj-lt"/>
                <a:cs typeface="Arial"/>
              </a:rPr>
              <a:t>16</a:t>
            </a:r>
            <a:endParaRPr sz="1200">
              <a:latin typeface="+mj-lt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5896594" y="2646355"/>
            <a:ext cx="1151907" cy="3700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4"/>
              </a:spcBef>
            </a:pPr>
            <a:endParaRPr sz="1400">
              <a:latin typeface="+mj-lt"/>
            </a:endParaRPr>
          </a:p>
          <a:p>
            <a:pPr marL="67140">
              <a:lnSpc>
                <a:spcPct val="95825"/>
              </a:lnSpc>
            </a:pPr>
            <a:r>
              <a:rPr sz="1200" b="1" spc="-9" dirty="0" smtClean="0">
                <a:latin typeface="+mj-lt"/>
                <a:cs typeface="Arial"/>
              </a:rPr>
              <a:t>16</a:t>
            </a:r>
            <a:endParaRPr sz="1200">
              <a:latin typeface="+mj-lt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578825" y="3016363"/>
            <a:ext cx="3110097" cy="370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7"/>
              </a:spcBef>
            </a:pPr>
            <a:endParaRPr sz="1400">
              <a:latin typeface="+mj-lt"/>
            </a:endParaRPr>
          </a:p>
          <a:p>
            <a:pPr marL="63995">
              <a:lnSpc>
                <a:spcPct val="95825"/>
              </a:lnSpc>
            </a:pPr>
            <a:r>
              <a:rPr sz="1200" b="1" spc="-12" dirty="0" smtClean="0">
                <a:latin typeface="+mj-lt"/>
                <a:cs typeface="Arial"/>
              </a:rPr>
              <a:t>U</a:t>
            </a:r>
            <a:r>
              <a:rPr sz="1200" b="1" spc="0" dirty="0" smtClean="0">
                <a:latin typeface="+mj-lt"/>
                <a:cs typeface="Arial"/>
              </a:rPr>
              <a:t>n</a:t>
            </a:r>
            <a:r>
              <a:rPr sz="1200" b="1" spc="6" dirty="0" smtClean="0">
                <a:latin typeface="+mj-lt"/>
                <a:cs typeface="Arial"/>
              </a:rPr>
              <a:t>i</a:t>
            </a:r>
            <a:r>
              <a:rPr sz="1200" b="1" spc="0" dirty="0" smtClean="0">
                <a:latin typeface="+mj-lt"/>
                <a:cs typeface="Arial"/>
              </a:rPr>
              <a:t>que or</a:t>
            </a:r>
            <a:r>
              <a:rPr sz="1200" b="1" spc="3" dirty="0" smtClean="0">
                <a:latin typeface="+mj-lt"/>
                <a:cs typeface="Arial"/>
              </a:rPr>
              <a:t> </a:t>
            </a:r>
            <a:r>
              <a:rPr sz="1200" b="1" spc="-9" dirty="0" smtClean="0">
                <a:latin typeface="+mj-lt"/>
                <a:cs typeface="Arial"/>
              </a:rPr>
              <a:t>N</a:t>
            </a:r>
            <a:r>
              <a:rPr sz="1200" b="1" spc="0" dirty="0" smtClean="0">
                <a:latin typeface="+mj-lt"/>
                <a:cs typeface="Arial"/>
              </a:rPr>
              <a:t>on</a:t>
            </a:r>
            <a:r>
              <a:rPr sz="1200" b="1" spc="-4" dirty="0" smtClean="0">
                <a:latin typeface="+mj-lt"/>
                <a:cs typeface="Arial"/>
              </a:rPr>
              <a:t>-</a:t>
            </a:r>
            <a:r>
              <a:rPr sz="1200" b="1" spc="-9" dirty="0" smtClean="0">
                <a:latin typeface="+mj-lt"/>
                <a:cs typeface="Arial"/>
              </a:rPr>
              <a:t>U</a:t>
            </a:r>
            <a:r>
              <a:rPr sz="1200" b="1" spc="0" dirty="0" smtClean="0">
                <a:latin typeface="+mj-lt"/>
                <a:cs typeface="Arial"/>
              </a:rPr>
              <a:t>n</a:t>
            </a:r>
            <a:r>
              <a:rPr sz="1200" b="1" spc="4" dirty="0" smtClean="0">
                <a:latin typeface="+mj-lt"/>
                <a:cs typeface="Arial"/>
              </a:rPr>
              <a:t>i</a:t>
            </a:r>
            <a:r>
              <a:rPr sz="1200" b="1" spc="0" dirty="0" smtClean="0">
                <a:latin typeface="+mj-lt"/>
                <a:cs typeface="Arial"/>
              </a:rPr>
              <a:t>qu</a:t>
            </a:r>
            <a:r>
              <a:rPr sz="1200" b="1" spc="-9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?</a:t>
            </a:r>
            <a:endParaRPr sz="1200">
              <a:latin typeface="+mj-lt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688924" y="3016363"/>
            <a:ext cx="1207670" cy="370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7"/>
              </a:spcBef>
            </a:pPr>
            <a:endParaRPr sz="1400">
              <a:latin typeface="+mj-lt"/>
            </a:endParaRPr>
          </a:p>
          <a:p>
            <a:pPr marL="64010">
              <a:lnSpc>
                <a:spcPct val="95825"/>
              </a:lnSpc>
            </a:pPr>
            <a:r>
              <a:rPr sz="1200" b="1" spc="-9" dirty="0" smtClean="0">
                <a:latin typeface="+mj-lt"/>
                <a:cs typeface="Arial"/>
              </a:rPr>
              <a:t>B</a:t>
            </a:r>
            <a:r>
              <a:rPr sz="1200" b="1" spc="0" dirty="0" smtClean="0">
                <a:latin typeface="+mj-lt"/>
                <a:cs typeface="Arial"/>
              </a:rPr>
              <a:t>o</a:t>
            </a:r>
            <a:r>
              <a:rPr sz="1200" b="1" spc="-9" dirty="0" smtClean="0">
                <a:latin typeface="+mj-lt"/>
                <a:cs typeface="Arial"/>
              </a:rPr>
              <a:t>t</a:t>
            </a:r>
            <a:r>
              <a:rPr sz="1200" b="1" spc="0" dirty="0" smtClean="0">
                <a:latin typeface="+mj-lt"/>
                <a:cs typeface="Arial"/>
              </a:rPr>
              <a:t>h</a:t>
            </a:r>
            <a:endParaRPr sz="1200">
              <a:latin typeface="+mj-lt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5896594" y="3016363"/>
            <a:ext cx="1151907" cy="370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7"/>
              </a:spcBef>
            </a:pPr>
            <a:endParaRPr sz="1400">
              <a:latin typeface="+mj-lt"/>
            </a:endParaRPr>
          </a:p>
          <a:p>
            <a:pPr marL="67140">
              <a:lnSpc>
                <a:spcPct val="95825"/>
              </a:lnSpc>
            </a:pPr>
            <a:r>
              <a:rPr sz="1200" b="1" spc="-9" dirty="0" smtClean="0">
                <a:latin typeface="+mj-lt"/>
                <a:cs typeface="Arial"/>
              </a:rPr>
              <a:t>B</a:t>
            </a:r>
            <a:r>
              <a:rPr sz="1200" b="1" spc="0" dirty="0" smtClean="0">
                <a:latin typeface="+mj-lt"/>
                <a:cs typeface="Arial"/>
              </a:rPr>
              <a:t>o</a:t>
            </a:r>
            <a:r>
              <a:rPr sz="1200" b="1" spc="-9" dirty="0" smtClean="0">
                <a:latin typeface="+mj-lt"/>
                <a:cs typeface="Arial"/>
              </a:rPr>
              <a:t>t</a:t>
            </a:r>
            <a:r>
              <a:rPr sz="1200" b="1" spc="0" dirty="0" smtClean="0">
                <a:latin typeface="+mj-lt"/>
                <a:cs typeface="Arial"/>
              </a:rPr>
              <a:t>h</a:t>
            </a:r>
            <a:endParaRPr sz="1200">
              <a:latin typeface="+mj-lt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578825" y="3386466"/>
            <a:ext cx="3110097" cy="3702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7"/>
              </a:spcBef>
            </a:pPr>
            <a:endParaRPr sz="1400">
              <a:latin typeface="+mj-lt"/>
            </a:endParaRPr>
          </a:p>
          <a:p>
            <a:pPr marL="63995">
              <a:lnSpc>
                <a:spcPct val="95825"/>
              </a:lnSpc>
            </a:pPr>
            <a:r>
              <a:rPr sz="1200" b="1" spc="-103" dirty="0" smtClean="0">
                <a:latin typeface="+mj-lt"/>
                <a:cs typeface="Arial"/>
              </a:rPr>
              <a:t>A</a:t>
            </a:r>
            <a:r>
              <a:rPr sz="1200" b="1" spc="-12" dirty="0" smtClean="0">
                <a:latin typeface="+mj-lt"/>
                <a:cs typeface="Arial"/>
              </a:rPr>
              <a:t>ffect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r>
              <a:rPr sz="1200" b="1" spc="36" dirty="0" smtClean="0">
                <a:latin typeface="+mj-lt"/>
                <a:cs typeface="Arial"/>
              </a:rPr>
              <a:t> </a:t>
            </a:r>
            <a:r>
              <a:rPr sz="1200" b="1" spc="-12" dirty="0" smtClean="0">
                <a:latin typeface="+mj-lt"/>
                <a:cs typeface="Arial"/>
              </a:rPr>
              <a:t>R</a:t>
            </a:r>
            <a:r>
              <a:rPr sz="1200" b="1" spc="0" dirty="0" smtClean="0">
                <a:latin typeface="+mj-lt"/>
                <a:cs typeface="Arial"/>
              </a:rPr>
              <a:t>ow</a:t>
            </a:r>
            <a:r>
              <a:rPr sz="1200" b="1" spc="26" dirty="0" smtClean="0">
                <a:latin typeface="+mj-lt"/>
                <a:cs typeface="Arial"/>
              </a:rPr>
              <a:t> </a:t>
            </a:r>
            <a:r>
              <a:rPr sz="1200" b="1" spc="-9" dirty="0" smtClean="0">
                <a:latin typeface="+mj-lt"/>
                <a:cs typeface="Arial"/>
              </a:rPr>
              <a:t>D</a:t>
            </a:r>
            <a:r>
              <a:rPr sz="1200" b="1" spc="4" dirty="0" smtClean="0">
                <a:latin typeface="+mj-lt"/>
                <a:cs typeface="Arial"/>
              </a:rPr>
              <a:t>i</a:t>
            </a:r>
            <a:r>
              <a:rPr sz="1200" b="1" spc="-9" dirty="0" smtClean="0">
                <a:latin typeface="+mj-lt"/>
                <a:cs typeface="Arial"/>
              </a:rPr>
              <a:t>st</a:t>
            </a:r>
            <a:r>
              <a:rPr sz="1200" b="1" spc="0" dirty="0" smtClean="0">
                <a:latin typeface="+mj-lt"/>
                <a:cs typeface="Arial"/>
              </a:rPr>
              <a:t>r</a:t>
            </a:r>
            <a:r>
              <a:rPr sz="1200" b="1" spc="4" dirty="0" smtClean="0">
                <a:latin typeface="+mj-lt"/>
                <a:cs typeface="Arial"/>
              </a:rPr>
              <a:t>i</a:t>
            </a:r>
            <a:r>
              <a:rPr sz="1200" b="1" spc="0" dirty="0" smtClean="0">
                <a:latin typeface="+mj-lt"/>
                <a:cs typeface="Arial"/>
              </a:rPr>
              <a:t>bu</a:t>
            </a:r>
            <a:r>
              <a:rPr sz="1200" b="1" spc="-4" dirty="0" smtClean="0">
                <a:latin typeface="+mj-lt"/>
                <a:cs typeface="Arial"/>
              </a:rPr>
              <a:t>t</a:t>
            </a:r>
            <a:r>
              <a:rPr sz="1200" b="1" spc="4" dirty="0" smtClean="0">
                <a:latin typeface="+mj-lt"/>
                <a:cs typeface="Arial"/>
              </a:rPr>
              <a:t>i</a:t>
            </a:r>
            <a:r>
              <a:rPr sz="1200" b="1" spc="0" dirty="0" smtClean="0">
                <a:latin typeface="+mj-lt"/>
                <a:cs typeface="Arial"/>
              </a:rPr>
              <a:t>on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688924" y="3386466"/>
            <a:ext cx="1207670" cy="3702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7"/>
              </a:spcBef>
            </a:pPr>
            <a:endParaRPr sz="1400">
              <a:latin typeface="+mj-lt"/>
            </a:endParaRPr>
          </a:p>
          <a:p>
            <a:pPr marL="64010">
              <a:lnSpc>
                <a:spcPct val="95825"/>
              </a:lnSpc>
            </a:pPr>
            <a:r>
              <a:rPr sz="1200" b="1" spc="-19" dirty="0" smtClean="0">
                <a:latin typeface="+mj-lt"/>
                <a:cs typeface="Arial"/>
              </a:rPr>
              <a:t>Y</a:t>
            </a:r>
            <a:r>
              <a:rPr sz="1200" b="1" spc="-9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896594" y="3386466"/>
            <a:ext cx="1151907" cy="3702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7"/>
              </a:spcBef>
            </a:pPr>
            <a:endParaRPr sz="1400">
              <a:latin typeface="+mj-lt"/>
            </a:endParaRPr>
          </a:p>
          <a:p>
            <a:pPr marL="67140">
              <a:lnSpc>
                <a:spcPct val="95825"/>
              </a:lnSpc>
            </a:pPr>
            <a:r>
              <a:rPr sz="1200" b="1" spc="-9" dirty="0" smtClean="0">
                <a:latin typeface="+mj-lt"/>
                <a:cs typeface="Arial"/>
              </a:rPr>
              <a:t>No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578825" y="3756683"/>
            <a:ext cx="3110097" cy="3702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3995">
              <a:lnSpc>
                <a:spcPct val="95825"/>
              </a:lnSpc>
            </a:pPr>
            <a:r>
              <a:rPr sz="1200" b="1" spc="-12" dirty="0" smtClean="0">
                <a:latin typeface="+mj-lt"/>
                <a:cs typeface="Arial"/>
              </a:rPr>
              <a:t>C</a:t>
            </a:r>
            <a:r>
              <a:rPr sz="1200" b="1" spc="0" dirty="0" smtClean="0">
                <a:latin typeface="+mj-lt"/>
                <a:cs typeface="Arial"/>
              </a:rPr>
              <a:t>r</a:t>
            </a:r>
            <a:r>
              <a:rPr sz="1200" b="1" spc="-12" dirty="0" smtClean="0">
                <a:latin typeface="+mj-lt"/>
                <a:cs typeface="Arial"/>
              </a:rPr>
              <a:t>eate</a:t>
            </a:r>
            <a:r>
              <a:rPr sz="1200" b="1" spc="0" dirty="0" smtClean="0">
                <a:latin typeface="+mj-lt"/>
                <a:cs typeface="Arial"/>
              </a:rPr>
              <a:t>d</a:t>
            </a:r>
            <a:r>
              <a:rPr sz="1200" b="1" spc="6" dirty="0" smtClean="0">
                <a:latin typeface="+mj-lt"/>
                <a:cs typeface="Arial"/>
              </a:rPr>
              <a:t>/</a:t>
            </a:r>
            <a:r>
              <a:rPr sz="1200" b="1" spc="-12" dirty="0" smtClean="0">
                <a:latin typeface="+mj-lt"/>
                <a:cs typeface="Arial"/>
              </a:rPr>
              <a:t>D</a:t>
            </a:r>
            <a:r>
              <a:rPr sz="1200" b="1" spc="0" dirty="0" smtClean="0">
                <a:latin typeface="+mj-lt"/>
                <a:cs typeface="Arial"/>
              </a:rPr>
              <a:t>ropp</a:t>
            </a:r>
            <a:r>
              <a:rPr sz="1200" b="1" spc="-12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d</a:t>
            </a:r>
            <a:r>
              <a:rPr sz="1200" b="1" spc="27" dirty="0" smtClean="0">
                <a:latin typeface="+mj-lt"/>
                <a:cs typeface="Arial"/>
              </a:rPr>
              <a:t> </a:t>
            </a:r>
            <a:r>
              <a:rPr sz="1200" b="1" spc="-9" dirty="0" smtClean="0">
                <a:latin typeface="+mj-lt"/>
                <a:cs typeface="Arial"/>
              </a:rPr>
              <a:t>D</a:t>
            </a:r>
            <a:r>
              <a:rPr sz="1200" b="1" spc="-75" dirty="0" smtClean="0">
                <a:latin typeface="+mj-lt"/>
                <a:cs typeface="Arial"/>
              </a:rPr>
              <a:t>y</a:t>
            </a:r>
            <a:r>
              <a:rPr sz="1200" b="1" spc="0" dirty="0" smtClean="0">
                <a:latin typeface="+mj-lt"/>
                <a:cs typeface="Arial"/>
              </a:rPr>
              <a:t>n</a:t>
            </a:r>
            <a:r>
              <a:rPr sz="1200" b="1" spc="-9" dirty="0" smtClean="0">
                <a:latin typeface="+mj-lt"/>
                <a:cs typeface="Arial"/>
              </a:rPr>
              <a:t>a</a:t>
            </a:r>
            <a:r>
              <a:rPr sz="1200" b="1" spc="4" dirty="0" smtClean="0">
                <a:latin typeface="+mj-lt"/>
                <a:cs typeface="Arial"/>
              </a:rPr>
              <a:t>mi</a:t>
            </a:r>
            <a:r>
              <a:rPr sz="1200" b="1" spc="-9" dirty="0" smtClean="0">
                <a:latin typeface="+mj-lt"/>
                <a:cs typeface="Arial"/>
              </a:rPr>
              <a:t>ca</a:t>
            </a:r>
            <a:r>
              <a:rPr sz="1200" b="1" spc="4" dirty="0" smtClean="0">
                <a:latin typeface="+mj-lt"/>
                <a:cs typeface="Arial"/>
              </a:rPr>
              <a:t>ll</a:t>
            </a:r>
            <a:r>
              <a:rPr sz="1200" b="1" spc="0" dirty="0" smtClean="0">
                <a:latin typeface="+mj-lt"/>
                <a:cs typeface="Arial"/>
              </a:rPr>
              <a:t>y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688924" y="3756683"/>
            <a:ext cx="1207670" cy="3702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4010">
              <a:lnSpc>
                <a:spcPct val="95825"/>
              </a:lnSpc>
            </a:pPr>
            <a:r>
              <a:rPr sz="1200" b="1" spc="-9" dirty="0" smtClean="0">
                <a:latin typeface="+mj-lt"/>
                <a:cs typeface="Arial"/>
              </a:rPr>
              <a:t>No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896594" y="3756683"/>
            <a:ext cx="1151907" cy="3702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7140">
              <a:lnSpc>
                <a:spcPct val="95825"/>
              </a:lnSpc>
            </a:pPr>
            <a:r>
              <a:rPr sz="1200" b="1" spc="-19" dirty="0" smtClean="0">
                <a:latin typeface="+mj-lt"/>
                <a:cs typeface="Arial"/>
              </a:rPr>
              <a:t>Y</a:t>
            </a:r>
            <a:r>
              <a:rPr sz="1200" b="1" spc="-9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578825" y="4126953"/>
            <a:ext cx="3110097" cy="370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4"/>
              </a:spcBef>
            </a:pPr>
            <a:endParaRPr sz="1400">
              <a:latin typeface="+mj-lt"/>
            </a:endParaRPr>
          </a:p>
          <a:p>
            <a:pPr marL="63995">
              <a:lnSpc>
                <a:spcPct val="95825"/>
              </a:lnSpc>
            </a:pPr>
            <a:r>
              <a:rPr sz="1200" b="1" spc="6" dirty="0" smtClean="0">
                <a:latin typeface="+mj-lt"/>
                <a:cs typeface="Arial"/>
              </a:rPr>
              <a:t>Im</a:t>
            </a:r>
            <a:r>
              <a:rPr sz="1200" b="1" spc="0" dirty="0" smtClean="0">
                <a:latin typeface="+mj-lt"/>
                <a:cs typeface="Arial"/>
              </a:rPr>
              <a:t>pro</a:t>
            </a:r>
            <a:r>
              <a:rPr sz="1200" b="1" spc="-12" dirty="0" smtClean="0">
                <a:latin typeface="+mj-lt"/>
                <a:cs typeface="Arial"/>
              </a:rPr>
              <a:t>ve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r>
              <a:rPr sz="1200" b="1" spc="1" dirty="0" smtClean="0">
                <a:latin typeface="+mj-lt"/>
                <a:cs typeface="Arial"/>
              </a:rPr>
              <a:t> </a:t>
            </a:r>
            <a:r>
              <a:rPr sz="1200" b="1" spc="-79" dirty="0" smtClean="0">
                <a:latin typeface="+mj-lt"/>
                <a:cs typeface="Arial"/>
              </a:rPr>
              <a:t>A</a:t>
            </a:r>
            <a:r>
              <a:rPr sz="1200" b="1" spc="-9" dirty="0" smtClean="0">
                <a:latin typeface="+mj-lt"/>
                <a:cs typeface="Arial"/>
              </a:rPr>
              <a:t>cces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688924" y="4126953"/>
            <a:ext cx="1207670" cy="370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4"/>
              </a:spcBef>
            </a:pPr>
            <a:endParaRPr sz="1400">
              <a:latin typeface="+mj-lt"/>
            </a:endParaRPr>
          </a:p>
          <a:p>
            <a:pPr marL="64010">
              <a:lnSpc>
                <a:spcPct val="95825"/>
              </a:lnSpc>
            </a:pPr>
            <a:r>
              <a:rPr sz="1200" b="1" spc="-19" dirty="0" smtClean="0">
                <a:latin typeface="+mj-lt"/>
                <a:cs typeface="Arial"/>
              </a:rPr>
              <a:t>Y</a:t>
            </a:r>
            <a:r>
              <a:rPr sz="1200" b="1" spc="-9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896594" y="4126953"/>
            <a:ext cx="1151907" cy="370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4"/>
              </a:spcBef>
            </a:pPr>
            <a:endParaRPr sz="1400">
              <a:latin typeface="+mj-lt"/>
            </a:endParaRPr>
          </a:p>
          <a:p>
            <a:pPr marL="67140">
              <a:lnSpc>
                <a:spcPct val="95825"/>
              </a:lnSpc>
            </a:pPr>
            <a:r>
              <a:rPr sz="1200" b="1" spc="-19" dirty="0" smtClean="0">
                <a:latin typeface="+mj-lt"/>
                <a:cs typeface="Arial"/>
              </a:rPr>
              <a:t>Y</a:t>
            </a:r>
            <a:r>
              <a:rPr sz="1200" b="1" spc="-9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578825" y="4497055"/>
            <a:ext cx="3110097" cy="37005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3995">
              <a:lnSpc>
                <a:spcPct val="95825"/>
              </a:lnSpc>
            </a:pPr>
            <a:r>
              <a:rPr sz="1200" b="1" spc="31" dirty="0" smtClean="0">
                <a:latin typeface="+mj-lt"/>
                <a:cs typeface="Arial"/>
              </a:rPr>
              <a:t>M</a:t>
            </a:r>
            <a:r>
              <a:rPr sz="1200" b="1" spc="0" dirty="0" smtClean="0">
                <a:latin typeface="+mj-lt"/>
                <a:cs typeface="Arial"/>
              </a:rPr>
              <a:t>u</a:t>
            </a:r>
            <a:r>
              <a:rPr sz="1200" b="1" spc="6" dirty="0" smtClean="0">
                <a:latin typeface="+mj-lt"/>
                <a:cs typeface="Arial"/>
              </a:rPr>
              <a:t>l</a:t>
            </a:r>
            <a:r>
              <a:rPr sz="1200" b="1" spc="-12" dirty="0" smtClean="0">
                <a:latin typeface="+mj-lt"/>
                <a:cs typeface="Arial"/>
              </a:rPr>
              <a:t>t</a:t>
            </a:r>
            <a:r>
              <a:rPr sz="1200" b="1" spc="6" dirty="0" smtClean="0">
                <a:latin typeface="+mj-lt"/>
                <a:cs typeface="Arial"/>
              </a:rPr>
              <a:t>i</a:t>
            </a:r>
            <a:r>
              <a:rPr sz="1200" b="1" spc="0" dirty="0" smtClean="0">
                <a:latin typeface="+mj-lt"/>
                <a:cs typeface="Arial"/>
              </a:rPr>
              <a:t>p</a:t>
            </a:r>
            <a:r>
              <a:rPr sz="1200" b="1" spc="6" dirty="0" smtClean="0">
                <a:latin typeface="+mj-lt"/>
                <a:cs typeface="Arial"/>
              </a:rPr>
              <a:t>l</a:t>
            </a:r>
            <a:r>
              <a:rPr sz="1200" b="1" spc="0" dirty="0" smtClean="0">
                <a:latin typeface="+mj-lt"/>
                <a:cs typeface="Arial"/>
              </a:rPr>
              <a:t>e</a:t>
            </a:r>
            <a:r>
              <a:rPr sz="1200" b="1" spc="38" dirty="0" smtClean="0">
                <a:latin typeface="+mj-lt"/>
                <a:cs typeface="Arial"/>
              </a:rPr>
              <a:t> </a:t>
            </a:r>
            <a:r>
              <a:rPr sz="1200" b="1" spc="-12" dirty="0" smtClean="0">
                <a:latin typeface="+mj-lt"/>
                <a:cs typeface="Arial"/>
              </a:rPr>
              <a:t>Dat</a:t>
            </a:r>
            <a:r>
              <a:rPr sz="1200" b="1" spc="0" dirty="0" smtClean="0">
                <a:latin typeface="+mj-lt"/>
                <a:cs typeface="Arial"/>
              </a:rPr>
              <a:t>a</a:t>
            </a:r>
            <a:r>
              <a:rPr sz="1200" b="1" spc="36" dirty="0" smtClean="0">
                <a:latin typeface="+mj-lt"/>
                <a:cs typeface="Arial"/>
              </a:rPr>
              <a:t> </a:t>
            </a:r>
            <a:r>
              <a:rPr sz="1200" b="1" spc="-25" dirty="0" smtClean="0">
                <a:latin typeface="+mj-lt"/>
                <a:cs typeface="Arial"/>
              </a:rPr>
              <a:t>T</a:t>
            </a:r>
            <a:r>
              <a:rPr sz="1200" b="1" spc="-75" dirty="0" smtClean="0">
                <a:latin typeface="+mj-lt"/>
                <a:cs typeface="Arial"/>
              </a:rPr>
              <a:t>y</a:t>
            </a:r>
            <a:r>
              <a:rPr sz="1200" b="1" spc="0" dirty="0" smtClean="0">
                <a:latin typeface="+mj-lt"/>
                <a:cs typeface="Arial"/>
              </a:rPr>
              <a:t>p</a:t>
            </a:r>
            <a:r>
              <a:rPr sz="1200" b="1" spc="-9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688924" y="4497055"/>
            <a:ext cx="1207670" cy="37005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4010">
              <a:lnSpc>
                <a:spcPct val="95825"/>
              </a:lnSpc>
            </a:pPr>
            <a:r>
              <a:rPr sz="1200" b="1" spc="-19" dirty="0" smtClean="0">
                <a:latin typeface="+mj-lt"/>
                <a:cs typeface="Arial"/>
              </a:rPr>
              <a:t>Y</a:t>
            </a:r>
            <a:r>
              <a:rPr sz="1200" b="1" spc="-9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896594" y="4497055"/>
            <a:ext cx="1151907" cy="37005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7140">
              <a:lnSpc>
                <a:spcPct val="95825"/>
              </a:lnSpc>
            </a:pPr>
            <a:r>
              <a:rPr sz="1200" b="1" spc="-19" dirty="0" smtClean="0">
                <a:latin typeface="+mj-lt"/>
                <a:cs typeface="Arial"/>
              </a:rPr>
              <a:t>Y</a:t>
            </a:r>
            <a:r>
              <a:rPr sz="1200" b="1" spc="-9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578825" y="4867111"/>
            <a:ext cx="3110097" cy="3702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3995">
              <a:lnSpc>
                <a:spcPct val="95825"/>
              </a:lnSpc>
            </a:pPr>
            <a:r>
              <a:rPr sz="1200" b="1" spc="6" dirty="0" smtClean="0">
                <a:latin typeface="+mj-lt"/>
                <a:cs typeface="Arial"/>
              </a:rPr>
              <a:t>S</a:t>
            </a:r>
            <a:r>
              <a:rPr sz="1200" b="1" spc="-12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p</a:t>
            </a:r>
            <a:r>
              <a:rPr sz="1200" b="1" spc="-12" dirty="0" smtClean="0">
                <a:latin typeface="+mj-lt"/>
                <a:cs typeface="Arial"/>
              </a:rPr>
              <a:t>a</a:t>
            </a:r>
            <a:r>
              <a:rPr sz="1200" b="1" spc="0" dirty="0" smtClean="0">
                <a:latin typeface="+mj-lt"/>
                <a:cs typeface="Arial"/>
              </a:rPr>
              <a:t>r</a:t>
            </a:r>
            <a:r>
              <a:rPr sz="1200" b="1" spc="-12" dirty="0" smtClean="0">
                <a:latin typeface="+mj-lt"/>
                <a:cs typeface="Arial"/>
              </a:rPr>
              <a:t>at</a:t>
            </a:r>
            <a:r>
              <a:rPr sz="1200" b="1" spc="0" dirty="0" smtClean="0">
                <a:latin typeface="+mj-lt"/>
                <a:cs typeface="Arial"/>
              </a:rPr>
              <a:t>e</a:t>
            </a:r>
            <a:r>
              <a:rPr sz="1200" b="1" spc="8" dirty="0" smtClean="0">
                <a:latin typeface="+mj-lt"/>
                <a:cs typeface="Arial"/>
              </a:rPr>
              <a:t> </a:t>
            </a:r>
            <a:r>
              <a:rPr sz="1200" b="1" spc="6" dirty="0" smtClean="0">
                <a:latin typeface="+mj-lt"/>
                <a:cs typeface="Arial"/>
              </a:rPr>
              <a:t>P</a:t>
            </a:r>
            <a:r>
              <a:rPr sz="1200" b="1" spc="0" dirty="0" smtClean="0">
                <a:latin typeface="+mj-lt"/>
                <a:cs typeface="Arial"/>
              </a:rPr>
              <a:t>h</a:t>
            </a:r>
            <a:r>
              <a:rPr sz="1200" b="1" spc="-96" dirty="0" smtClean="0">
                <a:latin typeface="+mj-lt"/>
                <a:cs typeface="Arial"/>
              </a:rPr>
              <a:t>y</a:t>
            </a:r>
            <a:r>
              <a:rPr sz="1200" b="1" spc="-12" dirty="0" smtClean="0">
                <a:latin typeface="+mj-lt"/>
                <a:cs typeface="Arial"/>
              </a:rPr>
              <a:t>s</a:t>
            </a:r>
            <a:r>
              <a:rPr sz="1200" b="1" spc="6" dirty="0" smtClean="0">
                <a:latin typeface="+mj-lt"/>
                <a:cs typeface="Arial"/>
              </a:rPr>
              <a:t>i</a:t>
            </a:r>
            <a:r>
              <a:rPr sz="1200" b="1" spc="-12" dirty="0" smtClean="0">
                <a:latin typeface="+mj-lt"/>
                <a:cs typeface="Arial"/>
              </a:rPr>
              <a:t>ca</a:t>
            </a:r>
            <a:r>
              <a:rPr sz="1200" b="1" spc="0" dirty="0" smtClean="0">
                <a:latin typeface="+mj-lt"/>
                <a:cs typeface="Arial"/>
              </a:rPr>
              <a:t>l</a:t>
            </a:r>
            <a:r>
              <a:rPr sz="1200" b="1" spc="41" dirty="0" smtClean="0">
                <a:latin typeface="+mj-lt"/>
                <a:cs typeface="Arial"/>
              </a:rPr>
              <a:t> </a:t>
            </a:r>
            <a:r>
              <a:rPr sz="1200" b="1" spc="4" dirty="0" smtClean="0">
                <a:latin typeface="+mj-lt"/>
                <a:cs typeface="Arial"/>
              </a:rPr>
              <a:t>S</a:t>
            </a:r>
            <a:r>
              <a:rPr sz="1200" b="1" spc="-9" dirty="0" smtClean="0">
                <a:latin typeface="+mj-lt"/>
                <a:cs typeface="Arial"/>
              </a:rPr>
              <a:t>t</a:t>
            </a:r>
            <a:r>
              <a:rPr sz="1200" b="1" spc="0" dirty="0" smtClean="0">
                <a:latin typeface="+mj-lt"/>
                <a:cs typeface="Arial"/>
              </a:rPr>
              <a:t>ru</a:t>
            </a:r>
            <a:r>
              <a:rPr sz="1200" b="1" spc="-9" dirty="0" smtClean="0">
                <a:latin typeface="+mj-lt"/>
                <a:cs typeface="Arial"/>
              </a:rPr>
              <a:t>ct</a:t>
            </a:r>
            <a:r>
              <a:rPr sz="1200" b="1" spc="0" dirty="0" smtClean="0">
                <a:latin typeface="+mj-lt"/>
                <a:cs typeface="Arial"/>
              </a:rPr>
              <a:t>ure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688924" y="4867111"/>
            <a:ext cx="1207670" cy="3702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4010">
              <a:lnSpc>
                <a:spcPct val="95825"/>
              </a:lnSpc>
            </a:pPr>
            <a:r>
              <a:rPr sz="1200" b="1" spc="-9" dirty="0" smtClean="0">
                <a:latin typeface="+mj-lt"/>
                <a:cs typeface="Arial"/>
              </a:rPr>
              <a:t>N</a:t>
            </a:r>
            <a:r>
              <a:rPr sz="1200" b="1" spc="0" dirty="0" smtClean="0">
                <a:latin typeface="+mj-lt"/>
                <a:cs typeface="Arial"/>
              </a:rPr>
              <a:t>one</a:t>
            </a:r>
            <a:endParaRPr sz="1200">
              <a:latin typeface="+mj-lt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896594" y="4867111"/>
            <a:ext cx="1151907" cy="3702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7140">
              <a:lnSpc>
                <a:spcPct val="95825"/>
              </a:lnSpc>
            </a:pPr>
            <a:r>
              <a:rPr sz="1200" b="1" spc="4" dirty="0" smtClean="0">
                <a:latin typeface="+mj-lt"/>
                <a:cs typeface="Arial"/>
              </a:rPr>
              <a:t>S</a:t>
            </a:r>
            <a:r>
              <a:rPr sz="1200" b="1" spc="0" dirty="0" smtClean="0">
                <a:latin typeface="+mj-lt"/>
                <a:cs typeface="Arial"/>
              </a:rPr>
              <a:t>ub</a:t>
            </a:r>
            <a:r>
              <a:rPr sz="1200" b="1" spc="-4" dirty="0" smtClean="0">
                <a:latin typeface="+mj-lt"/>
                <a:cs typeface="Arial"/>
              </a:rPr>
              <a:t>-</a:t>
            </a:r>
            <a:r>
              <a:rPr sz="1200" b="1" spc="-9" dirty="0" smtClean="0">
                <a:latin typeface="+mj-lt"/>
                <a:cs typeface="Arial"/>
              </a:rPr>
              <a:t>ta</a:t>
            </a:r>
            <a:r>
              <a:rPr sz="1200" b="1" spc="0" dirty="0" smtClean="0">
                <a:latin typeface="+mj-lt"/>
                <a:cs typeface="Arial"/>
              </a:rPr>
              <a:t>b</a:t>
            </a:r>
            <a:r>
              <a:rPr sz="1200" b="1" spc="4" dirty="0" smtClean="0">
                <a:latin typeface="+mj-lt"/>
                <a:cs typeface="Arial"/>
              </a:rPr>
              <a:t>l</a:t>
            </a:r>
            <a:r>
              <a:rPr sz="1200" b="1" spc="0" dirty="0" smtClean="0">
                <a:latin typeface="+mj-lt"/>
                <a:cs typeface="Arial"/>
              </a:rPr>
              <a:t>e</a:t>
            </a:r>
            <a:endParaRPr sz="1200">
              <a:latin typeface="+mj-lt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578825" y="5237320"/>
            <a:ext cx="3110097" cy="3702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5"/>
              </a:spcBef>
            </a:pPr>
            <a:endParaRPr sz="1400">
              <a:latin typeface="+mj-lt"/>
            </a:endParaRPr>
          </a:p>
          <a:p>
            <a:pPr marL="63995">
              <a:lnSpc>
                <a:spcPct val="95825"/>
              </a:lnSpc>
            </a:pPr>
            <a:r>
              <a:rPr sz="1200" b="1" spc="6" dirty="0" smtClean="0">
                <a:latin typeface="+mj-lt"/>
                <a:cs typeface="Arial"/>
              </a:rPr>
              <a:t>E</a:t>
            </a:r>
            <a:r>
              <a:rPr sz="1200" b="1" spc="-12" dirty="0" smtClean="0">
                <a:latin typeface="+mj-lt"/>
                <a:cs typeface="Arial"/>
              </a:rPr>
              <a:t>xt</a:t>
            </a:r>
            <a:r>
              <a:rPr sz="1200" b="1" spc="0" dirty="0" smtClean="0">
                <a:latin typeface="+mj-lt"/>
                <a:cs typeface="Arial"/>
              </a:rPr>
              <a:t>ra</a:t>
            </a:r>
            <a:r>
              <a:rPr sz="1200" b="1" spc="2" dirty="0" smtClean="0">
                <a:latin typeface="+mj-lt"/>
                <a:cs typeface="Arial"/>
              </a:rPr>
              <a:t> </a:t>
            </a:r>
            <a:r>
              <a:rPr sz="1200" b="1" spc="6" dirty="0" smtClean="0">
                <a:latin typeface="+mj-lt"/>
                <a:cs typeface="Arial"/>
              </a:rPr>
              <a:t>P</a:t>
            </a:r>
            <a:r>
              <a:rPr sz="1200" b="1" spc="0" dirty="0" smtClean="0">
                <a:latin typeface="+mj-lt"/>
                <a:cs typeface="Arial"/>
              </a:rPr>
              <a:t>ro</a:t>
            </a:r>
            <a:r>
              <a:rPr sz="1200" b="1" spc="-12" dirty="0" smtClean="0">
                <a:latin typeface="+mj-lt"/>
                <a:cs typeface="Arial"/>
              </a:rPr>
              <a:t>cess</a:t>
            </a:r>
            <a:r>
              <a:rPr sz="1200" b="1" spc="6" dirty="0" smtClean="0">
                <a:latin typeface="+mj-lt"/>
                <a:cs typeface="Arial"/>
              </a:rPr>
              <a:t>i</a:t>
            </a:r>
            <a:r>
              <a:rPr sz="1200" b="1" spc="0" dirty="0" smtClean="0">
                <a:latin typeface="+mj-lt"/>
                <a:cs typeface="Arial"/>
              </a:rPr>
              <a:t>ng</a:t>
            </a:r>
            <a:r>
              <a:rPr sz="1200" b="1" spc="17" dirty="0" smtClean="0">
                <a:latin typeface="+mj-lt"/>
                <a:cs typeface="Arial"/>
              </a:rPr>
              <a:t> </a:t>
            </a:r>
            <a:r>
              <a:rPr sz="1200" b="1" spc="-4" dirty="0" smtClean="0">
                <a:latin typeface="+mj-lt"/>
                <a:cs typeface="Arial"/>
              </a:rPr>
              <a:t>O</a:t>
            </a:r>
            <a:r>
              <a:rPr sz="1200" b="1" spc="-9" dirty="0" smtClean="0">
                <a:latin typeface="+mj-lt"/>
                <a:cs typeface="Arial"/>
              </a:rPr>
              <a:t>ve</a:t>
            </a:r>
            <a:r>
              <a:rPr sz="1200" b="1" spc="0" dirty="0" smtClean="0">
                <a:latin typeface="+mj-lt"/>
                <a:cs typeface="Arial"/>
              </a:rPr>
              <a:t>rh</a:t>
            </a:r>
            <a:r>
              <a:rPr sz="1200" b="1" spc="-9" dirty="0" smtClean="0">
                <a:latin typeface="+mj-lt"/>
                <a:cs typeface="Arial"/>
              </a:rPr>
              <a:t>ea</a:t>
            </a:r>
            <a:r>
              <a:rPr sz="1200" b="1" spc="0" dirty="0" smtClean="0">
                <a:latin typeface="+mj-lt"/>
                <a:cs typeface="Arial"/>
              </a:rPr>
              <a:t>d</a:t>
            </a:r>
            <a:endParaRPr sz="1200">
              <a:latin typeface="+mj-lt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688924" y="5237320"/>
            <a:ext cx="1207670" cy="3702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5"/>
              </a:spcBef>
            </a:pPr>
            <a:endParaRPr sz="1400">
              <a:latin typeface="+mj-lt"/>
            </a:endParaRPr>
          </a:p>
          <a:p>
            <a:pPr marL="64010">
              <a:lnSpc>
                <a:spcPct val="95825"/>
              </a:lnSpc>
            </a:pPr>
            <a:r>
              <a:rPr sz="1200" b="1" spc="-9" dirty="0" smtClean="0">
                <a:latin typeface="+mj-lt"/>
                <a:cs typeface="Arial"/>
              </a:rPr>
              <a:t>No</a:t>
            </a:r>
            <a:endParaRPr sz="1200">
              <a:latin typeface="+mj-lt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5896594" y="5237320"/>
            <a:ext cx="1151907" cy="3702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5"/>
              </a:spcBef>
            </a:pPr>
            <a:endParaRPr sz="1400">
              <a:latin typeface="+mj-lt"/>
            </a:endParaRPr>
          </a:p>
          <a:p>
            <a:pPr marL="67140">
              <a:lnSpc>
                <a:spcPct val="95825"/>
              </a:lnSpc>
            </a:pPr>
            <a:r>
              <a:rPr sz="1200" b="1" spc="-19" dirty="0" smtClean="0">
                <a:latin typeface="+mj-lt"/>
                <a:cs typeface="Arial"/>
              </a:rPr>
              <a:t>Y</a:t>
            </a:r>
            <a:r>
              <a:rPr sz="1200" b="1" spc="-9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2" y="6223000"/>
            <a:ext cx="9905998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84" name="Title 18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arison of Primary and Secondary Indexes</a:t>
            </a:r>
            <a:endParaRPr lang="en-US" dirty="0"/>
          </a:p>
        </p:txBody>
      </p:sp>
      <p:cxnSp>
        <p:nvCxnSpPr>
          <p:cNvPr id="188" name="Straight Connector 187"/>
          <p:cNvCxnSpPr/>
          <p:nvPr/>
        </p:nvCxnSpPr>
        <p:spPr>
          <a:xfrm>
            <a:off x="7048499" y="1473556"/>
            <a:ext cx="0" cy="4139844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Content Placeholder 6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very row of the table must be read.</a:t>
            </a:r>
          </a:p>
          <a:p>
            <a:r>
              <a:rPr lang="en-US" dirty="0"/>
              <a:t>All AMPs scan their portion of the table in parallel. Primary Index choice affects FTS performance.</a:t>
            </a:r>
          </a:p>
          <a:p>
            <a:r>
              <a:rPr lang="en-US" dirty="0"/>
              <a:t>Full-table scans typically occur when either</a:t>
            </a:r>
            <a:r>
              <a:rPr lang="en-US" dirty="0" smtClean="0"/>
              <a:t>:</a:t>
            </a:r>
          </a:p>
          <a:p>
            <a:pPr lvl="1"/>
            <a:r>
              <a:rPr lang="en-US" dirty="0"/>
              <a:t>The index columns are not used in the query</a:t>
            </a:r>
          </a:p>
          <a:p>
            <a:pPr lvl="1"/>
            <a:r>
              <a:rPr lang="en-US" dirty="0"/>
              <a:t>An index is used in a non-equality test</a:t>
            </a:r>
          </a:p>
          <a:p>
            <a:pPr lvl="1"/>
            <a:r>
              <a:rPr lang="en-US" dirty="0"/>
              <a:t>A range of values is specified for the primary index</a:t>
            </a:r>
          </a:p>
          <a:p>
            <a:endParaRPr lang="en-US" dirty="0"/>
          </a:p>
        </p:txBody>
      </p:sp>
      <p:sp>
        <p:nvSpPr>
          <p:cNvPr id="65" name="object 65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3643630" y="2746192"/>
            <a:ext cx="13756" cy="0"/>
          </a:xfrm>
          <a:custGeom>
            <a:avLst/>
            <a:gdLst/>
            <a:ahLst/>
            <a:cxnLst/>
            <a:rect l="l" t="t" r="r" b="b"/>
            <a:pathLst>
              <a:path w="13757">
                <a:moveTo>
                  <a:pt x="0" y="0"/>
                </a:moveTo>
                <a:lnTo>
                  <a:pt x="13757" y="0"/>
                </a:lnTo>
              </a:path>
            </a:pathLst>
          </a:custGeom>
          <a:ln w="722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90208" y="3238824"/>
            <a:ext cx="13756" cy="0"/>
          </a:xfrm>
          <a:custGeom>
            <a:avLst/>
            <a:gdLst/>
            <a:ahLst/>
            <a:cxnLst/>
            <a:rect l="l" t="t" r="r" b="b"/>
            <a:pathLst>
              <a:path w="13757">
                <a:moveTo>
                  <a:pt x="0" y="0"/>
                </a:moveTo>
                <a:lnTo>
                  <a:pt x="13757" y="0"/>
                </a:lnTo>
              </a:path>
            </a:pathLst>
          </a:custGeom>
          <a:ln w="722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2678305" y="3238824"/>
            <a:ext cx="13756" cy="0"/>
          </a:xfrm>
          <a:custGeom>
            <a:avLst/>
            <a:gdLst/>
            <a:ahLst/>
            <a:cxnLst/>
            <a:rect l="l" t="t" r="r" b="b"/>
            <a:pathLst>
              <a:path w="13757">
                <a:moveTo>
                  <a:pt x="0" y="0"/>
                </a:moveTo>
                <a:lnTo>
                  <a:pt x="13757" y="0"/>
                </a:lnTo>
              </a:path>
            </a:pathLst>
          </a:custGeom>
          <a:ln w="722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4719066" y="3238824"/>
            <a:ext cx="25224" cy="0"/>
          </a:xfrm>
          <a:custGeom>
            <a:avLst/>
            <a:gdLst/>
            <a:ahLst/>
            <a:cxnLst/>
            <a:rect l="l" t="t" r="r" b="b"/>
            <a:pathLst>
              <a:path w="25223">
                <a:moveTo>
                  <a:pt x="0" y="0"/>
                </a:moveTo>
                <a:lnTo>
                  <a:pt x="25223" y="0"/>
                </a:lnTo>
              </a:path>
            </a:pathLst>
          </a:custGeom>
          <a:ln w="722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107631" y="4481588"/>
            <a:ext cx="1371472" cy="201790"/>
          </a:xfrm>
          <a:custGeom>
            <a:avLst/>
            <a:gdLst/>
            <a:ahLst/>
            <a:cxnLst/>
            <a:rect l="l" t="t" r="r" b="b"/>
            <a:pathLst>
              <a:path w="1371472" h="201790">
                <a:moveTo>
                  <a:pt x="0" y="201790"/>
                </a:moveTo>
                <a:lnTo>
                  <a:pt x="1371472" y="201790"/>
                </a:lnTo>
                <a:lnTo>
                  <a:pt x="1371472" y="0"/>
                </a:lnTo>
                <a:lnTo>
                  <a:pt x="0" y="0"/>
                </a:lnTo>
                <a:lnTo>
                  <a:pt x="0" y="201790"/>
                </a:lnTo>
                <a:close/>
              </a:path>
            </a:pathLst>
          </a:custGeom>
          <a:solidFill>
            <a:srgbClr val="EBEBEB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1107631" y="4683339"/>
            <a:ext cx="1371472" cy="70779"/>
          </a:xfrm>
          <a:custGeom>
            <a:avLst/>
            <a:gdLst/>
            <a:ahLst/>
            <a:cxnLst/>
            <a:rect l="l" t="t" r="r" b="b"/>
            <a:pathLst>
              <a:path w="1371472" h="70779">
                <a:moveTo>
                  <a:pt x="0" y="70779"/>
                </a:moveTo>
                <a:lnTo>
                  <a:pt x="1371472" y="70779"/>
                </a:lnTo>
                <a:lnTo>
                  <a:pt x="1371472" y="0"/>
                </a:lnTo>
                <a:lnTo>
                  <a:pt x="0" y="0"/>
                </a:lnTo>
                <a:lnTo>
                  <a:pt x="0" y="70779"/>
                </a:lnTo>
                <a:close/>
              </a:path>
            </a:pathLst>
          </a:custGeom>
          <a:solidFill>
            <a:srgbClr val="EBEBEB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2491741" y="4481588"/>
            <a:ext cx="1816734" cy="201790"/>
          </a:xfrm>
          <a:custGeom>
            <a:avLst/>
            <a:gdLst/>
            <a:ahLst/>
            <a:cxnLst/>
            <a:rect l="l" t="t" r="r" b="b"/>
            <a:pathLst>
              <a:path w="1816735" h="201790">
                <a:moveTo>
                  <a:pt x="0" y="201790"/>
                </a:moveTo>
                <a:lnTo>
                  <a:pt x="1816735" y="201790"/>
                </a:lnTo>
                <a:lnTo>
                  <a:pt x="1816735" y="0"/>
                </a:lnTo>
                <a:lnTo>
                  <a:pt x="0" y="0"/>
                </a:lnTo>
                <a:lnTo>
                  <a:pt x="0" y="201790"/>
                </a:lnTo>
                <a:close/>
              </a:path>
            </a:pathLst>
          </a:custGeom>
          <a:solidFill>
            <a:srgbClr val="EBEBEB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2491741" y="4683339"/>
            <a:ext cx="1816734" cy="70779"/>
          </a:xfrm>
          <a:custGeom>
            <a:avLst/>
            <a:gdLst/>
            <a:ahLst/>
            <a:cxnLst/>
            <a:rect l="l" t="t" r="r" b="b"/>
            <a:pathLst>
              <a:path w="1816735" h="70779">
                <a:moveTo>
                  <a:pt x="0" y="70779"/>
                </a:moveTo>
                <a:lnTo>
                  <a:pt x="1816735" y="70779"/>
                </a:lnTo>
                <a:lnTo>
                  <a:pt x="1816735" y="0"/>
                </a:lnTo>
                <a:lnTo>
                  <a:pt x="0" y="0"/>
                </a:lnTo>
                <a:lnTo>
                  <a:pt x="0" y="70779"/>
                </a:lnTo>
                <a:close/>
              </a:path>
            </a:pathLst>
          </a:custGeom>
          <a:solidFill>
            <a:srgbClr val="EBEBEB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4321175" y="4481588"/>
            <a:ext cx="1865250" cy="201790"/>
          </a:xfrm>
          <a:custGeom>
            <a:avLst/>
            <a:gdLst/>
            <a:ahLst/>
            <a:cxnLst/>
            <a:rect l="l" t="t" r="r" b="b"/>
            <a:pathLst>
              <a:path w="1865249" h="201790">
                <a:moveTo>
                  <a:pt x="0" y="201790"/>
                </a:moveTo>
                <a:lnTo>
                  <a:pt x="1865249" y="201790"/>
                </a:lnTo>
                <a:lnTo>
                  <a:pt x="1865249" y="0"/>
                </a:lnTo>
                <a:lnTo>
                  <a:pt x="0" y="0"/>
                </a:lnTo>
                <a:lnTo>
                  <a:pt x="0" y="201790"/>
                </a:lnTo>
                <a:close/>
              </a:path>
            </a:pathLst>
          </a:custGeom>
          <a:solidFill>
            <a:srgbClr val="EBEBEB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4321175" y="4683339"/>
            <a:ext cx="1865250" cy="70779"/>
          </a:xfrm>
          <a:custGeom>
            <a:avLst/>
            <a:gdLst/>
            <a:ahLst/>
            <a:cxnLst/>
            <a:rect l="l" t="t" r="r" b="b"/>
            <a:pathLst>
              <a:path w="1865249" h="70779">
                <a:moveTo>
                  <a:pt x="0" y="70779"/>
                </a:moveTo>
                <a:lnTo>
                  <a:pt x="1865249" y="70779"/>
                </a:lnTo>
                <a:lnTo>
                  <a:pt x="1865249" y="0"/>
                </a:lnTo>
                <a:lnTo>
                  <a:pt x="0" y="0"/>
                </a:lnTo>
                <a:lnTo>
                  <a:pt x="0" y="70779"/>
                </a:lnTo>
                <a:close/>
              </a:path>
            </a:pathLst>
          </a:custGeom>
          <a:solidFill>
            <a:srgbClr val="EBEBEB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2485497" y="4481563"/>
            <a:ext cx="0" cy="274078"/>
          </a:xfrm>
          <a:custGeom>
            <a:avLst/>
            <a:gdLst/>
            <a:ahLst/>
            <a:cxnLst/>
            <a:rect l="l" t="t" r="r" b="b"/>
            <a:pathLst>
              <a:path h="274078">
                <a:moveTo>
                  <a:pt x="0" y="0"/>
                </a:moveTo>
                <a:lnTo>
                  <a:pt x="0" y="274078"/>
                </a:lnTo>
              </a:path>
            </a:pathLst>
          </a:custGeom>
          <a:ln w="139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2485497" y="4475213"/>
            <a:ext cx="0" cy="286778"/>
          </a:xfrm>
          <a:custGeom>
            <a:avLst/>
            <a:gdLst/>
            <a:ahLst/>
            <a:cxnLst/>
            <a:rect l="l" t="t" r="r" b="b"/>
            <a:pathLst>
              <a:path h="286778">
                <a:moveTo>
                  <a:pt x="0" y="0"/>
                </a:moveTo>
                <a:lnTo>
                  <a:pt x="0" y="286778"/>
                </a:lnTo>
              </a:path>
            </a:pathLst>
          </a:custGeom>
          <a:ln w="2663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4314804" y="4475213"/>
            <a:ext cx="0" cy="286778"/>
          </a:xfrm>
          <a:custGeom>
            <a:avLst/>
            <a:gdLst/>
            <a:ahLst/>
            <a:cxnLst/>
            <a:rect l="l" t="t" r="r" b="b"/>
            <a:pathLst>
              <a:path h="286778">
                <a:moveTo>
                  <a:pt x="0" y="0"/>
                </a:moveTo>
                <a:lnTo>
                  <a:pt x="0" y="286778"/>
                </a:lnTo>
              </a:path>
            </a:pathLst>
          </a:custGeom>
          <a:ln w="2663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6198027" y="4475213"/>
            <a:ext cx="0" cy="286778"/>
          </a:xfrm>
          <a:custGeom>
            <a:avLst/>
            <a:gdLst/>
            <a:ahLst/>
            <a:cxnLst/>
            <a:rect l="l" t="t" r="r" b="b"/>
            <a:pathLst>
              <a:path h="286778">
                <a:moveTo>
                  <a:pt x="0" y="0"/>
                </a:moveTo>
                <a:lnTo>
                  <a:pt x="0" y="286778"/>
                </a:lnTo>
              </a:path>
            </a:pathLst>
          </a:custGeom>
          <a:ln w="3717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1107631" y="4759369"/>
            <a:ext cx="1371472" cy="0"/>
          </a:xfrm>
          <a:custGeom>
            <a:avLst/>
            <a:gdLst/>
            <a:ahLst/>
            <a:cxnLst/>
            <a:rect l="l" t="t" r="r" b="b"/>
            <a:pathLst>
              <a:path w="1371472">
                <a:moveTo>
                  <a:pt x="0" y="0"/>
                </a:moveTo>
                <a:lnTo>
                  <a:pt x="1371472" y="0"/>
                </a:lnTo>
              </a:path>
            </a:pathLst>
          </a:custGeom>
          <a:ln w="88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1101281" y="4759369"/>
            <a:ext cx="1384172" cy="0"/>
          </a:xfrm>
          <a:custGeom>
            <a:avLst/>
            <a:gdLst/>
            <a:ahLst/>
            <a:cxnLst/>
            <a:rect l="l" t="t" r="r" b="b"/>
            <a:pathLst>
              <a:path w="1384172">
                <a:moveTo>
                  <a:pt x="0" y="0"/>
                </a:moveTo>
                <a:lnTo>
                  <a:pt x="1384172" y="0"/>
                </a:lnTo>
              </a:path>
            </a:pathLst>
          </a:custGeom>
          <a:ln w="215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2491741" y="4759369"/>
            <a:ext cx="1816734" cy="0"/>
          </a:xfrm>
          <a:custGeom>
            <a:avLst/>
            <a:gdLst/>
            <a:ahLst/>
            <a:cxnLst/>
            <a:rect l="l" t="t" r="r" b="b"/>
            <a:pathLst>
              <a:path w="1816735">
                <a:moveTo>
                  <a:pt x="0" y="0"/>
                </a:moveTo>
                <a:lnTo>
                  <a:pt x="1816735" y="0"/>
                </a:lnTo>
              </a:path>
            </a:pathLst>
          </a:custGeom>
          <a:ln w="88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2485391" y="4759369"/>
            <a:ext cx="1829435" cy="0"/>
          </a:xfrm>
          <a:custGeom>
            <a:avLst/>
            <a:gdLst/>
            <a:ahLst/>
            <a:cxnLst/>
            <a:rect l="l" t="t" r="r" b="b"/>
            <a:pathLst>
              <a:path w="1829435">
                <a:moveTo>
                  <a:pt x="0" y="0"/>
                </a:moveTo>
                <a:lnTo>
                  <a:pt x="1829435" y="0"/>
                </a:lnTo>
              </a:path>
            </a:pathLst>
          </a:custGeom>
          <a:ln w="215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4321175" y="4759369"/>
            <a:ext cx="1865250" cy="0"/>
          </a:xfrm>
          <a:custGeom>
            <a:avLst/>
            <a:gdLst/>
            <a:ahLst/>
            <a:cxnLst/>
            <a:rect l="l" t="t" r="r" b="b"/>
            <a:pathLst>
              <a:path w="1865249">
                <a:moveTo>
                  <a:pt x="0" y="0"/>
                </a:moveTo>
                <a:lnTo>
                  <a:pt x="1865249" y="0"/>
                </a:lnTo>
              </a:path>
            </a:pathLst>
          </a:custGeom>
          <a:ln w="88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4314826" y="4759369"/>
            <a:ext cx="1877949" cy="0"/>
          </a:xfrm>
          <a:custGeom>
            <a:avLst/>
            <a:gdLst/>
            <a:ahLst/>
            <a:cxnLst/>
            <a:rect l="l" t="t" r="r" b="b"/>
            <a:pathLst>
              <a:path w="1877949">
                <a:moveTo>
                  <a:pt x="0" y="0"/>
                </a:moveTo>
                <a:lnTo>
                  <a:pt x="1877949" y="0"/>
                </a:lnTo>
              </a:path>
            </a:pathLst>
          </a:custGeom>
          <a:ln w="215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2485497" y="4763135"/>
            <a:ext cx="0" cy="265049"/>
          </a:xfrm>
          <a:custGeom>
            <a:avLst/>
            <a:gdLst/>
            <a:ahLst/>
            <a:cxnLst/>
            <a:rect l="l" t="t" r="r" b="b"/>
            <a:pathLst>
              <a:path h="265049">
                <a:moveTo>
                  <a:pt x="0" y="0"/>
                </a:moveTo>
                <a:lnTo>
                  <a:pt x="0" y="265049"/>
                </a:lnTo>
              </a:path>
            </a:pathLst>
          </a:custGeom>
          <a:ln w="139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2485497" y="4756786"/>
            <a:ext cx="0" cy="277749"/>
          </a:xfrm>
          <a:custGeom>
            <a:avLst/>
            <a:gdLst/>
            <a:ahLst/>
            <a:cxnLst/>
            <a:rect l="l" t="t" r="r" b="b"/>
            <a:pathLst>
              <a:path h="277749">
                <a:moveTo>
                  <a:pt x="0" y="0"/>
                </a:moveTo>
                <a:lnTo>
                  <a:pt x="0" y="277749"/>
                </a:lnTo>
              </a:path>
            </a:pathLst>
          </a:custGeom>
          <a:ln w="2663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4314804" y="4756786"/>
            <a:ext cx="0" cy="277749"/>
          </a:xfrm>
          <a:custGeom>
            <a:avLst/>
            <a:gdLst/>
            <a:ahLst/>
            <a:cxnLst/>
            <a:rect l="l" t="t" r="r" b="b"/>
            <a:pathLst>
              <a:path h="277749">
                <a:moveTo>
                  <a:pt x="0" y="0"/>
                </a:moveTo>
                <a:lnTo>
                  <a:pt x="0" y="277749"/>
                </a:lnTo>
              </a:path>
            </a:pathLst>
          </a:custGeom>
          <a:ln w="2663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6198027" y="4756786"/>
            <a:ext cx="0" cy="277749"/>
          </a:xfrm>
          <a:custGeom>
            <a:avLst/>
            <a:gdLst/>
            <a:ahLst/>
            <a:cxnLst/>
            <a:rect l="l" t="t" r="r" b="b"/>
            <a:pathLst>
              <a:path h="277749">
                <a:moveTo>
                  <a:pt x="0" y="0"/>
                </a:moveTo>
                <a:lnTo>
                  <a:pt x="0" y="277749"/>
                </a:lnTo>
              </a:path>
            </a:pathLst>
          </a:custGeom>
          <a:ln w="3717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1107631" y="5032038"/>
            <a:ext cx="1371472" cy="0"/>
          </a:xfrm>
          <a:custGeom>
            <a:avLst/>
            <a:gdLst/>
            <a:ahLst/>
            <a:cxnLst/>
            <a:rect l="l" t="t" r="r" b="b"/>
            <a:pathLst>
              <a:path w="1371472">
                <a:moveTo>
                  <a:pt x="0" y="0"/>
                </a:moveTo>
                <a:lnTo>
                  <a:pt x="1371472" y="0"/>
                </a:lnTo>
              </a:path>
            </a:pathLst>
          </a:custGeom>
          <a:ln w="88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1101281" y="5032038"/>
            <a:ext cx="1384172" cy="0"/>
          </a:xfrm>
          <a:custGeom>
            <a:avLst/>
            <a:gdLst/>
            <a:ahLst/>
            <a:cxnLst/>
            <a:rect l="l" t="t" r="r" b="b"/>
            <a:pathLst>
              <a:path w="1384172">
                <a:moveTo>
                  <a:pt x="0" y="0"/>
                </a:moveTo>
                <a:lnTo>
                  <a:pt x="1384172" y="0"/>
                </a:lnTo>
              </a:path>
            </a:pathLst>
          </a:custGeom>
          <a:ln w="215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2491741" y="5032038"/>
            <a:ext cx="1816734" cy="0"/>
          </a:xfrm>
          <a:custGeom>
            <a:avLst/>
            <a:gdLst/>
            <a:ahLst/>
            <a:cxnLst/>
            <a:rect l="l" t="t" r="r" b="b"/>
            <a:pathLst>
              <a:path w="1816735">
                <a:moveTo>
                  <a:pt x="0" y="0"/>
                </a:moveTo>
                <a:lnTo>
                  <a:pt x="1816735" y="0"/>
                </a:lnTo>
              </a:path>
            </a:pathLst>
          </a:custGeom>
          <a:ln w="88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2485391" y="5032038"/>
            <a:ext cx="1829435" cy="0"/>
          </a:xfrm>
          <a:custGeom>
            <a:avLst/>
            <a:gdLst/>
            <a:ahLst/>
            <a:cxnLst/>
            <a:rect l="l" t="t" r="r" b="b"/>
            <a:pathLst>
              <a:path w="1829435">
                <a:moveTo>
                  <a:pt x="0" y="0"/>
                </a:moveTo>
                <a:lnTo>
                  <a:pt x="1829435" y="0"/>
                </a:lnTo>
              </a:path>
            </a:pathLst>
          </a:custGeom>
          <a:ln w="215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4321175" y="5032038"/>
            <a:ext cx="1865250" cy="0"/>
          </a:xfrm>
          <a:custGeom>
            <a:avLst/>
            <a:gdLst/>
            <a:ahLst/>
            <a:cxnLst/>
            <a:rect l="l" t="t" r="r" b="b"/>
            <a:pathLst>
              <a:path w="1865249">
                <a:moveTo>
                  <a:pt x="0" y="0"/>
                </a:moveTo>
                <a:lnTo>
                  <a:pt x="1865249" y="0"/>
                </a:lnTo>
              </a:path>
            </a:pathLst>
          </a:custGeom>
          <a:ln w="88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4314826" y="5032038"/>
            <a:ext cx="1877949" cy="0"/>
          </a:xfrm>
          <a:custGeom>
            <a:avLst/>
            <a:gdLst/>
            <a:ahLst/>
            <a:cxnLst/>
            <a:rect l="l" t="t" r="r" b="b"/>
            <a:pathLst>
              <a:path w="1877949">
                <a:moveTo>
                  <a:pt x="0" y="0"/>
                </a:moveTo>
                <a:lnTo>
                  <a:pt x="1877949" y="0"/>
                </a:lnTo>
              </a:path>
            </a:pathLst>
          </a:custGeom>
          <a:ln w="215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1096033" y="4481563"/>
            <a:ext cx="0" cy="820686"/>
          </a:xfrm>
          <a:custGeom>
            <a:avLst/>
            <a:gdLst/>
            <a:ahLst/>
            <a:cxnLst/>
            <a:rect l="l" t="t" r="r" b="b"/>
            <a:pathLst>
              <a:path h="820686">
                <a:moveTo>
                  <a:pt x="0" y="0"/>
                </a:moveTo>
                <a:lnTo>
                  <a:pt x="0" y="820686"/>
                </a:lnTo>
              </a:path>
            </a:pathLst>
          </a:custGeom>
          <a:ln w="2448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2485497" y="5037202"/>
            <a:ext cx="0" cy="265049"/>
          </a:xfrm>
          <a:custGeom>
            <a:avLst/>
            <a:gdLst/>
            <a:ahLst/>
            <a:cxnLst/>
            <a:rect l="l" t="t" r="r" b="b"/>
            <a:pathLst>
              <a:path h="265049">
                <a:moveTo>
                  <a:pt x="0" y="0"/>
                </a:moveTo>
                <a:lnTo>
                  <a:pt x="0" y="265048"/>
                </a:lnTo>
              </a:path>
            </a:pathLst>
          </a:custGeom>
          <a:ln w="139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2485497" y="5030852"/>
            <a:ext cx="0" cy="277749"/>
          </a:xfrm>
          <a:custGeom>
            <a:avLst/>
            <a:gdLst/>
            <a:ahLst/>
            <a:cxnLst/>
            <a:rect l="l" t="t" r="r" b="b"/>
            <a:pathLst>
              <a:path h="277749">
                <a:moveTo>
                  <a:pt x="0" y="0"/>
                </a:moveTo>
                <a:lnTo>
                  <a:pt x="0" y="277748"/>
                </a:lnTo>
              </a:path>
            </a:pathLst>
          </a:custGeom>
          <a:ln w="2663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4314804" y="4481563"/>
            <a:ext cx="0" cy="820686"/>
          </a:xfrm>
          <a:custGeom>
            <a:avLst/>
            <a:gdLst/>
            <a:ahLst/>
            <a:cxnLst/>
            <a:rect l="l" t="t" r="r" b="b"/>
            <a:pathLst>
              <a:path h="820686">
                <a:moveTo>
                  <a:pt x="0" y="0"/>
                </a:moveTo>
                <a:lnTo>
                  <a:pt x="0" y="820686"/>
                </a:lnTo>
              </a:path>
            </a:pathLst>
          </a:custGeom>
          <a:ln w="139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4314804" y="5030852"/>
            <a:ext cx="0" cy="277749"/>
          </a:xfrm>
          <a:custGeom>
            <a:avLst/>
            <a:gdLst/>
            <a:ahLst/>
            <a:cxnLst/>
            <a:rect l="l" t="t" r="r" b="b"/>
            <a:pathLst>
              <a:path h="277749">
                <a:moveTo>
                  <a:pt x="0" y="0"/>
                </a:moveTo>
                <a:lnTo>
                  <a:pt x="0" y="277748"/>
                </a:lnTo>
              </a:path>
            </a:pathLst>
          </a:custGeom>
          <a:ln w="2663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6198027" y="4481563"/>
            <a:ext cx="0" cy="820686"/>
          </a:xfrm>
          <a:custGeom>
            <a:avLst/>
            <a:gdLst/>
            <a:ahLst/>
            <a:cxnLst/>
            <a:rect l="l" t="t" r="r" b="b"/>
            <a:pathLst>
              <a:path h="820686">
                <a:moveTo>
                  <a:pt x="0" y="0"/>
                </a:moveTo>
                <a:lnTo>
                  <a:pt x="0" y="820686"/>
                </a:lnTo>
              </a:path>
            </a:pathLst>
          </a:custGeom>
          <a:ln w="2447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6198027" y="5030852"/>
            <a:ext cx="0" cy="277749"/>
          </a:xfrm>
          <a:custGeom>
            <a:avLst/>
            <a:gdLst/>
            <a:ahLst/>
            <a:cxnLst/>
            <a:rect l="l" t="t" r="r" b="b"/>
            <a:pathLst>
              <a:path h="277749">
                <a:moveTo>
                  <a:pt x="0" y="0"/>
                </a:moveTo>
                <a:lnTo>
                  <a:pt x="0" y="277748"/>
                </a:lnTo>
              </a:path>
            </a:pathLst>
          </a:custGeom>
          <a:ln w="3717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1084428" y="4474083"/>
            <a:ext cx="5123078" cy="0"/>
          </a:xfrm>
          <a:custGeom>
            <a:avLst/>
            <a:gdLst/>
            <a:ahLst/>
            <a:cxnLst/>
            <a:rect l="l" t="t" r="r" b="b"/>
            <a:pathLst>
              <a:path w="5123078">
                <a:moveTo>
                  <a:pt x="0" y="0"/>
                </a:moveTo>
                <a:lnTo>
                  <a:pt x="5123078" y="0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335786" y="4165600"/>
            <a:ext cx="93161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CU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200" spc="-2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OM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ER</a:t>
            </a:r>
            <a:endParaRPr sz="1200" dirty="0">
              <a:latin typeface="+mj-lt"/>
              <a:cs typeface="Cambri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125119" y="5385309"/>
            <a:ext cx="2605622" cy="2280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50"/>
              </a:lnSpc>
              <a:spcBef>
                <a:spcPts val="87"/>
              </a:spcBef>
            </a:pP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x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ples</a:t>
            </a:r>
            <a:r>
              <a:rPr sz="1400" spc="-60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f</a:t>
            </a:r>
            <a:r>
              <a:rPr sz="1400" spc="-3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F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-</a:t>
            </a:r>
            <a:r>
              <a:rPr sz="1400" spc="-11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ble</a:t>
            </a:r>
            <a:r>
              <a:rPr sz="1400" spc="-2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c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: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073150" y="5680774"/>
            <a:ext cx="6191250" cy="84702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405">
              <a:lnSpc>
                <a:spcPct val="97696"/>
              </a:lnSpc>
              <a:spcBef>
                <a:spcPts val="395"/>
              </a:spcBef>
            </a:pP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LECT</a:t>
            </a:r>
            <a:r>
              <a:rPr sz="1200" spc="282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* 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F</a:t>
            </a:r>
            <a:r>
              <a:rPr sz="1200" spc="-1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200" spc="-1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er</a:t>
            </a:r>
            <a:r>
              <a:rPr sz="1200" spc="-3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W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HE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RE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ust_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P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hone</a:t>
            </a:r>
            <a:r>
              <a:rPr sz="1200" spc="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LI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K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200" spc="-3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‘52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4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-_</a:t>
            </a:r>
            <a:r>
              <a:rPr sz="1200" spc="-1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_</a:t>
            </a:r>
            <a:r>
              <a:rPr sz="1200" spc="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_</a:t>
            </a:r>
            <a:r>
              <a:rPr sz="1200" spc="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_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’;</a:t>
            </a:r>
            <a:endParaRPr sz="1200" dirty="0">
              <a:latin typeface="+mj-lt"/>
              <a:cs typeface="Cambria"/>
            </a:endParaRPr>
          </a:p>
          <a:p>
            <a:pPr marL="92405">
              <a:lnSpc>
                <a:spcPct val="97696"/>
              </a:lnSpc>
              <a:spcBef>
                <a:spcPts val="35"/>
              </a:spcBef>
            </a:pP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SEL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CT</a:t>
            </a:r>
            <a:r>
              <a:rPr sz="1200" spc="292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* 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F</a:t>
            </a:r>
            <a:r>
              <a:rPr sz="1200" spc="-1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cu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er</a:t>
            </a:r>
            <a:r>
              <a:rPr sz="1200" spc="-3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WH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RE 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st_Na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e &lt;&gt;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‘D</a:t>
            </a:r>
            <a:r>
              <a:rPr sz="1200" spc="-29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v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s’;</a:t>
            </a:r>
            <a:endParaRPr sz="1200" dirty="0">
              <a:latin typeface="+mj-lt"/>
              <a:cs typeface="Cambria"/>
            </a:endParaRPr>
          </a:p>
          <a:p>
            <a:pPr marL="92405">
              <a:lnSpc>
                <a:spcPct val="97696"/>
              </a:lnSpc>
              <a:spcBef>
                <a:spcPts val="878"/>
              </a:spcBef>
            </a:pP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SEL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CT</a:t>
            </a:r>
            <a:r>
              <a:rPr sz="1200" spc="292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* 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F</a:t>
            </a:r>
            <a:r>
              <a:rPr sz="1200" spc="-1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cu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er</a:t>
            </a:r>
            <a:r>
              <a:rPr sz="1200" spc="-3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WH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RE 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st_ID</a:t>
            </a:r>
            <a:r>
              <a:rPr sz="1200" spc="-1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&gt;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1000;</a:t>
            </a:r>
            <a:endParaRPr sz="1200" dirty="0">
              <a:latin typeface="+mj-lt"/>
              <a:cs typeface="Cambr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096031" y="4474083"/>
            <a:ext cx="1389464" cy="28528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39626">
              <a:lnSpc>
                <a:spcPct val="97696"/>
              </a:lnSpc>
              <a:spcBef>
                <a:spcPts val="100"/>
              </a:spcBef>
            </a:pPr>
            <a:r>
              <a:rPr sz="1400" spc="-9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st_ID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485498" y="4474083"/>
            <a:ext cx="1829307" cy="28528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38830">
              <a:lnSpc>
                <a:spcPct val="97696"/>
              </a:lnSpc>
              <a:spcBef>
                <a:spcPts val="100"/>
              </a:spcBef>
            </a:pPr>
            <a:r>
              <a:rPr sz="1400" spc="-9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st_Na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e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314807" y="4474083"/>
            <a:ext cx="1883223" cy="28528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45688">
              <a:lnSpc>
                <a:spcPct val="97696"/>
              </a:lnSpc>
              <a:spcBef>
                <a:spcPts val="100"/>
              </a:spcBef>
            </a:pPr>
            <a:r>
              <a:rPr sz="1400" spc="-9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st_</a:t>
            </a:r>
            <a:r>
              <a:rPr sz="1400" spc="-9" dirty="0" smtClean="0">
                <a:latin typeface="+mj-lt"/>
                <a:cs typeface="Cambria"/>
              </a:rPr>
              <a:t>P</a:t>
            </a:r>
            <a:r>
              <a:rPr sz="1400" spc="4" dirty="0" smtClean="0">
                <a:latin typeface="+mj-lt"/>
                <a:cs typeface="Cambria"/>
              </a:rPr>
              <a:t>h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e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096031" y="4759370"/>
            <a:ext cx="1389464" cy="2726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41429">
              <a:lnSpc>
                <a:spcPct val="97696"/>
              </a:lnSpc>
              <a:spcBef>
                <a:spcPts val="70"/>
              </a:spcBef>
            </a:pPr>
            <a:r>
              <a:rPr sz="1400" spc="0" dirty="0" smtClean="0">
                <a:latin typeface="+mj-lt"/>
                <a:cs typeface="Cambria"/>
              </a:rPr>
              <a:t>USI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485498" y="4759370"/>
            <a:ext cx="1829307" cy="2726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32073">
              <a:lnSpc>
                <a:spcPct val="97696"/>
              </a:lnSpc>
              <a:spcBef>
                <a:spcPts val="70"/>
              </a:spcBef>
            </a:pP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SI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314807" y="4759370"/>
            <a:ext cx="1883223" cy="2726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99205">
              <a:lnSpc>
                <a:spcPct val="97696"/>
              </a:lnSpc>
              <a:spcBef>
                <a:spcPts val="70"/>
              </a:spcBef>
            </a:pP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-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I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096031" y="5032039"/>
            <a:ext cx="1389464" cy="27021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485498" y="5032039"/>
            <a:ext cx="1829307" cy="2765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4314807" y="5032039"/>
            <a:ext cx="1883223" cy="2765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7" name="Title 6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– Table Scans </a:t>
            </a:r>
            <a:endParaRPr 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23"/>
          <p:cNvSpPr>
            <a:spLocks noGrp="1"/>
          </p:cNvSpPr>
          <p:nvPr>
            <p:ph idx="1"/>
          </p:nvPr>
        </p:nvSpPr>
        <p:spPr>
          <a:xfrm>
            <a:off x="325880" y="1346201"/>
            <a:ext cx="9656320" cy="4712547"/>
          </a:xfrm>
        </p:spPr>
        <p:txBody>
          <a:bodyPr/>
          <a:lstStyle/>
          <a:p>
            <a:r>
              <a:rPr lang="en-US" dirty="0"/>
              <a:t>Teradata uses hash partitioning and distribution to randomly and evenly distribute data</a:t>
            </a:r>
          </a:p>
          <a:p>
            <a:r>
              <a:rPr lang="en-US" dirty="0"/>
              <a:t>across all AMPs.</a:t>
            </a:r>
          </a:p>
          <a:p>
            <a:r>
              <a:rPr lang="en-US" dirty="0"/>
              <a:t>The rows of every table are distributed among all AMPs - and ideally will be evenly distributed among all AMPs.</a:t>
            </a:r>
          </a:p>
          <a:p>
            <a:r>
              <a:rPr lang="en-US" dirty="0"/>
              <a:t>Each AMP is responsible for a subset of the rows of each table. Evenly distributed tables result in evenly distributed workloads. The data is not placed in any particular order</a:t>
            </a:r>
          </a:p>
          <a:p>
            <a:endParaRPr lang="en-US" dirty="0"/>
          </a:p>
        </p:txBody>
      </p:sp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Teradata Store Rows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21" name="object 21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95301" y="4241800"/>
            <a:ext cx="4292600" cy="1676400"/>
          </a:xfrm>
          <a:custGeom>
            <a:avLst/>
            <a:gdLst/>
            <a:ahLst/>
            <a:cxnLst/>
            <a:rect l="l" t="t" r="r" b="b"/>
            <a:pathLst>
              <a:path w="4292600" h="1676400">
                <a:moveTo>
                  <a:pt x="0" y="1676400"/>
                </a:moveTo>
                <a:lnTo>
                  <a:pt x="4292600" y="1676400"/>
                </a:lnTo>
                <a:lnTo>
                  <a:pt x="4292600" y="0"/>
                </a:lnTo>
                <a:lnTo>
                  <a:pt x="0" y="0"/>
                </a:lnTo>
                <a:lnTo>
                  <a:pt x="0" y="1676400"/>
                </a:lnTo>
                <a:close/>
              </a:path>
            </a:pathLst>
          </a:custGeom>
          <a:ln w="25400">
            <a:solidFill>
              <a:srgbClr val="B7BD1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4953001" y="4241800"/>
            <a:ext cx="4540250" cy="1600200"/>
          </a:xfrm>
          <a:custGeom>
            <a:avLst/>
            <a:gdLst/>
            <a:ahLst/>
            <a:cxnLst/>
            <a:rect l="l" t="t" r="r" b="b"/>
            <a:pathLst>
              <a:path w="4540250" h="1600200">
                <a:moveTo>
                  <a:pt x="0" y="1600200"/>
                </a:moveTo>
                <a:lnTo>
                  <a:pt x="4540250" y="1600200"/>
                </a:lnTo>
                <a:lnTo>
                  <a:pt x="4540250" y="0"/>
                </a:lnTo>
                <a:lnTo>
                  <a:pt x="0" y="0"/>
                </a:lnTo>
                <a:lnTo>
                  <a:pt x="0" y="1600200"/>
                </a:lnTo>
                <a:close/>
              </a:path>
            </a:pathLst>
          </a:custGeom>
          <a:ln w="25400">
            <a:solidFill>
              <a:srgbClr val="B7BD1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10363" y="1429779"/>
            <a:ext cx="164387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endParaRPr sz="1800" dirty="0">
              <a:latin typeface="Wingdings"/>
              <a:cs typeface="Wingdings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511165" y="4737841"/>
            <a:ext cx="211018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0"/>
              </a:lnSpc>
              <a:spcBef>
                <a:spcPts val="76"/>
              </a:spcBef>
            </a:pPr>
            <a:r>
              <a:rPr sz="1400" spc="0" dirty="0" smtClean="0">
                <a:latin typeface="+mj-lt"/>
                <a:cs typeface="Wingdings"/>
              </a:rPr>
              <a:t></a:t>
            </a:r>
            <a:endParaRPr sz="1400">
              <a:latin typeface="+mj-lt"/>
              <a:cs typeface="Wingding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747386" y="4737744"/>
            <a:ext cx="3250863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-4" dirty="0" smtClean="0">
                <a:latin typeface="+mj-lt"/>
                <a:cs typeface="Cambria"/>
              </a:rPr>
              <a:t>D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strib</a:t>
            </a:r>
            <a:r>
              <a:rPr sz="1400" spc="4" dirty="0" smtClean="0">
                <a:latin typeface="+mj-lt"/>
                <a:cs typeface="Cambria"/>
              </a:rPr>
              <a:t>uti</a:t>
            </a:r>
            <a:r>
              <a:rPr sz="1400" spc="0" dirty="0" smtClean="0">
                <a:latin typeface="+mj-lt"/>
                <a:cs typeface="Cambria"/>
              </a:rPr>
              <a:t>on</a:t>
            </a:r>
            <a:r>
              <a:rPr sz="1400" spc="-50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s t</a:t>
            </a:r>
            <a:r>
              <a:rPr sz="1400" spc="4" dirty="0" smtClean="0">
                <a:latin typeface="+mj-lt"/>
                <a:cs typeface="Cambria"/>
              </a:rPr>
              <a:t>h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4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me</a:t>
            </a:r>
            <a:r>
              <a:rPr sz="1400" spc="9" dirty="0" smtClean="0">
                <a:latin typeface="+mj-lt"/>
                <a:cs typeface="Cambria"/>
              </a:rPr>
              <a:t> 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g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d</a:t>
            </a:r>
            <a:r>
              <a:rPr sz="1400" spc="4" dirty="0" smtClean="0">
                <a:latin typeface="+mj-lt"/>
                <a:cs typeface="Cambria"/>
              </a:rPr>
              <a:t>l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s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of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da</a:t>
            </a:r>
            <a:r>
              <a:rPr sz="1400" spc="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a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511165" y="5164942"/>
            <a:ext cx="211018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0"/>
              </a:lnSpc>
              <a:spcBef>
                <a:spcPts val="76"/>
              </a:spcBef>
            </a:pPr>
            <a:r>
              <a:rPr sz="1400" spc="0" dirty="0" smtClean="0">
                <a:latin typeface="+mj-lt"/>
                <a:cs typeface="Wingdings"/>
              </a:rPr>
              <a:t></a:t>
            </a:r>
            <a:endParaRPr sz="1400">
              <a:latin typeface="+mj-lt"/>
              <a:cs typeface="Wingding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747385" y="5164845"/>
            <a:ext cx="3523139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-4" dirty="0" smtClean="0">
                <a:latin typeface="+mj-lt"/>
                <a:cs typeface="Cambria"/>
              </a:rPr>
              <a:t>D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strib</a:t>
            </a:r>
            <a:r>
              <a:rPr sz="1400" spc="4" dirty="0" smtClean="0">
                <a:latin typeface="+mj-lt"/>
                <a:cs typeface="Cambria"/>
              </a:rPr>
              <a:t>uti</a:t>
            </a:r>
            <a:r>
              <a:rPr sz="1400" spc="0" dirty="0" smtClean="0">
                <a:latin typeface="+mj-lt"/>
                <a:cs typeface="Cambria"/>
              </a:rPr>
              <a:t>on</a:t>
            </a:r>
            <a:r>
              <a:rPr sz="1400" spc="-50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s ba</a:t>
            </a:r>
            <a:r>
              <a:rPr sz="1400" spc="-4" dirty="0" smtClean="0">
                <a:latin typeface="+mj-lt"/>
                <a:cs typeface="Cambria"/>
              </a:rPr>
              <a:t>s</a:t>
            </a:r>
            <a:r>
              <a:rPr sz="1400" spc="0" dirty="0" smtClean="0">
                <a:latin typeface="+mj-lt"/>
                <a:cs typeface="Cambria"/>
              </a:rPr>
              <a:t>ed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on</a:t>
            </a:r>
            <a:r>
              <a:rPr sz="1400" spc="9" dirty="0" smtClean="0">
                <a:latin typeface="+mj-lt"/>
                <a:cs typeface="Cambria"/>
              </a:rPr>
              <a:t> 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-1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w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2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,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-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t</a:t>
            </a:r>
            <a:r>
              <a:rPr sz="1400" spc="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da</a:t>
            </a:r>
            <a:r>
              <a:rPr sz="1400" spc="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a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953001" y="4241800"/>
            <a:ext cx="4540250" cy="160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 dirty="0">
              <a:latin typeface="+mj-lt"/>
            </a:endParaRPr>
          </a:p>
          <a:p>
            <a:pPr marL="570864">
              <a:lnSpc>
                <a:spcPct val="97696"/>
              </a:lnSpc>
              <a:spcBef>
                <a:spcPts val="1132"/>
              </a:spcBef>
            </a:pPr>
            <a:r>
              <a:rPr sz="1400" spc="-4" dirty="0" smtClean="0">
                <a:latin typeface="+mj-lt"/>
                <a:cs typeface="Cambria"/>
              </a:rPr>
              <a:t>T</a:t>
            </a:r>
            <a:r>
              <a:rPr sz="1400" spc="4" dirty="0" smtClean="0">
                <a:latin typeface="+mj-lt"/>
                <a:cs typeface="Cambria"/>
              </a:rPr>
              <a:t>h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be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f</a:t>
            </a:r>
            <a:r>
              <a:rPr sz="1400" spc="4" dirty="0" smtClean="0">
                <a:latin typeface="+mj-lt"/>
                <a:cs typeface="Cambria"/>
              </a:rPr>
              <a:t>it</a:t>
            </a:r>
            <a:r>
              <a:rPr sz="1400" spc="0" dirty="0" smtClean="0">
                <a:latin typeface="+mj-lt"/>
                <a:cs typeface="Cambria"/>
              </a:rPr>
              <a:t>s of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at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-2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da</a:t>
            </a:r>
            <a:r>
              <a:rPr sz="1400" spc="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pla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t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nc</a:t>
            </a:r>
            <a:r>
              <a:rPr sz="1400" spc="4" dirty="0" smtClean="0">
                <a:latin typeface="+mj-lt"/>
                <a:cs typeface="Cambria"/>
              </a:rPr>
              <a:t>lu</a:t>
            </a:r>
            <a:r>
              <a:rPr sz="1400" spc="0" dirty="0" smtClean="0">
                <a:latin typeface="+mj-lt"/>
                <a:cs typeface="Cambria"/>
              </a:rPr>
              <a:t>de:</a:t>
            </a:r>
            <a:endParaRPr sz="1400" dirty="0">
              <a:latin typeface="+mj-lt"/>
              <a:cs typeface="Cambria"/>
            </a:endParaRPr>
          </a:p>
          <a:p>
            <a:pPr marL="570864">
              <a:lnSpc>
                <a:spcPct val="97696"/>
              </a:lnSpc>
              <a:spcBef>
                <a:spcPts val="1721"/>
              </a:spcBef>
            </a:pPr>
            <a:r>
              <a:rPr lang="en-US" sz="1400" spc="-25" dirty="0" smtClean="0">
                <a:latin typeface="+mj-lt"/>
                <a:cs typeface="Cambria"/>
              </a:rPr>
              <a:t> 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95301" y="4241800"/>
            <a:ext cx="4292600" cy="1676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>
              <a:latin typeface="+mj-lt"/>
            </a:endParaRPr>
          </a:p>
          <a:p>
            <a:pPr marL="570280">
              <a:lnSpc>
                <a:spcPct val="97696"/>
              </a:lnSpc>
              <a:spcBef>
                <a:spcPts val="1432"/>
              </a:spcBef>
            </a:pPr>
            <a:r>
              <a:rPr sz="1400" spc="-4" dirty="0" smtClean="0">
                <a:latin typeface="+mj-lt"/>
                <a:cs typeface="Cambria"/>
              </a:rPr>
              <a:t>T</a:t>
            </a:r>
            <a:r>
              <a:rPr sz="1400" spc="4" dirty="0" smtClean="0">
                <a:latin typeface="+mj-lt"/>
                <a:cs typeface="Cambria"/>
              </a:rPr>
              <a:t>h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be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f</a:t>
            </a:r>
            <a:r>
              <a:rPr sz="1400" spc="4" dirty="0" smtClean="0">
                <a:latin typeface="+mj-lt"/>
                <a:cs typeface="Cambria"/>
              </a:rPr>
              <a:t>it</a:t>
            </a:r>
            <a:r>
              <a:rPr sz="1400" spc="0" dirty="0" smtClean="0">
                <a:latin typeface="+mj-lt"/>
                <a:cs typeface="Cambria"/>
              </a:rPr>
              <a:t>s of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-4" dirty="0" smtClean="0">
                <a:latin typeface="+mj-lt"/>
                <a:cs typeface="Cambria"/>
              </a:rPr>
              <a:t>o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de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d da</a:t>
            </a:r>
            <a:r>
              <a:rPr sz="1400" spc="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nc</a:t>
            </a:r>
            <a:r>
              <a:rPr sz="1400" spc="4" dirty="0" smtClean="0">
                <a:latin typeface="+mj-lt"/>
                <a:cs typeface="Cambria"/>
              </a:rPr>
              <a:t>lu</a:t>
            </a:r>
            <a:r>
              <a:rPr sz="1400" spc="0" dirty="0" smtClean="0">
                <a:latin typeface="+mj-lt"/>
                <a:cs typeface="Cambria"/>
              </a:rPr>
              <a:t>de:</a:t>
            </a:r>
            <a:endParaRPr sz="1400">
              <a:latin typeface="+mj-lt"/>
              <a:cs typeface="Cambria"/>
            </a:endParaRPr>
          </a:p>
          <a:p>
            <a:pPr marL="570280" marR="120925">
              <a:lnSpc>
                <a:spcPct val="100139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Wingdings"/>
              </a:rPr>
              <a:t></a:t>
            </a:r>
            <a:r>
              <a:rPr sz="1400" spc="0" dirty="0" smtClean="0">
                <a:latin typeface="+mj-lt"/>
                <a:cs typeface="Times New Roman"/>
              </a:rPr>
              <a:t>   </a:t>
            </a:r>
            <a:r>
              <a:rPr sz="1400" spc="144" dirty="0" smtClean="0">
                <a:latin typeface="+mj-lt"/>
                <a:cs typeface="Times New Roman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No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m</a:t>
            </a:r>
            <a:r>
              <a:rPr sz="1400" spc="-4" dirty="0" smtClean="0">
                <a:latin typeface="+mj-lt"/>
                <a:cs typeface="Cambria"/>
              </a:rPr>
              <a:t>a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-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eded to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p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s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r</a:t>
            </a:r>
            <a:r>
              <a:rPr sz="1400" spc="-25" dirty="0" smtClean="0">
                <a:latin typeface="+mj-lt"/>
                <a:cs typeface="Cambria"/>
              </a:rPr>
              <a:t>v</a:t>
            </a:r>
            <a:r>
              <a:rPr sz="1400" spc="0" dirty="0" smtClean="0">
                <a:latin typeface="+mj-lt"/>
                <a:cs typeface="Cambria"/>
              </a:rPr>
              <a:t>e o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de</a:t>
            </a:r>
            <a:r>
              <a:rPr sz="1400" spc="-13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, a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d</a:t>
            </a:r>
            <a:endParaRPr sz="1400">
              <a:latin typeface="+mj-lt"/>
              <a:cs typeface="Cambria"/>
            </a:endParaRPr>
          </a:p>
          <a:p>
            <a:pPr marL="570280">
              <a:lnSpc>
                <a:spcPts val="1639"/>
              </a:lnSpc>
              <a:spcBef>
                <a:spcPts val="82"/>
              </a:spcBef>
            </a:pPr>
            <a:r>
              <a:rPr sz="1400" spc="0" dirty="0" smtClean="0">
                <a:latin typeface="+mj-lt"/>
                <a:cs typeface="Wingdings"/>
              </a:rPr>
              <a:t></a:t>
            </a:r>
            <a:r>
              <a:rPr sz="1400" spc="0" dirty="0" smtClean="0">
                <a:latin typeface="+mj-lt"/>
                <a:cs typeface="Times New Roman"/>
              </a:rPr>
              <a:t>   </a:t>
            </a:r>
            <a:r>
              <a:rPr sz="1400" spc="144" dirty="0" smtClean="0">
                <a:latin typeface="+mj-lt"/>
                <a:cs typeface="Times New Roman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t 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s 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nde</a:t>
            </a:r>
            <a:r>
              <a:rPr sz="1400" spc="-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dent</a:t>
            </a:r>
            <a:r>
              <a:rPr sz="1400" spc="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of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25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y q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y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be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ng</a:t>
            </a:r>
            <a:endParaRPr sz="1400">
              <a:latin typeface="+mj-lt"/>
              <a:cs typeface="Cambria"/>
            </a:endParaRPr>
          </a:p>
          <a:p>
            <a:pPr marL="570280">
              <a:lnSpc>
                <a:spcPct val="97696"/>
              </a:lnSpc>
            </a:pPr>
            <a:r>
              <a:rPr sz="1400" spc="0" dirty="0" smtClean="0">
                <a:latin typeface="+mj-lt"/>
                <a:cs typeface="Cambria"/>
              </a:rPr>
              <a:t>submi</a:t>
            </a:r>
            <a:r>
              <a:rPr sz="1400" spc="4" dirty="0" smtClean="0">
                <a:latin typeface="+mj-lt"/>
                <a:cs typeface="Cambria"/>
              </a:rPr>
              <a:t>t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d.</a:t>
            </a:r>
            <a:endParaRPr sz="1400">
              <a:latin typeface="+mj-lt"/>
              <a:cs typeface="Cambria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Content Placeholder 40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any use range </a:t>
            </a:r>
            <a:r>
              <a:rPr lang="en-US" dirty="0" smtClean="0"/>
              <a:t>distribution Creates </a:t>
            </a:r>
            <a:r>
              <a:rPr lang="en-US" dirty="0"/>
              <a:t>intensive maintenance for DBA</a:t>
            </a:r>
          </a:p>
          <a:p>
            <a:pPr marL="0" indent="0">
              <a:buNone/>
            </a:pPr>
            <a:r>
              <a:rPr lang="en-US" dirty="0"/>
              <a:t>DBA’s must consider</a:t>
            </a:r>
            <a:r>
              <a:rPr lang="en-US" dirty="0" smtClean="0"/>
              <a:t>:</a:t>
            </a:r>
          </a:p>
          <a:p>
            <a:pPr marL="543430" lvl="1" indent="-342900"/>
            <a:r>
              <a:rPr lang="en-US" dirty="0"/>
              <a:t>How to partition the data</a:t>
            </a:r>
          </a:p>
          <a:p>
            <a:pPr marL="543430" lvl="1" indent="-342900"/>
            <a:r>
              <a:rPr lang="en-US" dirty="0"/>
              <a:t>How large to make the partitions Where is there data contention How are users accessing the data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409" name="Title 40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do other databases Store Rows</a:t>
            </a:r>
            <a:endParaRPr lang="en-US" dirty="0"/>
          </a:p>
        </p:txBody>
      </p:sp>
      <p:sp>
        <p:nvSpPr>
          <p:cNvPr id="407" name="object 407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8" name="object 408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7" name="object 307"/>
          <p:cNvSpPr/>
          <p:nvPr/>
        </p:nvSpPr>
        <p:spPr>
          <a:xfrm>
            <a:off x="6455919" y="3674873"/>
            <a:ext cx="0" cy="160273"/>
          </a:xfrm>
          <a:custGeom>
            <a:avLst/>
            <a:gdLst/>
            <a:ahLst/>
            <a:cxnLst/>
            <a:rect l="l" t="t" r="r" b="b"/>
            <a:pathLst>
              <a:path h="160274">
                <a:moveTo>
                  <a:pt x="0" y="0"/>
                </a:moveTo>
                <a:lnTo>
                  <a:pt x="0" y="160273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8" name="object 308"/>
          <p:cNvSpPr/>
          <p:nvPr/>
        </p:nvSpPr>
        <p:spPr>
          <a:xfrm>
            <a:off x="7079232" y="3665474"/>
            <a:ext cx="0" cy="188468"/>
          </a:xfrm>
          <a:custGeom>
            <a:avLst/>
            <a:gdLst/>
            <a:ahLst/>
            <a:cxnLst/>
            <a:rect l="l" t="t" r="r" b="b"/>
            <a:pathLst>
              <a:path h="188468">
                <a:moveTo>
                  <a:pt x="0" y="0"/>
                </a:moveTo>
                <a:lnTo>
                  <a:pt x="0" y="188468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9" name="object 309"/>
          <p:cNvSpPr/>
          <p:nvPr/>
        </p:nvSpPr>
        <p:spPr>
          <a:xfrm>
            <a:off x="7717408" y="3674873"/>
            <a:ext cx="0" cy="160273"/>
          </a:xfrm>
          <a:custGeom>
            <a:avLst/>
            <a:gdLst/>
            <a:ahLst/>
            <a:cxnLst/>
            <a:rect l="l" t="t" r="r" b="b"/>
            <a:pathLst>
              <a:path h="160274">
                <a:moveTo>
                  <a:pt x="0" y="0"/>
                </a:moveTo>
                <a:lnTo>
                  <a:pt x="0" y="160273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0" name="object 310"/>
          <p:cNvSpPr/>
          <p:nvPr/>
        </p:nvSpPr>
        <p:spPr>
          <a:xfrm>
            <a:off x="8325866" y="3674873"/>
            <a:ext cx="0" cy="160273"/>
          </a:xfrm>
          <a:custGeom>
            <a:avLst/>
            <a:gdLst/>
            <a:ahLst/>
            <a:cxnLst/>
            <a:rect l="l" t="t" r="r" b="b"/>
            <a:pathLst>
              <a:path h="160274">
                <a:moveTo>
                  <a:pt x="0" y="0"/>
                </a:moveTo>
                <a:lnTo>
                  <a:pt x="0" y="160273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1" name="object 311"/>
          <p:cNvSpPr/>
          <p:nvPr/>
        </p:nvSpPr>
        <p:spPr>
          <a:xfrm>
            <a:off x="5832476" y="3665474"/>
            <a:ext cx="0" cy="179069"/>
          </a:xfrm>
          <a:custGeom>
            <a:avLst/>
            <a:gdLst/>
            <a:ahLst/>
            <a:cxnLst/>
            <a:rect l="l" t="t" r="r" b="b"/>
            <a:pathLst>
              <a:path h="179070">
                <a:moveTo>
                  <a:pt x="0" y="0"/>
                </a:moveTo>
                <a:lnTo>
                  <a:pt x="0" y="179069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2" name="object 312"/>
          <p:cNvSpPr/>
          <p:nvPr/>
        </p:nvSpPr>
        <p:spPr>
          <a:xfrm>
            <a:off x="5832477" y="3665474"/>
            <a:ext cx="2493391" cy="0"/>
          </a:xfrm>
          <a:custGeom>
            <a:avLst/>
            <a:gdLst/>
            <a:ahLst/>
            <a:cxnLst/>
            <a:rect l="l" t="t" r="r" b="b"/>
            <a:pathLst>
              <a:path w="2493391">
                <a:moveTo>
                  <a:pt x="0" y="0"/>
                </a:moveTo>
                <a:lnTo>
                  <a:pt x="2493391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3" name="object 313"/>
          <p:cNvSpPr/>
          <p:nvPr/>
        </p:nvSpPr>
        <p:spPr>
          <a:xfrm>
            <a:off x="7079232" y="3505201"/>
            <a:ext cx="0" cy="150875"/>
          </a:xfrm>
          <a:custGeom>
            <a:avLst/>
            <a:gdLst/>
            <a:ahLst/>
            <a:cxnLst/>
            <a:rect l="l" t="t" r="r" b="b"/>
            <a:pathLst>
              <a:path h="150875">
                <a:moveTo>
                  <a:pt x="0" y="0"/>
                </a:moveTo>
                <a:lnTo>
                  <a:pt x="0" y="150875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4" name="object 314"/>
          <p:cNvSpPr/>
          <p:nvPr/>
        </p:nvSpPr>
        <p:spPr>
          <a:xfrm>
            <a:off x="5588761" y="4066044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44"/>
                </a:lnTo>
                <a:lnTo>
                  <a:pt x="4595" y="34740"/>
                </a:lnTo>
                <a:lnTo>
                  <a:pt x="23108" y="41478"/>
                </a:lnTo>
                <a:lnTo>
                  <a:pt x="42478" y="45512"/>
                </a:lnTo>
                <a:lnTo>
                  <a:pt x="66822" y="49104"/>
                </a:lnTo>
                <a:lnTo>
                  <a:pt x="95586" y="52189"/>
                </a:lnTo>
                <a:lnTo>
                  <a:pt x="128212" y="54701"/>
                </a:lnTo>
                <a:lnTo>
                  <a:pt x="145800" y="55723"/>
                </a:lnTo>
                <a:lnTo>
                  <a:pt x="164146" y="56576"/>
                </a:lnTo>
                <a:lnTo>
                  <a:pt x="183179" y="57255"/>
                </a:lnTo>
                <a:lnTo>
                  <a:pt x="202831" y="57749"/>
                </a:lnTo>
                <a:lnTo>
                  <a:pt x="223032" y="58052"/>
                </a:lnTo>
                <a:lnTo>
                  <a:pt x="250715" y="58143"/>
                </a:lnTo>
                <a:lnTo>
                  <a:pt x="271250" y="57972"/>
                </a:lnTo>
                <a:lnTo>
                  <a:pt x="291280" y="57604"/>
                </a:lnTo>
                <a:lnTo>
                  <a:pt x="310737" y="57048"/>
                </a:lnTo>
                <a:lnTo>
                  <a:pt x="329552" y="56310"/>
                </a:lnTo>
                <a:lnTo>
                  <a:pt x="347654" y="55400"/>
                </a:lnTo>
                <a:lnTo>
                  <a:pt x="364975" y="54326"/>
                </a:lnTo>
                <a:lnTo>
                  <a:pt x="381446" y="53094"/>
                </a:lnTo>
                <a:lnTo>
                  <a:pt x="411559" y="50195"/>
                </a:lnTo>
                <a:lnTo>
                  <a:pt x="437439" y="46768"/>
                </a:lnTo>
                <a:lnTo>
                  <a:pt x="458533" y="42877"/>
                </a:lnTo>
                <a:lnTo>
                  <a:pt x="474286" y="38587"/>
                </a:lnTo>
                <a:lnTo>
                  <a:pt x="487552" y="29071"/>
                </a:lnTo>
                <a:lnTo>
                  <a:pt x="486017" y="25799"/>
                </a:lnTo>
                <a:lnTo>
                  <a:pt x="464382" y="16704"/>
                </a:lnTo>
                <a:lnTo>
                  <a:pt x="445000" y="12674"/>
                </a:lnTo>
                <a:lnTo>
                  <a:pt x="420647" y="9079"/>
                </a:lnTo>
                <a:lnTo>
                  <a:pt x="391878" y="5986"/>
                </a:lnTo>
                <a:lnTo>
                  <a:pt x="359245" y="3463"/>
                </a:lnTo>
                <a:lnTo>
                  <a:pt x="341654" y="2437"/>
                </a:lnTo>
                <a:lnTo>
                  <a:pt x="323305" y="1578"/>
                </a:lnTo>
                <a:lnTo>
                  <a:pt x="304266" y="895"/>
                </a:lnTo>
                <a:lnTo>
                  <a:pt x="284609" y="397"/>
                </a:lnTo>
                <a:lnTo>
                  <a:pt x="264401" y="92"/>
                </a:lnTo>
                <a:lnTo>
                  <a:pt x="236919" y="0"/>
                </a:lnTo>
                <a:lnTo>
                  <a:pt x="216387" y="170"/>
                </a:lnTo>
                <a:lnTo>
                  <a:pt x="196358" y="539"/>
                </a:lnTo>
                <a:lnTo>
                  <a:pt x="176900" y="1099"/>
                </a:lnTo>
                <a:lnTo>
                  <a:pt x="158083" y="1841"/>
                </a:lnTo>
                <a:lnTo>
                  <a:pt x="139977" y="2756"/>
                </a:lnTo>
                <a:lnTo>
                  <a:pt x="122651" y="3837"/>
                </a:lnTo>
                <a:lnTo>
                  <a:pt x="106174" y="5074"/>
                </a:lnTo>
                <a:lnTo>
                  <a:pt x="76047" y="7985"/>
                </a:lnTo>
                <a:lnTo>
                  <a:pt x="50152" y="11422"/>
                </a:lnTo>
                <a:lnTo>
                  <a:pt x="29044" y="15316"/>
                </a:lnTo>
                <a:lnTo>
                  <a:pt x="13279" y="19601"/>
                </a:lnTo>
                <a:lnTo>
                  <a:pt x="864" y="26612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5" name="object 315"/>
          <p:cNvSpPr/>
          <p:nvPr/>
        </p:nvSpPr>
        <p:spPr>
          <a:xfrm>
            <a:off x="5588761" y="4066031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3"/>
                </a:moveTo>
                <a:lnTo>
                  <a:pt x="7573" y="21880"/>
                </a:lnTo>
                <a:lnTo>
                  <a:pt x="20459" y="17425"/>
                </a:lnTo>
                <a:lnTo>
                  <a:pt x="29044" y="15327"/>
                </a:lnTo>
                <a:lnTo>
                  <a:pt x="38965" y="13327"/>
                </a:lnTo>
                <a:lnTo>
                  <a:pt x="50152" y="11433"/>
                </a:lnTo>
                <a:lnTo>
                  <a:pt x="62536" y="9653"/>
                </a:lnTo>
                <a:lnTo>
                  <a:pt x="76047" y="7996"/>
                </a:lnTo>
                <a:lnTo>
                  <a:pt x="90617" y="6471"/>
                </a:lnTo>
                <a:lnTo>
                  <a:pt x="106174" y="5085"/>
                </a:lnTo>
                <a:lnTo>
                  <a:pt x="122651" y="3848"/>
                </a:lnTo>
                <a:lnTo>
                  <a:pt x="139977" y="2767"/>
                </a:lnTo>
                <a:lnTo>
                  <a:pt x="158083" y="1852"/>
                </a:lnTo>
                <a:lnTo>
                  <a:pt x="176900" y="1110"/>
                </a:lnTo>
                <a:lnTo>
                  <a:pt x="196358" y="550"/>
                </a:lnTo>
                <a:lnTo>
                  <a:pt x="216387" y="181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3"/>
                </a:lnTo>
                <a:lnTo>
                  <a:pt x="284609" y="408"/>
                </a:lnTo>
                <a:lnTo>
                  <a:pt x="304266" y="906"/>
                </a:lnTo>
                <a:lnTo>
                  <a:pt x="323305" y="1589"/>
                </a:lnTo>
                <a:lnTo>
                  <a:pt x="341654" y="2448"/>
                </a:lnTo>
                <a:lnTo>
                  <a:pt x="359245" y="3475"/>
                </a:lnTo>
                <a:lnTo>
                  <a:pt x="376010" y="4661"/>
                </a:lnTo>
                <a:lnTo>
                  <a:pt x="391878" y="5997"/>
                </a:lnTo>
                <a:lnTo>
                  <a:pt x="406780" y="7477"/>
                </a:lnTo>
                <a:lnTo>
                  <a:pt x="420647" y="9090"/>
                </a:lnTo>
                <a:lnTo>
                  <a:pt x="433410" y="10829"/>
                </a:lnTo>
                <a:lnTo>
                  <a:pt x="445000" y="12685"/>
                </a:lnTo>
                <a:lnTo>
                  <a:pt x="455347" y="14650"/>
                </a:lnTo>
                <a:lnTo>
                  <a:pt x="464382" y="16715"/>
                </a:lnTo>
                <a:lnTo>
                  <a:pt x="478239" y="21113"/>
                </a:lnTo>
                <a:lnTo>
                  <a:pt x="486017" y="25811"/>
                </a:lnTo>
                <a:lnTo>
                  <a:pt x="487552" y="29083"/>
                </a:lnTo>
                <a:lnTo>
                  <a:pt x="486689" y="31558"/>
                </a:lnTo>
                <a:lnTo>
                  <a:pt x="484143" y="33975"/>
                </a:lnTo>
                <a:lnTo>
                  <a:pt x="474286" y="38598"/>
                </a:lnTo>
                <a:lnTo>
                  <a:pt x="458533" y="42888"/>
                </a:lnTo>
                <a:lnTo>
                  <a:pt x="448619" y="44887"/>
                </a:lnTo>
                <a:lnTo>
                  <a:pt x="437439" y="46779"/>
                </a:lnTo>
                <a:lnTo>
                  <a:pt x="425063" y="48555"/>
                </a:lnTo>
                <a:lnTo>
                  <a:pt x="411559" y="50206"/>
                </a:lnTo>
                <a:lnTo>
                  <a:pt x="396997" y="51726"/>
                </a:lnTo>
                <a:lnTo>
                  <a:pt x="381446" y="53106"/>
                </a:lnTo>
                <a:lnTo>
                  <a:pt x="364975" y="54337"/>
                </a:lnTo>
                <a:lnTo>
                  <a:pt x="347654" y="55411"/>
                </a:lnTo>
                <a:lnTo>
                  <a:pt x="329552" y="56322"/>
                </a:lnTo>
                <a:lnTo>
                  <a:pt x="310737" y="57059"/>
                </a:lnTo>
                <a:lnTo>
                  <a:pt x="291280" y="57616"/>
                </a:lnTo>
                <a:lnTo>
                  <a:pt x="271250" y="57983"/>
                </a:lnTo>
                <a:lnTo>
                  <a:pt x="250715" y="58154"/>
                </a:lnTo>
                <a:lnTo>
                  <a:pt x="243712" y="58166"/>
                </a:lnTo>
                <a:lnTo>
                  <a:pt x="223032" y="58063"/>
                </a:lnTo>
                <a:lnTo>
                  <a:pt x="202831" y="57760"/>
                </a:lnTo>
                <a:lnTo>
                  <a:pt x="183179" y="57266"/>
                </a:lnTo>
                <a:lnTo>
                  <a:pt x="164146" y="56587"/>
                </a:lnTo>
                <a:lnTo>
                  <a:pt x="145800" y="55734"/>
                </a:lnTo>
                <a:lnTo>
                  <a:pt x="128212" y="54712"/>
                </a:lnTo>
                <a:lnTo>
                  <a:pt x="111451" y="53532"/>
                </a:lnTo>
                <a:lnTo>
                  <a:pt x="95586" y="52200"/>
                </a:lnTo>
                <a:lnTo>
                  <a:pt x="80686" y="50725"/>
                </a:lnTo>
                <a:lnTo>
                  <a:pt x="66822" y="49115"/>
                </a:lnTo>
                <a:lnTo>
                  <a:pt x="54063" y="47379"/>
                </a:lnTo>
                <a:lnTo>
                  <a:pt x="42478" y="45524"/>
                </a:lnTo>
                <a:lnTo>
                  <a:pt x="32136" y="43558"/>
                </a:lnTo>
                <a:lnTo>
                  <a:pt x="23108" y="41489"/>
                </a:lnTo>
                <a:lnTo>
                  <a:pt x="15462" y="39327"/>
                </a:lnTo>
                <a:lnTo>
                  <a:pt x="4595" y="34751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6" name="object 316"/>
          <p:cNvSpPr/>
          <p:nvPr/>
        </p:nvSpPr>
        <p:spPr>
          <a:xfrm>
            <a:off x="5584445" y="4017391"/>
            <a:ext cx="496125" cy="75438"/>
          </a:xfrm>
          <a:custGeom>
            <a:avLst/>
            <a:gdLst/>
            <a:ahLst/>
            <a:cxnLst/>
            <a:rect l="l" t="t" r="r" b="b"/>
            <a:pathLst>
              <a:path w="496125" h="75438">
                <a:moveTo>
                  <a:pt x="0" y="75437"/>
                </a:moveTo>
                <a:lnTo>
                  <a:pt x="496125" y="75437"/>
                </a:lnTo>
                <a:lnTo>
                  <a:pt x="496125" y="0"/>
                </a:lnTo>
                <a:lnTo>
                  <a:pt x="0" y="0"/>
                </a:lnTo>
                <a:lnTo>
                  <a:pt x="0" y="75437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7" name="object 317"/>
          <p:cNvSpPr/>
          <p:nvPr/>
        </p:nvSpPr>
        <p:spPr>
          <a:xfrm>
            <a:off x="5588761" y="3923169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2" h="58016">
                <a:moveTo>
                  <a:pt x="0" y="29071"/>
                </a:moveTo>
                <a:lnTo>
                  <a:pt x="1511" y="32317"/>
                </a:lnTo>
                <a:lnTo>
                  <a:pt x="4591" y="34697"/>
                </a:lnTo>
                <a:lnTo>
                  <a:pt x="23101" y="41398"/>
                </a:lnTo>
                <a:lnTo>
                  <a:pt x="42470" y="45415"/>
                </a:lnTo>
                <a:lnTo>
                  <a:pt x="66814" y="48994"/>
                </a:lnTo>
                <a:lnTo>
                  <a:pt x="95578" y="52070"/>
                </a:lnTo>
                <a:lnTo>
                  <a:pt x="128206" y="54578"/>
                </a:lnTo>
                <a:lnTo>
                  <a:pt x="145795" y="55598"/>
                </a:lnTo>
                <a:lnTo>
                  <a:pt x="164141" y="56450"/>
                </a:lnTo>
                <a:lnTo>
                  <a:pt x="183176" y="57128"/>
                </a:lnTo>
                <a:lnTo>
                  <a:pt x="202829" y="57622"/>
                </a:lnTo>
                <a:lnTo>
                  <a:pt x="223031" y="57925"/>
                </a:lnTo>
                <a:lnTo>
                  <a:pt x="250691" y="58016"/>
                </a:lnTo>
                <a:lnTo>
                  <a:pt x="271227" y="57845"/>
                </a:lnTo>
                <a:lnTo>
                  <a:pt x="291260" y="57478"/>
                </a:lnTo>
                <a:lnTo>
                  <a:pt x="310719" y="56922"/>
                </a:lnTo>
                <a:lnTo>
                  <a:pt x="329535" y="56186"/>
                </a:lnTo>
                <a:lnTo>
                  <a:pt x="347639" y="55277"/>
                </a:lnTo>
                <a:lnTo>
                  <a:pt x="364962" y="54204"/>
                </a:lnTo>
                <a:lnTo>
                  <a:pt x="381434" y="52975"/>
                </a:lnTo>
                <a:lnTo>
                  <a:pt x="411551" y="50084"/>
                </a:lnTo>
                <a:lnTo>
                  <a:pt x="437434" y="46667"/>
                </a:lnTo>
                <a:lnTo>
                  <a:pt x="458530" y="42792"/>
                </a:lnTo>
                <a:lnTo>
                  <a:pt x="474284" y="38524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8" name="object 318"/>
          <p:cNvSpPr/>
          <p:nvPr/>
        </p:nvSpPr>
        <p:spPr>
          <a:xfrm>
            <a:off x="5588761" y="3923156"/>
            <a:ext cx="487552" cy="58038"/>
          </a:xfrm>
          <a:custGeom>
            <a:avLst/>
            <a:gdLst/>
            <a:ahLst/>
            <a:cxnLst/>
            <a:rect l="l" t="t" r="r" b="b"/>
            <a:pathLst>
              <a:path w="487552" h="58038">
                <a:moveTo>
                  <a:pt x="0" y="29083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3"/>
                </a:lnTo>
                <a:lnTo>
                  <a:pt x="486689" y="31540"/>
                </a:lnTo>
                <a:lnTo>
                  <a:pt x="484143" y="33939"/>
                </a:lnTo>
                <a:lnTo>
                  <a:pt x="474284" y="38535"/>
                </a:lnTo>
                <a:lnTo>
                  <a:pt x="458530" y="42803"/>
                </a:lnTo>
                <a:lnTo>
                  <a:pt x="448615" y="44794"/>
                </a:lnTo>
                <a:lnTo>
                  <a:pt x="437434" y="46678"/>
                </a:lnTo>
                <a:lnTo>
                  <a:pt x="425056" y="48448"/>
                </a:lnTo>
                <a:lnTo>
                  <a:pt x="411551" y="50095"/>
                </a:lnTo>
                <a:lnTo>
                  <a:pt x="396987" y="51610"/>
                </a:lnTo>
                <a:lnTo>
                  <a:pt x="381434" y="52987"/>
                </a:lnTo>
                <a:lnTo>
                  <a:pt x="364962" y="54215"/>
                </a:lnTo>
                <a:lnTo>
                  <a:pt x="347639" y="55288"/>
                </a:lnTo>
                <a:lnTo>
                  <a:pt x="329535" y="56197"/>
                </a:lnTo>
                <a:lnTo>
                  <a:pt x="310719" y="56933"/>
                </a:lnTo>
                <a:lnTo>
                  <a:pt x="291260" y="57489"/>
                </a:lnTo>
                <a:lnTo>
                  <a:pt x="271227" y="57857"/>
                </a:lnTo>
                <a:lnTo>
                  <a:pt x="250691" y="58027"/>
                </a:lnTo>
                <a:lnTo>
                  <a:pt x="243712" y="58039"/>
                </a:lnTo>
                <a:lnTo>
                  <a:pt x="223031" y="57936"/>
                </a:lnTo>
                <a:lnTo>
                  <a:pt x="202829" y="57633"/>
                </a:lnTo>
                <a:lnTo>
                  <a:pt x="183176" y="57139"/>
                </a:lnTo>
                <a:lnTo>
                  <a:pt x="164141" y="56461"/>
                </a:lnTo>
                <a:lnTo>
                  <a:pt x="145795" y="55609"/>
                </a:lnTo>
                <a:lnTo>
                  <a:pt x="128206" y="54589"/>
                </a:lnTo>
                <a:lnTo>
                  <a:pt x="111444" y="53410"/>
                </a:lnTo>
                <a:lnTo>
                  <a:pt x="95578" y="52081"/>
                </a:lnTo>
                <a:lnTo>
                  <a:pt x="80678" y="50610"/>
                </a:lnTo>
                <a:lnTo>
                  <a:pt x="66814" y="49005"/>
                </a:lnTo>
                <a:lnTo>
                  <a:pt x="54055" y="47274"/>
                </a:lnTo>
                <a:lnTo>
                  <a:pt x="42470" y="45426"/>
                </a:lnTo>
                <a:lnTo>
                  <a:pt x="32128" y="43468"/>
                </a:lnTo>
                <a:lnTo>
                  <a:pt x="23101" y="41409"/>
                </a:lnTo>
                <a:lnTo>
                  <a:pt x="15455" y="39257"/>
                </a:lnTo>
                <a:lnTo>
                  <a:pt x="4591" y="34708"/>
                </a:lnTo>
                <a:lnTo>
                  <a:pt x="0" y="29083"/>
                </a:lnTo>
                <a:close/>
              </a:path>
            </a:pathLst>
          </a:custGeom>
          <a:ln w="1269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9" name="object 319"/>
          <p:cNvSpPr/>
          <p:nvPr/>
        </p:nvSpPr>
        <p:spPr>
          <a:xfrm>
            <a:off x="5588761" y="3990732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2" h="58016">
                <a:moveTo>
                  <a:pt x="0" y="29071"/>
                </a:moveTo>
                <a:lnTo>
                  <a:pt x="1511" y="32317"/>
                </a:lnTo>
                <a:lnTo>
                  <a:pt x="4591" y="34697"/>
                </a:lnTo>
                <a:lnTo>
                  <a:pt x="23101" y="41398"/>
                </a:lnTo>
                <a:lnTo>
                  <a:pt x="42470" y="45415"/>
                </a:lnTo>
                <a:lnTo>
                  <a:pt x="66814" y="48994"/>
                </a:lnTo>
                <a:lnTo>
                  <a:pt x="95578" y="52070"/>
                </a:lnTo>
                <a:lnTo>
                  <a:pt x="128206" y="54578"/>
                </a:lnTo>
                <a:lnTo>
                  <a:pt x="145795" y="55598"/>
                </a:lnTo>
                <a:lnTo>
                  <a:pt x="164141" y="56450"/>
                </a:lnTo>
                <a:lnTo>
                  <a:pt x="183176" y="57128"/>
                </a:lnTo>
                <a:lnTo>
                  <a:pt x="202829" y="57622"/>
                </a:lnTo>
                <a:lnTo>
                  <a:pt x="223031" y="57925"/>
                </a:lnTo>
                <a:lnTo>
                  <a:pt x="250691" y="58016"/>
                </a:lnTo>
                <a:lnTo>
                  <a:pt x="271227" y="57845"/>
                </a:lnTo>
                <a:lnTo>
                  <a:pt x="291260" y="57478"/>
                </a:lnTo>
                <a:lnTo>
                  <a:pt x="310719" y="56922"/>
                </a:lnTo>
                <a:lnTo>
                  <a:pt x="329535" y="56186"/>
                </a:lnTo>
                <a:lnTo>
                  <a:pt x="347639" y="55277"/>
                </a:lnTo>
                <a:lnTo>
                  <a:pt x="364962" y="54204"/>
                </a:lnTo>
                <a:lnTo>
                  <a:pt x="381434" y="52975"/>
                </a:lnTo>
                <a:lnTo>
                  <a:pt x="411551" y="50084"/>
                </a:lnTo>
                <a:lnTo>
                  <a:pt x="437434" y="46667"/>
                </a:lnTo>
                <a:lnTo>
                  <a:pt x="458530" y="42792"/>
                </a:lnTo>
                <a:lnTo>
                  <a:pt x="474284" y="38524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0" name="object 320"/>
          <p:cNvSpPr/>
          <p:nvPr/>
        </p:nvSpPr>
        <p:spPr>
          <a:xfrm>
            <a:off x="5588761" y="3990722"/>
            <a:ext cx="487552" cy="58039"/>
          </a:xfrm>
          <a:custGeom>
            <a:avLst/>
            <a:gdLst/>
            <a:ahLst/>
            <a:cxnLst/>
            <a:rect l="l" t="t" r="r" b="b"/>
            <a:pathLst>
              <a:path w="487552" h="58039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2"/>
                </a:lnTo>
                <a:lnTo>
                  <a:pt x="486689" y="31540"/>
                </a:lnTo>
                <a:lnTo>
                  <a:pt x="484143" y="33939"/>
                </a:lnTo>
                <a:lnTo>
                  <a:pt x="474284" y="38535"/>
                </a:lnTo>
                <a:lnTo>
                  <a:pt x="458530" y="42803"/>
                </a:lnTo>
                <a:lnTo>
                  <a:pt x="448615" y="44794"/>
                </a:lnTo>
                <a:lnTo>
                  <a:pt x="437434" y="46678"/>
                </a:lnTo>
                <a:lnTo>
                  <a:pt x="425056" y="48448"/>
                </a:lnTo>
                <a:lnTo>
                  <a:pt x="411551" y="50095"/>
                </a:lnTo>
                <a:lnTo>
                  <a:pt x="396987" y="51610"/>
                </a:lnTo>
                <a:lnTo>
                  <a:pt x="381434" y="52987"/>
                </a:lnTo>
                <a:lnTo>
                  <a:pt x="364962" y="54215"/>
                </a:lnTo>
                <a:lnTo>
                  <a:pt x="347639" y="55288"/>
                </a:lnTo>
                <a:lnTo>
                  <a:pt x="329535" y="56197"/>
                </a:lnTo>
                <a:lnTo>
                  <a:pt x="310719" y="56933"/>
                </a:lnTo>
                <a:lnTo>
                  <a:pt x="291260" y="57489"/>
                </a:lnTo>
                <a:lnTo>
                  <a:pt x="271227" y="57857"/>
                </a:lnTo>
                <a:lnTo>
                  <a:pt x="250691" y="58027"/>
                </a:lnTo>
                <a:lnTo>
                  <a:pt x="243712" y="58038"/>
                </a:lnTo>
                <a:lnTo>
                  <a:pt x="223031" y="57936"/>
                </a:lnTo>
                <a:lnTo>
                  <a:pt x="202829" y="57633"/>
                </a:lnTo>
                <a:lnTo>
                  <a:pt x="183176" y="57139"/>
                </a:lnTo>
                <a:lnTo>
                  <a:pt x="164141" y="56461"/>
                </a:lnTo>
                <a:lnTo>
                  <a:pt x="145795" y="55609"/>
                </a:lnTo>
                <a:lnTo>
                  <a:pt x="128206" y="54589"/>
                </a:lnTo>
                <a:lnTo>
                  <a:pt x="111444" y="53410"/>
                </a:lnTo>
                <a:lnTo>
                  <a:pt x="95578" y="52081"/>
                </a:lnTo>
                <a:lnTo>
                  <a:pt x="80678" y="50610"/>
                </a:lnTo>
                <a:lnTo>
                  <a:pt x="66814" y="49005"/>
                </a:lnTo>
                <a:lnTo>
                  <a:pt x="54055" y="47274"/>
                </a:lnTo>
                <a:lnTo>
                  <a:pt x="42470" y="45426"/>
                </a:lnTo>
                <a:lnTo>
                  <a:pt x="32128" y="43468"/>
                </a:lnTo>
                <a:lnTo>
                  <a:pt x="23101" y="41409"/>
                </a:lnTo>
                <a:lnTo>
                  <a:pt x="15455" y="39257"/>
                </a:lnTo>
                <a:lnTo>
                  <a:pt x="4591" y="34708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1" name="object 321"/>
          <p:cNvSpPr/>
          <p:nvPr/>
        </p:nvSpPr>
        <p:spPr>
          <a:xfrm>
            <a:off x="5584445" y="3874415"/>
            <a:ext cx="496125" cy="142976"/>
          </a:xfrm>
          <a:custGeom>
            <a:avLst/>
            <a:gdLst/>
            <a:ahLst/>
            <a:cxnLst/>
            <a:rect l="l" t="t" r="r" b="b"/>
            <a:pathLst>
              <a:path w="496125" h="142976">
                <a:moveTo>
                  <a:pt x="0" y="142976"/>
                </a:moveTo>
                <a:lnTo>
                  <a:pt x="496125" y="142976"/>
                </a:lnTo>
                <a:lnTo>
                  <a:pt x="496125" y="0"/>
                </a:lnTo>
                <a:lnTo>
                  <a:pt x="0" y="0"/>
                </a:lnTo>
                <a:lnTo>
                  <a:pt x="0" y="142976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2" name="object 322"/>
          <p:cNvSpPr/>
          <p:nvPr/>
        </p:nvSpPr>
        <p:spPr>
          <a:xfrm>
            <a:off x="5588761" y="3847731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21"/>
                </a:lnTo>
                <a:lnTo>
                  <a:pt x="4595" y="34705"/>
                </a:lnTo>
                <a:lnTo>
                  <a:pt x="23108" y="41423"/>
                </a:lnTo>
                <a:lnTo>
                  <a:pt x="42478" y="45457"/>
                </a:lnTo>
                <a:lnTo>
                  <a:pt x="66822" y="49055"/>
                </a:lnTo>
                <a:lnTo>
                  <a:pt x="95586" y="52151"/>
                </a:lnTo>
                <a:lnTo>
                  <a:pt x="128212" y="54676"/>
                </a:lnTo>
                <a:lnTo>
                  <a:pt x="145800" y="55704"/>
                </a:lnTo>
                <a:lnTo>
                  <a:pt x="164146" y="56563"/>
                </a:lnTo>
                <a:lnTo>
                  <a:pt x="183179" y="57247"/>
                </a:lnTo>
                <a:lnTo>
                  <a:pt x="202831" y="57745"/>
                </a:lnTo>
                <a:lnTo>
                  <a:pt x="223032" y="58051"/>
                </a:lnTo>
                <a:lnTo>
                  <a:pt x="250715" y="58143"/>
                </a:lnTo>
                <a:lnTo>
                  <a:pt x="271250" y="57970"/>
                </a:lnTo>
                <a:lnTo>
                  <a:pt x="291280" y="57600"/>
                </a:lnTo>
                <a:lnTo>
                  <a:pt x="310737" y="57039"/>
                </a:lnTo>
                <a:lnTo>
                  <a:pt x="329552" y="56296"/>
                </a:lnTo>
                <a:lnTo>
                  <a:pt x="347654" y="55379"/>
                </a:lnTo>
                <a:lnTo>
                  <a:pt x="364975" y="54298"/>
                </a:lnTo>
                <a:lnTo>
                  <a:pt x="381446" y="53061"/>
                </a:lnTo>
                <a:lnTo>
                  <a:pt x="411559" y="50150"/>
                </a:lnTo>
                <a:lnTo>
                  <a:pt x="437439" y="46714"/>
                </a:lnTo>
                <a:lnTo>
                  <a:pt x="458533" y="42820"/>
                </a:lnTo>
                <a:lnTo>
                  <a:pt x="474286" y="38537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3" name="object 323"/>
          <p:cNvSpPr/>
          <p:nvPr/>
        </p:nvSpPr>
        <p:spPr>
          <a:xfrm>
            <a:off x="5588761" y="3847719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2"/>
                </a:lnTo>
                <a:lnTo>
                  <a:pt x="486689" y="31540"/>
                </a:lnTo>
                <a:lnTo>
                  <a:pt x="484143" y="33943"/>
                </a:lnTo>
                <a:lnTo>
                  <a:pt x="474286" y="38548"/>
                </a:lnTo>
                <a:lnTo>
                  <a:pt x="458533" y="42831"/>
                </a:lnTo>
                <a:lnTo>
                  <a:pt x="448619" y="44831"/>
                </a:lnTo>
                <a:lnTo>
                  <a:pt x="437439" y="46725"/>
                </a:lnTo>
                <a:lnTo>
                  <a:pt x="425063" y="48504"/>
                </a:lnTo>
                <a:lnTo>
                  <a:pt x="411559" y="50161"/>
                </a:lnTo>
                <a:lnTo>
                  <a:pt x="396997" y="51686"/>
                </a:lnTo>
                <a:lnTo>
                  <a:pt x="381446" y="53072"/>
                </a:lnTo>
                <a:lnTo>
                  <a:pt x="364975" y="54309"/>
                </a:lnTo>
                <a:lnTo>
                  <a:pt x="347654" y="55390"/>
                </a:lnTo>
                <a:lnTo>
                  <a:pt x="329552" y="56307"/>
                </a:lnTo>
                <a:lnTo>
                  <a:pt x="310737" y="57050"/>
                </a:lnTo>
                <a:lnTo>
                  <a:pt x="291280" y="57611"/>
                </a:lnTo>
                <a:lnTo>
                  <a:pt x="271250" y="57981"/>
                </a:lnTo>
                <a:lnTo>
                  <a:pt x="250715" y="58154"/>
                </a:lnTo>
                <a:lnTo>
                  <a:pt x="243712" y="58165"/>
                </a:lnTo>
                <a:lnTo>
                  <a:pt x="223032" y="58062"/>
                </a:lnTo>
                <a:lnTo>
                  <a:pt x="202831" y="57756"/>
                </a:lnTo>
                <a:lnTo>
                  <a:pt x="183179" y="57258"/>
                </a:lnTo>
                <a:lnTo>
                  <a:pt x="164146" y="56574"/>
                </a:lnTo>
                <a:lnTo>
                  <a:pt x="145800" y="55715"/>
                </a:lnTo>
                <a:lnTo>
                  <a:pt x="128212" y="54687"/>
                </a:lnTo>
                <a:lnTo>
                  <a:pt x="111451" y="53500"/>
                </a:lnTo>
                <a:lnTo>
                  <a:pt x="95586" y="52162"/>
                </a:lnTo>
                <a:lnTo>
                  <a:pt x="80686" y="50681"/>
                </a:lnTo>
                <a:lnTo>
                  <a:pt x="66822" y="49066"/>
                </a:lnTo>
                <a:lnTo>
                  <a:pt x="54063" y="47326"/>
                </a:lnTo>
                <a:lnTo>
                  <a:pt x="42478" y="45468"/>
                </a:lnTo>
                <a:lnTo>
                  <a:pt x="32136" y="43501"/>
                </a:lnTo>
                <a:lnTo>
                  <a:pt x="23108" y="41434"/>
                </a:lnTo>
                <a:lnTo>
                  <a:pt x="15462" y="39276"/>
                </a:lnTo>
                <a:lnTo>
                  <a:pt x="4595" y="34716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4" name="object 324"/>
          <p:cNvSpPr/>
          <p:nvPr/>
        </p:nvSpPr>
        <p:spPr>
          <a:xfrm>
            <a:off x="6199379" y="4066044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44"/>
                </a:lnTo>
                <a:lnTo>
                  <a:pt x="4595" y="34740"/>
                </a:lnTo>
                <a:lnTo>
                  <a:pt x="23108" y="41478"/>
                </a:lnTo>
                <a:lnTo>
                  <a:pt x="42478" y="45512"/>
                </a:lnTo>
                <a:lnTo>
                  <a:pt x="66822" y="49104"/>
                </a:lnTo>
                <a:lnTo>
                  <a:pt x="95586" y="52189"/>
                </a:lnTo>
                <a:lnTo>
                  <a:pt x="128212" y="54701"/>
                </a:lnTo>
                <a:lnTo>
                  <a:pt x="145800" y="55723"/>
                </a:lnTo>
                <a:lnTo>
                  <a:pt x="164146" y="56576"/>
                </a:lnTo>
                <a:lnTo>
                  <a:pt x="183179" y="57255"/>
                </a:lnTo>
                <a:lnTo>
                  <a:pt x="202831" y="57749"/>
                </a:lnTo>
                <a:lnTo>
                  <a:pt x="223032" y="58052"/>
                </a:lnTo>
                <a:lnTo>
                  <a:pt x="250715" y="58143"/>
                </a:lnTo>
                <a:lnTo>
                  <a:pt x="271250" y="57972"/>
                </a:lnTo>
                <a:lnTo>
                  <a:pt x="291280" y="57604"/>
                </a:lnTo>
                <a:lnTo>
                  <a:pt x="310737" y="57048"/>
                </a:lnTo>
                <a:lnTo>
                  <a:pt x="329552" y="56310"/>
                </a:lnTo>
                <a:lnTo>
                  <a:pt x="347654" y="55400"/>
                </a:lnTo>
                <a:lnTo>
                  <a:pt x="364975" y="54326"/>
                </a:lnTo>
                <a:lnTo>
                  <a:pt x="381446" y="53094"/>
                </a:lnTo>
                <a:lnTo>
                  <a:pt x="411559" y="50195"/>
                </a:lnTo>
                <a:lnTo>
                  <a:pt x="437439" y="46768"/>
                </a:lnTo>
                <a:lnTo>
                  <a:pt x="458533" y="42877"/>
                </a:lnTo>
                <a:lnTo>
                  <a:pt x="474286" y="38587"/>
                </a:lnTo>
                <a:lnTo>
                  <a:pt x="487552" y="29071"/>
                </a:lnTo>
                <a:lnTo>
                  <a:pt x="486017" y="25799"/>
                </a:lnTo>
                <a:lnTo>
                  <a:pt x="464382" y="16704"/>
                </a:lnTo>
                <a:lnTo>
                  <a:pt x="445000" y="12674"/>
                </a:lnTo>
                <a:lnTo>
                  <a:pt x="420647" y="9079"/>
                </a:lnTo>
                <a:lnTo>
                  <a:pt x="391878" y="5986"/>
                </a:lnTo>
                <a:lnTo>
                  <a:pt x="359245" y="3463"/>
                </a:lnTo>
                <a:lnTo>
                  <a:pt x="341654" y="2437"/>
                </a:lnTo>
                <a:lnTo>
                  <a:pt x="323305" y="1578"/>
                </a:lnTo>
                <a:lnTo>
                  <a:pt x="304266" y="895"/>
                </a:lnTo>
                <a:lnTo>
                  <a:pt x="284609" y="397"/>
                </a:lnTo>
                <a:lnTo>
                  <a:pt x="264401" y="92"/>
                </a:lnTo>
                <a:lnTo>
                  <a:pt x="236919" y="0"/>
                </a:lnTo>
                <a:lnTo>
                  <a:pt x="216387" y="170"/>
                </a:lnTo>
                <a:lnTo>
                  <a:pt x="196358" y="539"/>
                </a:lnTo>
                <a:lnTo>
                  <a:pt x="176900" y="1099"/>
                </a:lnTo>
                <a:lnTo>
                  <a:pt x="158083" y="1841"/>
                </a:lnTo>
                <a:lnTo>
                  <a:pt x="139977" y="2756"/>
                </a:lnTo>
                <a:lnTo>
                  <a:pt x="122651" y="3837"/>
                </a:lnTo>
                <a:lnTo>
                  <a:pt x="106174" y="5074"/>
                </a:lnTo>
                <a:lnTo>
                  <a:pt x="76047" y="7985"/>
                </a:lnTo>
                <a:lnTo>
                  <a:pt x="50152" y="11422"/>
                </a:lnTo>
                <a:lnTo>
                  <a:pt x="29044" y="15316"/>
                </a:lnTo>
                <a:lnTo>
                  <a:pt x="13279" y="19601"/>
                </a:lnTo>
                <a:lnTo>
                  <a:pt x="864" y="26612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5" name="object 325"/>
          <p:cNvSpPr/>
          <p:nvPr/>
        </p:nvSpPr>
        <p:spPr>
          <a:xfrm>
            <a:off x="6199379" y="4066031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3"/>
                </a:moveTo>
                <a:lnTo>
                  <a:pt x="7573" y="21880"/>
                </a:lnTo>
                <a:lnTo>
                  <a:pt x="20459" y="17425"/>
                </a:lnTo>
                <a:lnTo>
                  <a:pt x="29044" y="15327"/>
                </a:lnTo>
                <a:lnTo>
                  <a:pt x="38965" y="13327"/>
                </a:lnTo>
                <a:lnTo>
                  <a:pt x="50152" y="11433"/>
                </a:lnTo>
                <a:lnTo>
                  <a:pt x="62536" y="9653"/>
                </a:lnTo>
                <a:lnTo>
                  <a:pt x="76047" y="7996"/>
                </a:lnTo>
                <a:lnTo>
                  <a:pt x="90617" y="6471"/>
                </a:lnTo>
                <a:lnTo>
                  <a:pt x="106174" y="5085"/>
                </a:lnTo>
                <a:lnTo>
                  <a:pt x="122651" y="3848"/>
                </a:lnTo>
                <a:lnTo>
                  <a:pt x="139977" y="2767"/>
                </a:lnTo>
                <a:lnTo>
                  <a:pt x="158083" y="1852"/>
                </a:lnTo>
                <a:lnTo>
                  <a:pt x="176900" y="1110"/>
                </a:lnTo>
                <a:lnTo>
                  <a:pt x="196358" y="550"/>
                </a:lnTo>
                <a:lnTo>
                  <a:pt x="216387" y="181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3"/>
                </a:lnTo>
                <a:lnTo>
                  <a:pt x="284609" y="408"/>
                </a:lnTo>
                <a:lnTo>
                  <a:pt x="304266" y="906"/>
                </a:lnTo>
                <a:lnTo>
                  <a:pt x="323305" y="1589"/>
                </a:lnTo>
                <a:lnTo>
                  <a:pt x="341654" y="2448"/>
                </a:lnTo>
                <a:lnTo>
                  <a:pt x="359245" y="3475"/>
                </a:lnTo>
                <a:lnTo>
                  <a:pt x="376010" y="4661"/>
                </a:lnTo>
                <a:lnTo>
                  <a:pt x="391878" y="5997"/>
                </a:lnTo>
                <a:lnTo>
                  <a:pt x="406780" y="7477"/>
                </a:lnTo>
                <a:lnTo>
                  <a:pt x="420647" y="9090"/>
                </a:lnTo>
                <a:lnTo>
                  <a:pt x="433410" y="10829"/>
                </a:lnTo>
                <a:lnTo>
                  <a:pt x="445000" y="12685"/>
                </a:lnTo>
                <a:lnTo>
                  <a:pt x="455347" y="14650"/>
                </a:lnTo>
                <a:lnTo>
                  <a:pt x="464382" y="16715"/>
                </a:lnTo>
                <a:lnTo>
                  <a:pt x="478239" y="21113"/>
                </a:lnTo>
                <a:lnTo>
                  <a:pt x="486017" y="25811"/>
                </a:lnTo>
                <a:lnTo>
                  <a:pt x="487552" y="29083"/>
                </a:lnTo>
                <a:lnTo>
                  <a:pt x="486689" y="31558"/>
                </a:lnTo>
                <a:lnTo>
                  <a:pt x="484143" y="33975"/>
                </a:lnTo>
                <a:lnTo>
                  <a:pt x="474286" y="38598"/>
                </a:lnTo>
                <a:lnTo>
                  <a:pt x="458533" y="42888"/>
                </a:lnTo>
                <a:lnTo>
                  <a:pt x="448619" y="44887"/>
                </a:lnTo>
                <a:lnTo>
                  <a:pt x="437439" y="46779"/>
                </a:lnTo>
                <a:lnTo>
                  <a:pt x="425063" y="48555"/>
                </a:lnTo>
                <a:lnTo>
                  <a:pt x="411559" y="50206"/>
                </a:lnTo>
                <a:lnTo>
                  <a:pt x="396997" y="51726"/>
                </a:lnTo>
                <a:lnTo>
                  <a:pt x="381446" y="53106"/>
                </a:lnTo>
                <a:lnTo>
                  <a:pt x="364975" y="54337"/>
                </a:lnTo>
                <a:lnTo>
                  <a:pt x="347654" y="55411"/>
                </a:lnTo>
                <a:lnTo>
                  <a:pt x="329552" y="56322"/>
                </a:lnTo>
                <a:lnTo>
                  <a:pt x="310737" y="57059"/>
                </a:lnTo>
                <a:lnTo>
                  <a:pt x="291280" y="57616"/>
                </a:lnTo>
                <a:lnTo>
                  <a:pt x="271250" y="57983"/>
                </a:lnTo>
                <a:lnTo>
                  <a:pt x="250715" y="58154"/>
                </a:lnTo>
                <a:lnTo>
                  <a:pt x="243712" y="58166"/>
                </a:lnTo>
                <a:lnTo>
                  <a:pt x="223032" y="58063"/>
                </a:lnTo>
                <a:lnTo>
                  <a:pt x="202831" y="57760"/>
                </a:lnTo>
                <a:lnTo>
                  <a:pt x="183179" y="57266"/>
                </a:lnTo>
                <a:lnTo>
                  <a:pt x="164146" y="56587"/>
                </a:lnTo>
                <a:lnTo>
                  <a:pt x="145800" y="55734"/>
                </a:lnTo>
                <a:lnTo>
                  <a:pt x="128212" y="54712"/>
                </a:lnTo>
                <a:lnTo>
                  <a:pt x="111451" y="53532"/>
                </a:lnTo>
                <a:lnTo>
                  <a:pt x="95586" y="52200"/>
                </a:lnTo>
                <a:lnTo>
                  <a:pt x="80686" y="50725"/>
                </a:lnTo>
                <a:lnTo>
                  <a:pt x="66822" y="49115"/>
                </a:lnTo>
                <a:lnTo>
                  <a:pt x="54063" y="47379"/>
                </a:lnTo>
                <a:lnTo>
                  <a:pt x="42478" y="45524"/>
                </a:lnTo>
                <a:lnTo>
                  <a:pt x="32136" y="43558"/>
                </a:lnTo>
                <a:lnTo>
                  <a:pt x="23108" y="41489"/>
                </a:lnTo>
                <a:lnTo>
                  <a:pt x="15462" y="39327"/>
                </a:lnTo>
                <a:lnTo>
                  <a:pt x="4595" y="34751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6" name="object 326"/>
          <p:cNvSpPr/>
          <p:nvPr/>
        </p:nvSpPr>
        <p:spPr>
          <a:xfrm>
            <a:off x="6195060" y="4017391"/>
            <a:ext cx="0" cy="75438"/>
          </a:xfrm>
          <a:custGeom>
            <a:avLst/>
            <a:gdLst/>
            <a:ahLst/>
            <a:cxnLst/>
            <a:rect l="l" t="t" r="r" b="b"/>
            <a:pathLst>
              <a:path h="75438">
                <a:moveTo>
                  <a:pt x="0" y="75438"/>
                </a:moveTo>
                <a:lnTo>
                  <a:pt x="0" y="0"/>
                </a:lnTo>
                <a:lnTo>
                  <a:pt x="0" y="75438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7" name="object 327"/>
          <p:cNvSpPr/>
          <p:nvPr/>
        </p:nvSpPr>
        <p:spPr>
          <a:xfrm>
            <a:off x="6199379" y="3923169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2" h="58016">
                <a:moveTo>
                  <a:pt x="0" y="29071"/>
                </a:moveTo>
                <a:lnTo>
                  <a:pt x="1511" y="32317"/>
                </a:lnTo>
                <a:lnTo>
                  <a:pt x="4591" y="34697"/>
                </a:lnTo>
                <a:lnTo>
                  <a:pt x="23101" y="41398"/>
                </a:lnTo>
                <a:lnTo>
                  <a:pt x="42470" y="45415"/>
                </a:lnTo>
                <a:lnTo>
                  <a:pt x="66814" y="48994"/>
                </a:lnTo>
                <a:lnTo>
                  <a:pt x="95578" y="52070"/>
                </a:lnTo>
                <a:lnTo>
                  <a:pt x="128206" y="54578"/>
                </a:lnTo>
                <a:lnTo>
                  <a:pt x="145795" y="55598"/>
                </a:lnTo>
                <a:lnTo>
                  <a:pt x="164141" y="56450"/>
                </a:lnTo>
                <a:lnTo>
                  <a:pt x="183176" y="57128"/>
                </a:lnTo>
                <a:lnTo>
                  <a:pt x="202829" y="57622"/>
                </a:lnTo>
                <a:lnTo>
                  <a:pt x="223031" y="57925"/>
                </a:lnTo>
                <a:lnTo>
                  <a:pt x="250691" y="58016"/>
                </a:lnTo>
                <a:lnTo>
                  <a:pt x="271227" y="57845"/>
                </a:lnTo>
                <a:lnTo>
                  <a:pt x="291260" y="57478"/>
                </a:lnTo>
                <a:lnTo>
                  <a:pt x="310719" y="56922"/>
                </a:lnTo>
                <a:lnTo>
                  <a:pt x="329535" y="56186"/>
                </a:lnTo>
                <a:lnTo>
                  <a:pt x="347639" y="55277"/>
                </a:lnTo>
                <a:lnTo>
                  <a:pt x="364962" y="54204"/>
                </a:lnTo>
                <a:lnTo>
                  <a:pt x="381434" y="52975"/>
                </a:lnTo>
                <a:lnTo>
                  <a:pt x="411551" y="50084"/>
                </a:lnTo>
                <a:lnTo>
                  <a:pt x="437434" y="46667"/>
                </a:lnTo>
                <a:lnTo>
                  <a:pt x="458530" y="42792"/>
                </a:lnTo>
                <a:lnTo>
                  <a:pt x="474284" y="38524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8" name="object 328"/>
          <p:cNvSpPr/>
          <p:nvPr/>
        </p:nvSpPr>
        <p:spPr>
          <a:xfrm>
            <a:off x="6199379" y="3923156"/>
            <a:ext cx="487552" cy="58038"/>
          </a:xfrm>
          <a:custGeom>
            <a:avLst/>
            <a:gdLst/>
            <a:ahLst/>
            <a:cxnLst/>
            <a:rect l="l" t="t" r="r" b="b"/>
            <a:pathLst>
              <a:path w="487552" h="58038">
                <a:moveTo>
                  <a:pt x="0" y="29083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3"/>
                </a:lnTo>
                <a:lnTo>
                  <a:pt x="486689" y="31540"/>
                </a:lnTo>
                <a:lnTo>
                  <a:pt x="484143" y="33939"/>
                </a:lnTo>
                <a:lnTo>
                  <a:pt x="474284" y="38535"/>
                </a:lnTo>
                <a:lnTo>
                  <a:pt x="458530" y="42803"/>
                </a:lnTo>
                <a:lnTo>
                  <a:pt x="448615" y="44794"/>
                </a:lnTo>
                <a:lnTo>
                  <a:pt x="437434" y="46678"/>
                </a:lnTo>
                <a:lnTo>
                  <a:pt x="425056" y="48448"/>
                </a:lnTo>
                <a:lnTo>
                  <a:pt x="411551" y="50095"/>
                </a:lnTo>
                <a:lnTo>
                  <a:pt x="396987" y="51610"/>
                </a:lnTo>
                <a:lnTo>
                  <a:pt x="381434" y="52987"/>
                </a:lnTo>
                <a:lnTo>
                  <a:pt x="364962" y="54215"/>
                </a:lnTo>
                <a:lnTo>
                  <a:pt x="347639" y="55288"/>
                </a:lnTo>
                <a:lnTo>
                  <a:pt x="329535" y="56197"/>
                </a:lnTo>
                <a:lnTo>
                  <a:pt x="310719" y="56933"/>
                </a:lnTo>
                <a:lnTo>
                  <a:pt x="291260" y="57489"/>
                </a:lnTo>
                <a:lnTo>
                  <a:pt x="271227" y="57857"/>
                </a:lnTo>
                <a:lnTo>
                  <a:pt x="250691" y="58027"/>
                </a:lnTo>
                <a:lnTo>
                  <a:pt x="243712" y="58039"/>
                </a:lnTo>
                <a:lnTo>
                  <a:pt x="223031" y="57936"/>
                </a:lnTo>
                <a:lnTo>
                  <a:pt x="202829" y="57633"/>
                </a:lnTo>
                <a:lnTo>
                  <a:pt x="183176" y="57139"/>
                </a:lnTo>
                <a:lnTo>
                  <a:pt x="164141" y="56461"/>
                </a:lnTo>
                <a:lnTo>
                  <a:pt x="145795" y="55609"/>
                </a:lnTo>
                <a:lnTo>
                  <a:pt x="128206" y="54589"/>
                </a:lnTo>
                <a:lnTo>
                  <a:pt x="111444" y="53410"/>
                </a:lnTo>
                <a:lnTo>
                  <a:pt x="95578" y="52081"/>
                </a:lnTo>
                <a:lnTo>
                  <a:pt x="80678" y="50610"/>
                </a:lnTo>
                <a:lnTo>
                  <a:pt x="66814" y="49005"/>
                </a:lnTo>
                <a:lnTo>
                  <a:pt x="54055" y="47274"/>
                </a:lnTo>
                <a:lnTo>
                  <a:pt x="42470" y="45426"/>
                </a:lnTo>
                <a:lnTo>
                  <a:pt x="32128" y="43468"/>
                </a:lnTo>
                <a:lnTo>
                  <a:pt x="23101" y="41409"/>
                </a:lnTo>
                <a:lnTo>
                  <a:pt x="15455" y="39257"/>
                </a:lnTo>
                <a:lnTo>
                  <a:pt x="4591" y="34708"/>
                </a:lnTo>
                <a:lnTo>
                  <a:pt x="0" y="29083"/>
                </a:lnTo>
                <a:close/>
              </a:path>
            </a:pathLst>
          </a:custGeom>
          <a:ln w="1269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9" name="object 329"/>
          <p:cNvSpPr/>
          <p:nvPr/>
        </p:nvSpPr>
        <p:spPr>
          <a:xfrm>
            <a:off x="6199379" y="3990732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2" h="58016">
                <a:moveTo>
                  <a:pt x="0" y="29071"/>
                </a:moveTo>
                <a:lnTo>
                  <a:pt x="1511" y="32317"/>
                </a:lnTo>
                <a:lnTo>
                  <a:pt x="4591" y="34697"/>
                </a:lnTo>
                <a:lnTo>
                  <a:pt x="23101" y="41398"/>
                </a:lnTo>
                <a:lnTo>
                  <a:pt x="42470" y="45415"/>
                </a:lnTo>
                <a:lnTo>
                  <a:pt x="66814" y="48994"/>
                </a:lnTo>
                <a:lnTo>
                  <a:pt x="95578" y="52070"/>
                </a:lnTo>
                <a:lnTo>
                  <a:pt x="128206" y="54578"/>
                </a:lnTo>
                <a:lnTo>
                  <a:pt x="145795" y="55598"/>
                </a:lnTo>
                <a:lnTo>
                  <a:pt x="164141" y="56450"/>
                </a:lnTo>
                <a:lnTo>
                  <a:pt x="183176" y="57128"/>
                </a:lnTo>
                <a:lnTo>
                  <a:pt x="202829" y="57622"/>
                </a:lnTo>
                <a:lnTo>
                  <a:pt x="223031" y="57925"/>
                </a:lnTo>
                <a:lnTo>
                  <a:pt x="250691" y="58016"/>
                </a:lnTo>
                <a:lnTo>
                  <a:pt x="271227" y="57845"/>
                </a:lnTo>
                <a:lnTo>
                  <a:pt x="291260" y="57478"/>
                </a:lnTo>
                <a:lnTo>
                  <a:pt x="310719" y="56922"/>
                </a:lnTo>
                <a:lnTo>
                  <a:pt x="329535" y="56186"/>
                </a:lnTo>
                <a:lnTo>
                  <a:pt x="347639" y="55277"/>
                </a:lnTo>
                <a:lnTo>
                  <a:pt x="364962" y="54204"/>
                </a:lnTo>
                <a:lnTo>
                  <a:pt x="381434" y="52975"/>
                </a:lnTo>
                <a:lnTo>
                  <a:pt x="411551" y="50084"/>
                </a:lnTo>
                <a:lnTo>
                  <a:pt x="437434" y="46667"/>
                </a:lnTo>
                <a:lnTo>
                  <a:pt x="458530" y="42792"/>
                </a:lnTo>
                <a:lnTo>
                  <a:pt x="474284" y="38524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0" name="object 330"/>
          <p:cNvSpPr/>
          <p:nvPr/>
        </p:nvSpPr>
        <p:spPr>
          <a:xfrm>
            <a:off x="6199379" y="3990722"/>
            <a:ext cx="487552" cy="58039"/>
          </a:xfrm>
          <a:custGeom>
            <a:avLst/>
            <a:gdLst/>
            <a:ahLst/>
            <a:cxnLst/>
            <a:rect l="l" t="t" r="r" b="b"/>
            <a:pathLst>
              <a:path w="487552" h="58039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2"/>
                </a:lnTo>
                <a:lnTo>
                  <a:pt x="486689" y="31540"/>
                </a:lnTo>
                <a:lnTo>
                  <a:pt x="484143" y="33939"/>
                </a:lnTo>
                <a:lnTo>
                  <a:pt x="474284" y="38535"/>
                </a:lnTo>
                <a:lnTo>
                  <a:pt x="458530" y="42803"/>
                </a:lnTo>
                <a:lnTo>
                  <a:pt x="448615" y="44794"/>
                </a:lnTo>
                <a:lnTo>
                  <a:pt x="437434" y="46678"/>
                </a:lnTo>
                <a:lnTo>
                  <a:pt x="425056" y="48448"/>
                </a:lnTo>
                <a:lnTo>
                  <a:pt x="411551" y="50095"/>
                </a:lnTo>
                <a:lnTo>
                  <a:pt x="396987" y="51610"/>
                </a:lnTo>
                <a:lnTo>
                  <a:pt x="381434" y="52987"/>
                </a:lnTo>
                <a:lnTo>
                  <a:pt x="364962" y="54215"/>
                </a:lnTo>
                <a:lnTo>
                  <a:pt x="347639" y="55288"/>
                </a:lnTo>
                <a:lnTo>
                  <a:pt x="329535" y="56197"/>
                </a:lnTo>
                <a:lnTo>
                  <a:pt x="310719" y="56933"/>
                </a:lnTo>
                <a:lnTo>
                  <a:pt x="291260" y="57489"/>
                </a:lnTo>
                <a:lnTo>
                  <a:pt x="271227" y="57857"/>
                </a:lnTo>
                <a:lnTo>
                  <a:pt x="250691" y="58027"/>
                </a:lnTo>
                <a:lnTo>
                  <a:pt x="243712" y="58038"/>
                </a:lnTo>
                <a:lnTo>
                  <a:pt x="223031" y="57936"/>
                </a:lnTo>
                <a:lnTo>
                  <a:pt x="202829" y="57633"/>
                </a:lnTo>
                <a:lnTo>
                  <a:pt x="183176" y="57139"/>
                </a:lnTo>
                <a:lnTo>
                  <a:pt x="164141" y="56461"/>
                </a:lnTo>
                <a:lnTo>
                  <a:pt x="145795" y="55609"/>
                </a:lnTo>
                <a:lnTo>
                  <a:pt x="128206" y="54589"/>
                </a:lnTo>
                <a:lnTo>
                  <a:pt x="111444" y="53410"/>
                </a:lnTo>
                <a:lnTo>
                  <a:pt x="95578" y="52081"/>
                </a:lnTo>
                <a:lnTo>
                  <a:pt x="80678" y="50610"/>
                </a:lnTo>
                <a:lnTo>
                  <a:pt x="66814" y="49005"/>
                </a:lnTo>
                <a:lnTo>
                  <a:pt x="54055" y="47274"/>
                </a:lnTo>
                <a:lnTo>
                  <a:pt x="42470" y="45426"/>
                </a:lnTo>
                <a:lnTo>
                  <a:pt x="32128" y="43468"/>
                </a:lnTo>
                <a:lnTo>
                  <a:pt x="23101" y="41409"/>
                </a:lnTo>
                <a:lnTo>
                  <a:pt x="15455" y="39257"/>
                </a:lnTo>
                <a:lnTo>
                  <a:pt x="4591" y="34708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1" name="object 331"/>
          <p:cNvSpPr/>
          <p:nvPr/>
        </p:nvSpPr>
        <p:spPr>
          <a:xfrm>
            <a:off x="6195060" y="3874414"/>
            <a:ext cx="0" cy="75437"/>
          </a:xfrm>
          <a:custGeom>
            <a:avLst/>
            <a:gdLst/>
            <a:ahLst/>
            <a:cxnLst/>
            <a:rect l="l" t="t" r="r" b="b"/>
            <a:pathLst>
              <a:path h="75437">
                <a:moveTo>
                  <a:pt x="0" y="75437"/>
                </a:moveTo>
                <a:lnTo>
                  <a:pt x="0" y="0"/>
                </a:lnTo>
                <a:lnTo>
                  <a:pt x="0" y="75437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2" name="object 332"/>
          <p:cNvSpPr/>
          <p:nvPr/>
        </p:nvSpPr>
        <p:spPr>
          <a:xfrm>
            <a:off x="6199379" y="3847731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21"/>
                </a:lnTo>
                <a:lnTo>
                  <a:pt x="4595" y="34705"/>
                </a:lnTo>
                <a:lnTo>
                  <a:pt x="23108" y="41423"/>
                </a:lnTo>
                <a:lnTo>
                  <a:pt x="42478" y="45457"/>
                </a:lnTo>
                <a:lnTo>
                  <a:pt x="66822" y="49055"/>
                </a:lnTo>
                <a:lnTo>
                  <a:pt x="95586" y="52151"/>
                </a:lnTo>
                <a:lnTo>
                  <a:pt x="128212" y="54676"/>
                </a:lnTo>
                <a:lnTo>
                  <a:pt x="145800" y="55704"/>
                </a:lnTo>
                <a:lnTo>
                  <a:pt x="164146" y="56563"/>
                </a:lnTo>
                <a:lnTo>
                  <a:pt x="183179" y="57247"/>
                </a:lnTo>
                <a:lnTo>
                  <a:pt x="202831" y="57745"/>
                </a:lnTo>
                <a:lnTo>
                  <a:pt x="223032" y="58051"/>
                </a:lnTo>
                <a:lnTo>
                  <a:pt x="250715" y="58143"/>
                </a:lnTo>
                <a:lnTo>
                  <a:pt x="271250" y="57970"/>
                </a:lnTo>
                <a:lnTo>
                  <a:pt x="291280" y="57600"/>
                </a:lnTo>
                <a:lnTo>
                  <a:pt x="310737" y="57039"/>
                </a:lnTo>
                <a:lnTo>
                  <a:pt x="329552" y="56296"/>
                </a:lnTo>
                <a:lnTo>
                  <a:pt x="347654" y="55379"/>
                </a:lnTo>
                <a:lnTo>
                  <a:pt x="364975" y="54298"/>
                </a:lnTo>
                <a:lnTo>
                  <a:pt x="381446" y="53061"/>
                </a:lnTo>
                <a:lnTo>
                  <a:pt x="411559" y="50150"/>
                </a:lnTo>
                <a:lnTo>
                  <a:pt x="437439" y="46714"/>
                </a:lnTo>
                <a:lnTo>
                  <a:pt x="458533" y="42820"/>
                </a:lnTo>
                <a:lnTo>
                  <a:pt x="474286" y="38537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3" name="object 333"/>
          <p:cNvSpPr/>
          <p:nvPr/>
        </p:nvSpPr>
        <p:spPr>
          <a:xfrm>
            <a:off x="6199379" y="3847719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2"/>
                </a:lnTo>
                <a:lnTo>
                  <a:pt x="486689" y="31540"/>
                </a:lnTo>
                <a:lnTo>
                  <a:pt x="484143" y="33943"/>
                </a:lnTo>
                <a:lnTo>
                  <a:pt x="474286" y="38548"/>
                </a:lnTo>
                <a:lnTo>
                  <a:pt x="458533" y="42831"/>
                </a:lnTo>
                <a:lnTo>
                  <a:pt x="448619" y="44831"/>
                </a:lnTo>
                <a:lnTo>
                  <a:pt x="437439" y="46725"/>
                </a:lnTo>
                <a:lnTo>
                  <a:pt x="425063" y="48504"/>
                </a:lnTo>
                <a:lnTo>
                  <a:pt x="411559" y="50161"/>
                </a:lnTo>
                <a:lnTo>
                  <a:pt x="396997" y="51686"/>
                </a:lnTo>
                <a:lnTo>
                  <a:pt x="381446" y="53072"/>
                </a:lnTo>
                <a:lnTo>
                  <a:pt x="364975" y="54309"/>
                </a:lnTo>
                <a:lnTo>
                  <a:pt x="347654" y="55390"/>
                </a:lnTo>
                <a:lnTo>
                  <a:pt x="329552" y="56307"/>
                </a:lnTo>
                <a:lnTo>
                  <a:pt x="310737" y="57050"/>
                </a:lnTo>
                <a:lnTo>
                  <a:pt x="291280" y="57611"/>
                </a:lnTo>
                <a:lnTo>
                  <a:pt x="271250" y="57981"/>
                </a:lnTo>
                <a:lnTo>
                  <a:pt x="250715" y="58154"/>
                </a:lnTo>
                <a:lnTo>
                  <a:pt x="243712" y="58165"/>
                </a:lnTo>
                <a:lnTo>
                  <a:pt x="223032" y="58062"/>
                </a:lnTo>
                <a:lnTo>
                  <a:pt x="202831" y="57756"/>
                </a:lnTo>
                <a:lnTo>
                  <a:pt x="183179" y="57258"/>
                </a:lnTo>
                <a:lnTo>
                  <a:pt x="164146" y="56574"/>
                </a:lnTo>
                <a:lnTo>
                  <a:pt x="145800" y="55715"/>
                </a:lnTo>
                <a:lnTo>
                  <a:pt x="128212" y="54687"/>
                </a:lnTo>
                <a:lnTo>
                  <a:pt x="111451" y="53500"/>
                </a:lnTo>
                <a:lnTo>
                  <a:pt x="95586" y="52162"/>
                </a:lnTo>
                <a:lnTo>
                  <a:pt x="80686" y="50681"/>
                </a:lnTo>
                <a:lnTo>
                  <a:pt x="66822" y="49066"/>
                </a:lnTo>
                <a:lnTo>
                  <a:pt x="54063" y="47326"/>
                </a:lnTo>
                <a:lnTo>
                  <a:pt x="42478" y="45468"/>
                </a:lnTo>
                <a:lnTo>
                  <a:pt x="32136" y="43501"/>
                </a:lnTo>
                <a:lnTo>
                  <a:pt x="23108" y="41434"/>
                </a:lnTo>
                <a:lnTo>
                  <a:pt x="15462" y="39276"/>
                </a:lnTo>
                <a:lnTo>
                  <a:pt x="4595" y="34716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4" name="object 334"/>
          <p:cNvSpPr/>
          <p:nvPr/>
        </p:nvSpPr>
        <p:spPr>
          <a:xfrm>
            <a:off x="6822694" y="4066044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44"/>
                </a:lnTo>
                <a:lnTo>
                  <a:pt x="4595" y="34740"/>
                </a:lnTo>
                <a:lnTo>
                  <a:pt x="23108" y="41478"/>
                </a:lnTo>
                <a:lnTo>
                  <a:pt x="42478" y="45512"/>
                </a:lnTo>
                <a:lnTo>
                  <a:pt x="66822" y="49104"/>
                </a:lnTo>
                <a:lnTo>
                  <a:pt x="95586" y="52189"/>
                </a:lnTo>
                <a:lnTo>
                  <a:pt x="128212" y="54701"/>
                </a:lnTo>
                <a:lnTo>
                  <a:pt x="145800" y="55723"/>
                </a:lnTo>
                <a:lnTo>
                  <a:pt x="164146" y="56576"/>
                </a:lnTo>
                <a:lnTo>
                  <a:pt x="183179" y="57255"/>
                </a:lnTo>
                <a:lnTo>
                  <a:pt x="202831" y="57749"/>
                </a:lnTo>
                <a:lnTo>
                  <a:pt x="223032" y="58052"/>
                </a:lnTo>
                <a:lnTo>
                  <a:pt x="250715" y="58143"/>
                </a:lnTo>
                <a:lnTo>
                  <a:pt x="271250" y="57972"/>
                </a:lnTo>
                <a:lnTo>
                  <a:pt x="291280" y="57604"/>
                </a:lnTo>
                <a:lnTo>
                  <a:pt x="310737" y="57048"/>
                </a:lnTo>
                <a:lnTo>
                  <a:pt x="329552" y="56310"/>
                </a:lnTo>
                <a:lnTo>
                  <a:pt x="347654" y="55400"/>
                </a:lnTo>
                <a:lnTo>
                  <a:pt x="364975" y="54326"/>
                </a:lnTo>
                <a:lnTo>
                  <a:pt x="381446" y="53094"/>
                </a:lnTo>
                <a:lnTo>
                  <a:pt x="411559" y="50195"/>
                </a:lnTo>
                <a:lnTo>
                  <a:pt x="437439" y="46768"/>
                </a:lnTo>
                <a:lnTo>
                  <a:pt x="458533" y="42877"/>
                </a:lnTo>
                <a:lnTo>
                  <a:pt x="474286" y="38587"/>
                </a:lnTo>
                <a:lnTo>
                  <a:pt x="487552" y="29071"/>
                </a:lnTo>
                <a:lnTo>
                  <a:pt x="486017" y="25799"/>
                </a:lnTo>
                <a:lnTo>
                  <a:pt x="464382" y="16704"/>
                </a:lnTo>
                <a:lnTo>
                  <a:pt x="445000" y="12674"/>
                </a:lnTo>
                <a:lnTo>
                  <a:pt x="420647" y="9079"/>
                </a:lnTo>
                <a:lnTo>
                  <a:pt x="391878" y="5986"/>
                </a:lnTo>
                <a:lnTo>
                  <a:pt x="359245" y="3463"/>
                </a:lnTo>
                <a:lnTo>
                  <a:pt x="341654" y="2437"/>
                </a:lnTo>
                <a:lnTo>
                  <a:pt x="323305" y="1578"/>
                </a:lnTo>
                <a:lnTo>
                  <a:pt x="304266" y="895"/>
                </a:lnTo>
                <a:lnTo>
                  <a:pt x="284609" y="397"/>
                </a:lnTo>
                <a:lnTo>
                  <a:pt x="264401" y="92"/>
                </a:lnTo>
                <a:lnTo>
                  <a:pt x="236919" y="0"/>
                </a:lnTo>
                <a:lnTo>
                  <a:pt x="216387" y="170"/>
                </a:lnTo>
                <a:lnTo>
                  <a:pt x="196358" y="539"/>
                </a:lnTo>
                <a:lnTo>
                  <a:pt x="176900" y="1099"/>
                </a:lnTo>
                <a:lnTo>
                  <a:pt x="158083" y="1841"/>
                </a:lnTo>
                <a:lnTo>
                  <a:pt x="139977" y="2756"/>
                </a:lnTo>
                <a:lnTo>
                  <a:pt x="122651" y="3837"/>
                </a:lnTo>
                <a:lnTo>
                  <a:pt x="106174" y="5074"/>
                </a:lnTo>
                <a:lnTo>
                  <a:pt x="76047" y="7985"/>
                </a:lnTo>
                <a:lnTo>
                  <a:pt x="50152" y="11422"/>
                </a:lnTo>
                <a:lnTo>
                  <a:pt x="29044" y="15316"/>
                </a:lnTo>
                <a:lnTo>
                  <a:pt x="13279" y="19601"/>
                </a:lnTo>
                <a:lnTo>
                  <a:pt x="864" y="26612"/>
                </a:lnTo>
                <a:lnTo>
                  <a:pt x="0" y="29071"/>
                </a:lnTo>
                <a:close/>
              </a:path>
            </a:pathLst>
          </a:custGeom>
          <a:solidFill>
            <a:srgbClr val="FF99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5" name="object 335"/>
          <p:cNvSpPr/>
          <p:nvPr/>
        </p:nvSpPr>
        <p:spPr>
          <a:xfrm>
            <a:off x="6822694" y="4066031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3"/>
                </a:moveTo>
                <a:lnTo>
                  <a:pt x="7573" y="21880"/>
                </a:lnTo>
                <a:lnTo>
                  <a:pt x="20459" y="17425"/>
                </a:lnTo>
                <a:lnTo>
                  <a:pt x="29044" y="15327"/>
                </a:lnTo>
                <a:lnTo>
                  <a:pt x="38965" y="13327"/>
                </a:lnTo>
                <a:lnTo>
                  <a:pt x="50152" y="11433"/>
                </a:lnTo>
                <a:lnTo>
                  <a:pt x="62536" y="9653"/>
                </a:lnTo>
                <a:lnTo>
                  <a:pt x="76047" y="7996"/>
                </a:lnTo>
                <a:lnTo>
                  <a:pt x="90617" y="6471"/>
                </a:lnTo>
                <a:lnTo>
                  <a:pt x="106174" y="5085"/>
                </a:lnTo>
                <a:lnTo>
                  <a:pt x="122651" y="3848"/>
                </a:lnTo>
                <a:lnTo>
                  <a:pt x="139977" y="2767"/>
                </a:lnTo>
                <a:lnTo>
                  <a:pt x="158083" y="1852"/>
                </a:lnTo>
                <a:lnTo>
                  <a:pt x="176900" y="1110"/>
                </a:lnTo>
                <a:lnTo>
                  <a:pt x="196358" y="550"/>
                </a:lnTo>
                <a:lnTo>
                  <a:pt x="216387" y="181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3"/>
                </a:lnTo>
                <a:lnTo>
                  <a:pt x="284609" y="408"/>
                </a:lnTo>
                <a:lnTo>
                  <a:pt x="304266" y="906"/>
                </a:lnTo>
                <a:lnTo>
                  <a:pt x="323305" y="1589"/>
                </a:lnTo>
                <a:lnTo>
                  <a:pt x="341654" y="2448"/>
                </a:lnTo>
                <a:lnTo>
                  <a:pt x="359245" y="3475"/>
                </a:lnTo>
                <a:lnTo>
                  <a:pt x="376010" y="4661"/>
                </a:lnTo>
                <a:lnTo>
                  <a:pt x="391878" y="5997"/>
                </a:lnTo>
                <a:lnTo>
                  <a:pt x="406780" y="7477"/>
                </a:lnTo>
                <a:lnTo>
                  <a:pt x="420647" y="9090"/>
                </a:lnTo>
                <a:lnTo>
                  <a:pt x="433410" y="10829"/>
                </a:lnTo>
                <a:lnTo>
                  <a:pt x="445000" y="12685"/>
                </a:lnTo>
                <a:lnTo>
                  <a:pt x="455347" y="14650"/>
                </a:lnTo>
                <a:lnTo>
                  <a:pt x="464382" y="16715"/>
                </a:lnTo>
                <a:lnTo>
                  <a:pt x="478239" y="21113"/>
                </a:lnTo>
                <a:lnTo>
                  <a:pt x="486017" y="25811"/>
                </a:lnTo>
                <a:lnTo>
                  <a:pt x="487552" y="29083"/>
                </a:lnTo>
                <a:lnTo>
                  <a:pt x="486689" y="31558"/>
                </a:lnTo>
                <a:lnTo>
                  <a:pt x="484143" y="33975"/>
                </a:lnTo>
                <a:lnTo>
                  <a:pt x="474286" y="38598"/>
                </a:lnTo>
                <a:lnTo>
                  <a:pt x="458533" y="42888"/>
                </a:lnTo>
                <a:lnTo>
                  <a:pt x="448619" y="44887"/>
                </a:lnTo>
                <a:lnTo>
                  <a:pt x="437439" y="46779"/>
                </a:lnTo>
                <a:lnTo>
                  <a:pt x="425063" y="48555"/>
                </a:lnTo>
                <a:lnTo>
                  <a:pt x="411559" y="50206"/>
                </a:lnTo>
                <a:lnTo>
                  <a:pt x="396997" y="51726"/>
                </a:lnTo>
                <a:lnTo>
                  <a:pt x="381446" y="53106"/>
                </a:lnTo>
                <a:lnTo>
                  <a:pt x="364975" y="54337"/>
                </a:lnTo>
                <a:lnTo>
                  <a:pt x="347654" y="55411"/>
                </a:lnTo>
                <a:lnTo>
                  <a:pt x="329552" y="56322"/>
                </a:lnTo>
                <a:lnTo>
                  <a:pt x="310737" y="57059"/>
                </a:lnTo>
                <a:lnTo>
                  <a:pt x="291280" y="57616"/>
                </a:lnTo>
                <a:lnTo>
                  <a:pt x="271250" y="57983"/>
                </a:lnTo>
                <a:lnTo>
                  <a:pt x="250715" y="58154"/>
                </a:lnTo>
                <a:lnTo>
                  <a:pt x="243712" y="58166"/>
                </a:lnTo>
                <a:lnTo>
                  <a:pt x="223032" y="58063"/>
                </a:lnTo>
                <a:lnTo>
                  <a:pt x="202831" y="57760"/>
                </a:lnTo>
                <a:lnTo>
                  <a:pt x="183179" y="57266"/>
                </a:lnTo>
                <a:lnTo>
                  <a:pt x="164146" y="56587"/>
                </a:lnTo>
                <a:lnTo>
                  <a:pt x="145800" y="55734"/>
                </a:lnTo>
                <a:lnTo>
                  <a:pt x="128212" y="54712"/>
                </a:lnTo>
                <a:lnTo>
                  <a:pt x="111451" y="53532"/>
                </a:lnTo>
                <a:lnTo>
                  <a:pt x="95586" y="52200"/>
                </a:lnTo>
                <a:lnTo>
                  <a:pt x="80686" y="50725"/>
                </a:lnTo>
                <a:lnTo>
                  <a:pt x="66822" y="49115"/>
                </a:lnTo>
                <a:lnTo>
                  <a:pt x="54063" y="47379"/>
                </a:lnTo>
                <a:lnTo>
                  <a:pt x="42478" y="45524"/>
                </a:lnTo>
                <a:lnTo>
                  <a:pt x="32136" y="43558"/>
                </a:lnTo>
                <a:lnTo>
                  <a:pt x="23108" y="41489"/>
                </a:lnTo>
                <a:lnTo>
                  <a:pt x="15462" y="39327"/>
                </a:lnTo>
                <a:lnTo>
                  <a:pt x="4595" y="34751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6" name="object 336"/>
          <p:cNvSpPr/>
          <p:nvPr/>
        </p:nvSpPr>
        <p:spPr>
          <a:xfrm>
            <a:off x="6818377" y="4017391"/>
            <a:ext cx="496125" cy="75438"/>
          </a:xfrm>
          <a:custGeom>
            <a:avLst/>
            <a:gdLst/>
            <a:ahLst/>
            <a:cxnLst/>
            <a:rect l="l" t="t" r="r" b="b"/>
            <a:pathLst>
              <a:path w="496125" h="75438">
                <a:moveTo>
                  <a:pt x="0" y="75437"/>
                </a:moveTo>
                <a:lnTo>
                  <a:pt x="496125" y="75437"/>
                </a:lnTo>
                <a:lnTo>
                  <a:pt x="496125" y="0"/>
                </a:lnTo>
                <a:lnTo>
                  <a:pt x="0" y="0"/>
                </a:lnTo>
                <a:lnTo>
                  <a:pt x="0" y="75437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7" name="object 337"/>
          <p:cNvSpPr/>
          <p:nvPr/>
        </p:nvSpPr>
        <p:spPr>
          <a:xfrm>
            <a:off x="6822694" y="3923169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2" h="58016">
                <a:moveTo>
                  <a:pt x="0" y="29071"/>
                </a:moveTo>
                <a:lnTo>
                  <a:pt x="1511" y="32317"/>
                </a:lnTo>
                <a:lnTo>
                  <a:pt x="4591" y="34697"/>
                </a:lnTo>
                <a:lnTo>
                  <a:pt x="23101" y="41398"/>
                </a:lnTo>
                <a:lnTo>
                  <a:pt x="42470" y="45415"/>
                </a:lnTo>
                <a:lnTo>
                  <a:pt x="66814" y="48994"/>
                </a:lnTo>
                <a:lnTo>
                  <a:pt x="95578" y="52070"/>
                </a:lnTo>
                <a:lnTo>
                  <a:pt x="128206" y="54578"/>
                </a:lnTo>
                <a:lnTo>
                  <a:pt x="145795" y="55598"/>
                </a:lnTo>
                <a:lnTo>
                  <a:pt x="164141" y="56450"/>
                </a:lnTo>
                <a:lnTo>
                  <a:pt x="183176" y="57128"/>
                </a:lnTo>
                <a:lnTo>
                  <a:pt x="202829" y="57622"/>
                </a:lnTo>
                <a:lnTo>
                  <a:pt x="223031" y="57925"/>
                </a:lnTo>
                <a:lnTo>
                  <a:pt x="250691" y="58016"/>
                </a:lnTo>
                <a:lnTo>
                  <a:pt x="271227" y="57845"/>
                </a:lnTo>
                <a:lnTo>
                  <a:pt x="291260" y="57478"/>
                </a:lnTo>
                <a:lnTo>
                  <a:pt x="310719" y="56922"/>
                </a:lnTo>
                <a:lnTo>
                  <a:pt x="329535" y="56186"/>
                </a:lnTo>
                <a:lnTo>
                  <a:pt x="347639" y="55277"/>
                </a:lnTo>
                <a:lnTo>
                  <a:pt x="364962" y="54204"/>
                </a:lnTo>
                <a:lnTo>
                  <a:pt x="381434" y="52975"/>
                </a:lnTo>
                <a:lnTo>
                  <a:pt x="411551" y="50084"/>
                </a:lnTo>
                <a:lnTo>
                  <a:pt x="437434" y="46667"/>
                </a:lnTo>
                <a:lnTo>
                  <a:pt x="458530" y="42792"/>
                </a:lnTo>
                <a:lnTo>
                  <a:pt x="474284" y="38524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8" name="object 338"/>
          <p:cNvSpPr/>
          <p:nvPr/>
        </p:nvSpPr>
        <p:spPr>
          <a:xfrm>
            <a:off x="6822694" y="3923156"/>
            <a:ext cx="487552" cy="58038"/>
          </a:xfrm>
          <a:custGeom>
            <a:avLst/>
            <a:gdLst/>
            <a:ahLst/>
            <a:cxnLst/>
            <a:rect l="l" t="t" r="r" b="b"/>
            <a:pathLst>
              <a:path w="487552" h="58038">
                <a:moveTo>
                  <a:pt x="0" y="29083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3"/>
                </a:lnTo>
                <a:lnTo>
                  <a:pt x="486689" y="31540"/>
                </a:lnTo>
                <a:lnTo>
                  <a:pt x="484143" y="33939"/>
                </a:lnTo>
                <a:lnTo>
                  <a:pt x="474284" y="38535"/>
                </a:lnTo>
                <a:lnTo>
                  <a:pt x="458530" y="42803"/>
                </a:lnTo>
                <a:lnTo>
                  <a:pt x="448615" y="44794"/>
                </a:lnTo>
                <a:lnTo>
                  <a:pt x="437434" y="46678"/>
                </a:lnTo>
                <a:lnTo>
                  <a:pt x="425056" y="48448"/>
                </a:lnTo>
                <a:lnTo>
                  <a:pt x="411551" y="50095"/>
                </a:lnTo>
                <a:lnTo>
                  <a:pt x="396987" y="51610"/>
                </a:lnTo>
                <a:lnTo>
                  <a:pt x="381434" y="52987"/>
                </a:lnTo>
                <a:lnTo>
                  <a:pt x="364962" y="54215"/>
                </a:lnTo>
                <a:lnTo>
                  <a:pt x="347639" y="55288"/>
                </a:lnTo>
                <a:lnTo>
                  <a:pt x="329535" y="56197"/>
                </a:lnTo>
                <a:lnTo>
                  <a:pt x="310719" y="56933"/>
                </a:lnTo>
                <a:lnTo>
                  <a:pt x="291260" y="57489"/>
                </a:lnTo>
                <a:lnTo>
                  <a:pt x="271227" y="57857"/>
                </a:lnTo>
                <a:lnTo>
                  <a:pt x="250691" y="58027"/>
                </a:lnTo>
                <a:lnTo>
                  <a:pt x="243712" y="58039"/>
                </a:lnTo>
                <a:lnTo>
                  <a:pt x="223031" y="57936"/>
                </a:lnTo>
                <a:lnTo>
                  <a:pt x="202829" y="57633"/>
                </a:lnTo>
                <a:lnTo>
                  <a:pt x="183176" y="57139"/>
                </a:lnTo>
                <a:lnTo>
                  <a:pt x="164141" y="56461"/>
                </a:lnTo>
                <a:lnTo>
                  <a:pt x="145795" y="55609"/>
                </a:lnTo>
                <a:lnTo>
                  <a:pt x="128206" y="54589"/>
                </a:lnTo>
                <a:lnTo>
                  <a:pt x="111444" y="53410"/>
                </a:lnTo>
                <a:lnTo>
                  <a:pt x="95578" y="52081"/>
                </a:lnTo>
                <a:lnTo>
                  <a:pt x="80678" y="50610"/>
                </a:lnTo>
                <a:lnTo>
                  <a:pt x="66814" y="49005"/>
                </a:lnTo>
                <a:lnTo>
                  <a:pt x="54055" y="47274"/>
                </a:lnTo>
                <a:lnTo>
                  <a:pt x="42470" y="45426"/>
                </a:lnTo>
                <a:lnTo>
                  <a:pt x="32128" y="43468"/>
                </a:lnTo>
                <a:lnTo>
                  <a:pt x="23101" y="41409"/>
                </a:lnTo>
                <a:lnTo>
                  <a:pt x="15455" y="39257"/>
                </a:lnTo>
                <a:lnTo>
                  <a:pt x="4591" y="34708"/>
                </a:lnTo>
                <a:lnTo>
                  <a:pt x="0" y="29083"/>
                </a:lnTo>
                <a:close/>
              </a:path>
            </a:pathLst>
          </a:custGeom>
          <a:ln w="1269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9" name="object 339"/>
          <p:cNvSpPr/>
          <p:nvPr/>
        </p:nvSpPr>
        <p:spPr>
          <a:xfrm>
            <a:off x="6822694" y="3990732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2" h="58016">
                <a:moveTo>
                  <a:pt x="0" y="29071"/>
                </a:moveTo>
                <a:lnTo>
                  <a:pt x="1511" y="32317"/>
                </a:lnTo>
                <a:lnTo>
                  <a:pt x="4591" y="34697"/>
                </a:lnTo>
                <a:lnTo>
                  <a:pt x="23101" y="41398"/>
                </a:lnTo>
                <a:lnTo>
                  <a:pt x="42470" y="45415"/>
                </a:lnTo>
                <a:lnTo>
                  <a:pt x="66814" y="48994"/>
                </a:lnTo>
                <a:lnTo>
                  <a:pt x="95578" y="52070"/>
                </a:lnTo>
                <a:lnTo>
                  <a:pt x="128206" y="54578"/>
                </a:lnTo>
                <a:lnTo>
                  <a:pt x="145795" y="55598"/>
                </a:lnTo>
                <a:lnTo>
                  <a:pt x="164141" y="56450"/>
                </a:lnTo>
                <a:lnTo>
                  <a:pt x="183176" y="57128"/>
                </a:lnTo>
                <a:lnTo>
                  <a:pt x="202829" y="57622"/>
                </a:lnTo>
                <a:lnTo>
                  <a:pt x="223031" y="57925"/>
                </a:lnTo>
                <a:lnTo>
                  <a:pt x="250691" y="58016"/>
                </a:lnTo>
                <a:lnTo>
                  <a:pt x="271227" y="57845"/>
                </a:lnTo>
                <a:lnTo>
                  <a:pt x="291260" y="57478"/>
                </a:lnTo>
                <a:lnTo>
                  <a:pt x="310719" y="56922"/>
                </a:lnTo>
                <a:lnTo>
                  <a:pt x="329535" y="56186"/>
                </a:lnTo>
                <a:lnTo>
                  <a:pt x="347639" y="55277"/>
                </a:lnTo>
                <a:lnTo>
                  <a:pt x="364962" y="54204"/>
                </a:lnTo>
                <a:lnTo>
                  <a:pt x="381434" y="52975"/>
                </a:lnTo>
                <a:lnTo>
                  <a:pt x="411551" y="50084"/>
                </a:lnTo>
                <a:lnTo>
                  <a:pt x="437434" y="46667"/>
                </a:lnTo>
                <a:lnTo>
                  <a:pt x="458530" y="42792"/>
                </a:lnTo>
                <a:lnTo>
                  <a:pt x="474284" y="38524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0" name="object 340"/>
          <p:cNvSpPr/>
          <p:nvPr/>
        </p:nvSpPr>
        <p:spPr>
          <a:xfrm>
            <a:off x="6822694" y="3990722"/>
            <a:ext cx="487552" cy="58039"/>
          </a:xfrm>
          <a:custGeom>
            <a:avLst/>
            <a:gdLst/>
            <a:ahLst/>
            <a:cxnLst/>
            <a:rect l="l" t="t" r="r" b="b"/>
            <a:pathLst>
              <a:path w="487552" h="58039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2"/>
                </a:lnTo>
                <a:lnTo>
                  <a:pt x="486689" y="31540"/>
                </a:lnTo>
                <a:lnTo>
                  <a:pt x="484143" y="33939"/>
                </a:lnTo>
                <a:lnTo>
                  <a:pt x="474284" y="38535"/>
                </a:lnTo>
                <a:lnTo>
                  <a:pt x="458530" y="42803"/>
                </a:lnTo>
                <a:lnTo>
                  <a:pt x="448615" y="44794"/>
                </a:lnTo>
                <a:lnTo>
                  <a:pt x="437434" y="46678"/>
                </a:lnTo>
                <a:lnTo>
                  <a:pt x="425056" y="48448"/>
                </a:lnTo>
                <a:lnTo>
                  <a:pt x="411551" y="50095"/>
                </a:lnTo>
                <a:lnTo>
                  <a:pt x="396987" y="51610"/>
                </a:lnTo>
                <a:lnTo>
                  <a:pt x="381434" y="52987"/>
                </a:lnTo>
                <a:lnTo>
                  <a:pt x="364962" y="54215"/>
                </a:lnTo>
                <a:lnTo>
                  <a:pt x="347639" y="55288"/>
                </a:lnTo>
                <a:lnTo>
                  <a:pt x="329535" y="56197"/>
                </a:lnTo>
                <a:lnTo>
                  <a:pt x="310719" y="56933"/>
                </a:lnTo>
                <a:lnTo>
                  <a:pt x="291260" y="57489"/>
                </a:lnTo>
                <a:lnTo>
                  <a:pt x="271227" y="57857"/>
                </a:lnTo>
                <a:lnTo>
                  <a:pt x="250691" y="58027"/>
                </a:lnTo>
                <a:lnTo>
                  <a:pt x="243712" y="58038"/>
                </a:lnTo>
                <a:lnTo>
                  <a:pt x="223031" y="57936"/>
                </a:lnTo>
                <a:lnTo>
                  <a:pt x="202829" y="57633"/>
                </a:lnTo>
                <a:lnTo>
                  <a:pt x="183176" y="57139"/>
                </a:lnTo>
                <a:lnTo>
                  <a:pt x="164141" y="56461"/>
                </a:lnTo>
                <a:lnTo>
                  <a:pt x="145795" y="55609"/>
                </a:lnTo>
                <a:lnTo>
                  <a:pt x="128206" y="54589"/>
                </a:lnTo>
                <a:lnTo>
                  <a:pt x="111444" y="53410"/>
                </a:lnTo>
                <a:lnTo>
                  <a:pt x="95578" y="52081"/>
                </a:lnTo>
                <a:lnTo>
                  <a:pt x="80678" y="50610"/>
                </a:lnTo>
                <a:lnTo>
                  <a:pt x="66814" y="49005"/>
                </a:lnTo>
                <a:lnTo>
                  <a:pt x="54055" y="47274"/>
                </a:lnTo>
                <a:lnTo>
                  <a:pt x="42470" y="45426"/>
                </a:lnTo>
                <a:lnTo>
                  <a:pt x="32128" y="43468"/>
                </a:lnTo>
                <a:lnTo>
                  <a:pt x="23101" y="41409"/>
                </a:lnTo>
                <a:lnTo>
                  <a:pt x="15455" y="39257"/>
                </a:lnTo>
                <a:lnTo>
                  <a:pt x="4591" y="34708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1" name="object 341"/>
          <p:cNvSpPr/>
          <p:nvPr/>
        </p:nvSpPr>
        <p:spPr>
          <a:xfrm>
            <a:off x="6818377" y="3874415"/>
            <a:ext cx="496125" cy="142976"/>
          </a:xfrm>
          <a:custGeom>
            <a:avLst/>
            <a:gdLst/>
            <a:ahLst/>
            <a:cxnLst/>
            <a:rect l="l" t="t" r="r" b="b"/>
            <a:pathLst>
              <a:path w="496125" h="142976">
                <a:moveTo>
                  <a:pt x="0" y="142976"/>
                </a:moveTo>
                <a:lnTo>
                  <a:pt x="496125" y="142976"/>
                </a:lnTo>
                <a:lnTo>
                  <a:pt x="496125" y="0"/>
                </a:lnTo>
                <a:lnTo>
                  <a:pt x="0" y="0"/>
                </a:lnTo>
                <a:lnTo>
                  <a:pt x="0" y="142976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2" name="object 342"/>
          <p:cNvSpPr/>
          <p:nvPr/>
        </p:nvSpPr>
        <p:spPr>
          <a:xfrm>
            <a:off x="6822694" y="3847731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21"/>
                </a:lnTo>
                <a:lnTo>
                  <a:pt x="4595" y="34705"/>
                </a:lnTo>
                <a:lnTo>
                  <a:pt x="23108" y="41423"/>
                </a:lnTo>
                <a:lnTo>
                  <a:pt x="42478" y="45457"/>
                </a:lnTo>
                <a:lnTo>
                  <a:pt x="66822" y="49055"/>
                </a:lnTo>
                <a:lnTo>
                  <a:pt x="95586" y="52151"/>
                </a:lnTo>
                <a:lnTo>
                  <a:pt x="128212" y="54676"/>
                </a:lnTo>
                <a:lnTo>
                  <a:pt x="145800" y="55704"/>
                </a:lnTo>
                <a:lnTo>
                  <a:pt x="164146" y="56563"/>
                </a:lnTo>
                <a:lnTo>
                  <a:pt x="183179" y="57247"/>
                </a:lnTo>
                <a:lnTo>
                  <a:pt x="202831" y="57745"/>
                </a:lnTo>
                <a:lnTo>
                  <a:pt x="223032" y="58051"/>
                </a:lnTo>
                <a:lnTo>
                  <a:pt x="250715" y="58143"/>
                </a:lnTo>
                <a:lnTo>
                  <a:pt x="271250" y="57970"/>
                </a:lnTo>
                <a:lnTo>
                  <a:pt x="291280" y="57600"/>
                </a:lnTo>
                <a:lnTo>
                  <a:pt x="310737" y="57039"/>
                </a:lnTo>
                <a:lnTo>
                  <a:pt x="329552" y="56296"/>
                </a:lnTo>
                <a:lnTo>
                  <a:pt x="347654" y="55379"/>
                </a:lnTo>
                <a:lnTo>
                  <a:pt x="364975" y="54298"/>
                </a:lnTo>
                <a:lnTo>
                  <a:pt x="381446" y="53061"/>
                </a:lnTo>
                <a:lnTo>
                  <a:pt x="411559" y="50150"/>
                </a:lnTo>
                <a:lnTo>
                  <a:pt x="437439" y="46714"/>
                </a:lnTo>
                <a:lnTo>
                  <a:pt x="458533" y="42820"/>
                </a:lnTo>
                <a:lnTo>
                  <a:pt x="474286" y="38537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3" name="object 343"/>
          <p:cNvSpPr/>
          <p:nvPr/>
        </p:nvSpPr>
        <p:spPr>
          <a:xfrm>
            <a:off x="6822694" y="3847719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2"/>
                </a:lnTo>
                <a:lnTo>
                  <a:pt x="486689" y="31540"/>
                </a:lnTo>
                <a:lnTo>
                  <a:pt x="484143" y="33943"/>
                </a:lnTo>
                <a:lnTo>
                  <a:pt x="474286" y="38548"/>
                </a:lnTo>
                <a:lnTo>
                  <a:pt x="458533" y="42831"/>
                </a:lnTo>
                <a:lnTo>
                  <a:pt x="448619" y="44831"/>
                </a:lnTo>
                <a:lnTo>
                  <a:pt x="437439" y="46725"/>
                </a:lnTo>
                <a:lnTo>
                  <a:pt x="425063" y="48504"/>
                </a:lnTo>
                <a:lnTo>
                  <a:pt x="411559" y="50161"/>
                </a:lnTo>
                <a:lnTo>
                  <a:pt x="396997" y="51686"/>
                </a:lnTo>
                <a:lnTo>
                  <a:pt x="381446" y="53072"/>
                </a:lnTo>
                <a:lnTo>
                  <a:pt x="364975" y="54309"/>
                </a:lnTo>
                <a:lnTo>
                  <a:pt x="347654" y="55390"/>
                </a:lnTo>
                <a:lnTo>
                  <a:pt x="329552" y="56307"/>
                </a:lnTo>
                <a:lnTo>
                  <a:pt x="310737" y="57050"/>
                </a:lnTo>
                <a:lnTo>
                  <a:pt x="291280" y="57611"/>
                </a:lnTo>
                <a:lnTo>
                  <a:pt x="271250" y="57981"/>
                </a:lnTo>
                <a:lnTo>
                  <a:pt x="250715" y="58154"/>
                </a:lnTo>
                <a:lnTo>
                  <a:pt x="243712" y="58165"/>
                </a:lnTo>
                <a:lnTo>
                  <a:pt x="223032" y="58062"/>
                </a:lnTo>
                <a:lnTo>
                  <a:pt x="202831" y="57756"/>
                </a:lnTo>
                <a:lnTo>
                  <a:pt x="183179" y="57258"/>
                </a:lnTo>
                <a:lnTo>
                  <a:pt x="164146" y="56574"/>
                </a:lnTo>
                <a:lnTo>
                  <a:pt x="145800" y="55715"/>
                </a:lnTo>
                <a:lnTo>
                  <a:pt x="128212" y="54687"/>
                </a:lnTo>
                <a:lnTo>
                  <a:pt x="111451" y="53500"/>
                </a:lnTo>
                <a:lnTo>
                  <a:pt x="95586" y="52162"/>
                </a:lnTo>
                <a:lnTo>
                  <a:pt x="80686" y="50681"/>
                </a:lnTo>
                <a:lnTo>
                  <a:pt x="66822" y="49066"/>
                </a:lnTo>
                <a:lnTo>
                  <a:pt x="54063" y="47326"/>
                </a:lnTo>
                <a:lnTo>
                  <a:pt x="42478" y="45468"/>
                </a:lnTo>
                <a:lnTo>
                  <a:pt x="32136" y="43501"/>
                </a:lnTo>
                <a:lnTo>
                  <a:pt x="23108" y="41434"/>
                </a:lnTo>
                <a:lnTo>
                  <a:pt x="15462" y="39276"/>
                </a:lnTo>
                <a:lnTo>
                  <a:pt x="4595" y="34716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4" name="object 344"/>
          <p:cNvSpPr/>
          <p:nvPr/>
        </p:nvSpPr>
        <p:spPr>
          <a:xfrm>
            <a:off x="7446011" y="4066044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3" h="58143">
                <a:moveTo>
                  <a:pt x="0" y="29071"/>
                </a:moveTo>
                <a:lnTo>
                  <a:pt x="1535" y="32365"/>
                </a:lnTo>
                <a:lnTo>
                  <a:pt x="4629" y="34760"/>
                </a:lnTo>
                <a:lnTo>
                  <a:pt x="23170" y="41493"/>
                </a:lnTo>
                <a:lnTo>
                  <a:pt x="42552" y="45524"/>
                </a:lnTo>
                <a:lnTo>
                  <a:pt x="66905" y="49112"/>
                </a:lnTo>
                <a:lnTo>
                  <a:pt x="95674" y="52194"/>
                </a:lnTo>
                <a:lnTo>
                  <a:pt x="128307" y="54704"/>
                </a:lnTo>
                <a:lnTo>
                  <a:pt x="145898" y="55724"/>
                </a:lnTo>
                <a:lnTo>
                  <a:pt x="164247" y="56577"/>
                </a:lnTo>
                <a:lnTo>
                  <a:pt x="183286" y="57255"/>
                </a:lnTo>
                <a:lnTo>
                  <a:pt x="202943" y="57749"/>
                </a:lnTo>
                <a:lnTo>
                  <a:pt x="223151" y="58051"/>
                </a:lnTo>
                <a:lnTo>
                  <a:pt x="250633" y="58143"/>
                </a:lnTo>
                <a:lnTo>
                  <a:pt x="271165" y="57974"/>
                </a:lnTo>
                <a:lnTo>
                  <a:pt x="291194" y="57608"/>
                </a:lnTo>
                <a:lnTo>
                  <a:pt x="310652" y="57052"/>
                </a:lnTo>
                <a:lnTo>
                  <a:pt x="329469" y="56316"/>
                </a:lnTo>
                <a:lnTo>
                  <a:pt x="347575" y="55407"/>
                </a:lnTo>
                <a:lnTo>
                  <a:pt x="364901" y="54333"/>
                </a:lnTo>
                <a:lnTo>
                  <a:pt x="381378" y="53102"/>
                </a:lnTo>
                <a:lnTo>
                  <a:pt x="411505" y="50203"/>
                </a:lnTo>
                <a:lnTo>
                  <a:pt x="437400" y="46775"/>
                </a:lnTo>
                <a:lnTo>
                  <a:pt x="458508" y="42882"/>
                </a:lnTo>
                <a:lnTo>
                  <a:pt x="474273" y="38591"/>
                </a:lnTo>
                <a:lnTo>
                  <a:pt x="487553" y="29071"/>
                </a:lnTo>
                <a:lnTo>
                  <a:pt x="486038" y="25821"/>
                </a:lnTo>
                <a:lnTo>
                  <a:pt x="464444" y="16719"/>
                </a:lnTo>
                <a:lnTo>
                  <a:pt x="445074" y="12685"/>
                </a:lnTo>
                <a:lnTo>
                  <a:pt x="420730" y="9087"/>
                </a:lnTo>
                <a:lnTo>
                  <a:pt x="391966" y="5991"/>
                </a:lnTo>
                <a:lnTo>
                  <a:pt x="359340" y="3466"/>
                </a:lnTo>
                <a:lnTo>
                  <a:pt x="341752" y="2438"/>
                </a:lnTo>
                <a:lnTo>
                  <a:pt x="323406" y="1579"/>
                </a:lnTo>
                <a:lnTo>
                  <a:pt x="304373" y="895"/>
                </a:lnTo>
                <a:lnTo>
                  <a:pt x="284721" y="397"/>
                </a:lnTo>
                <a:lnTo>
                  <a:pt x="264520" y="91"/>
                </a:lnTo>
                <a:lnTo>
                  <a:pt x="236837" y="0"/>
                </a:lnTo>
                <a:lnTo>
                  <a:pt x="216302" y="172"/>
                </a:lnTo>
                <a:lnTo>
                  <a:pt x="196272" y="543"/>
                </a:lnTo>
                <a:lnTo>
                  <a:pt x="176815" y="1104"/>
                </a:lnTo>
                <a:lnTo>
                  <a:pt x="158000" y="1847"/>
                </a:lnTo>
                <a:lnTo>
                  <a:pt x="139898" y="2763"/>
                </a:lnTo>
                <a:lnTo>
                  <a:pt x="122577" y="3844"/>
                </a:lnTo>
                <a:lnTo>
                  <a:pt x="106106" y="5082"/>
                </a:lnTo>
                <a:lnTo>
                  <a:pt x="75993" y="7993"/>
                </a:lnTo>
                <a:lnTo>
                  <a:pt x="50113" y="11429"/>
                </a:lnTo>
                <a:lnTo>
                  <a:pt x="29019" y="15322"/>
                </a:lnTo>
                <a:lnTo>
                  <a:pt x="13266" y="19605"/>
                </a:lnTo>
                <a:lnTo>
                  <a:pt x="863" y="26613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5" name="object 345"/>
          <p:cNvSpPr/>
          <p:nvPr/>
        </p:nvSpPr>
        <p:spPr>
          <a:xfrm>
            <a:off x="7446011" y="4066031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3" h="58166">
                <a:moveTo>
                  <a:pt x="0" y="29083"/>
                </a:moveTo>
                <a:lnTo>
                  <a:pt x="7566" y="21883"/>
                </a:lnTo>
                <a:lnTo>
                  <a:pt x="20441" y="17431"/>
                </a:lnTo>
                <a:lnTo>
                  <a:pt x="29019" y="15334"/>
                </a:lnTo>
                <a:lnTo>
                  <a:pt x="38933" y="13334"/>
                </a:lnTo>
                <a:lnTo>
                  <a:pt x="50113" y="11440"/>
                </a:lnTo>
                <a:lnTo>
                  <a:pt x="62489" y="9661"/>
                </a:lnTo>
                <a:lnTo>
                  <a:pt x="75993" y="8004"/>
                </a:lnTo>
                <a:lnTo>
                  <a:pt x="90555" y="6479"/>
                </a:lnTo>
                <a:lnTo>
                  <a:pt x="106106" y="5093"/>
                </a:lnTo>
                <a:lnTo>
                  <a:pt x="122577" y="3856"/>
                </a:lnTo>
                <a:lnTo>
                  <a:pt x="139898" y="2775"/>
                </a:lnTo>
                <a:lnTo>
                  <a:pt x="158000" y="1858"/>
                </a:lnTo>
                <a:lnTo>
                  <a:pt x="176815" y="1115"/>
                </a:lnTo>
                <a:lnTo>
                  <a:pt x="196272" y="554"/>
                </a:lnTo>
                <a:lnTo>
                  <a:pt x="216302" y="184"/>
                </a:lnTo>
                <a:lnTo>
                  <a:pt x="236837" y="11"/>
                </a:lnTo>
                <a:lnTo>
                  <a:pt x="243840" y="0"/>
                </a:lnTo>
                <a:lnTo>
                  <a:pt x="264520" y="103"/>
                </a:lnTo>
                <a:lnTo>
                  <a:pt x="284721" y="409"/>
                </a:lnTo>
                <a:lnTo>
                  <a:pt x="304373" y="907"/>
                </a:lnTo>
                <a:lnTo>
                  <a:pt x="323406" y="1591"/>
                </a:lnTo>
                <a:lnTo>
                  <a:pt x="341752" y="2450"/>
                </a:lnTo>
                <a:lnTo>
                  <a:pt x="359340" y="3478"/>
                </a:lnTo>
                <a:lnTo>
                  <a:pt x="376101" y="4665"/>
                </a:lnTo>
                <a:lnTo>
                  <a:pt x="391966" y="6003"/>
                </a:lnTo>
                <a:lnTo>
                  <a:pt x="406866" y="7484"/>
                </a:lnTo>
                <a:lnTo>
                  <a:pt x="420730" y="9099"/>
                </a:lnTo>
                <a:lnTo>
                  <a:pt x="433489" y="10839"/>
                </a:lnTo>
                <a:lnTo>
                  <a:pt x="445074" y="12697"/>
                </a:lnTo>
                <a:lnTo>
                  <a:pt x="455416" y="14664"/>
                </a:lnTo>
                <a:lnTo>
                  <a:pt x="464444" y="16731"/>
                </a:lnTo>
                <a:lnTo>
                  <a:pt x="478284" y="21132"/>
                </a:lnTo>
                <a:lnTo>
                  <a:pt x="486038" y="25833"/>
                </a:lnTo>
                <a:lnTo>
                  <a:pt x="487553" y="29083"/>
                </a:lnTo>
                <a:lnTo>
                  <a:pt x="486688" y="31559"/>
                </a:lnTo>
                <a:lnTo>
                  <a:pt x="484140" y="33977"/>
                </a:lnTo>
                <a:lnTo>
                  <a:pt x="474273" y="38603"/>
                </a:lnTo>
                <a:lnTo>
                  <a:pt x="458508" y="42894"/>
                </a:lnTo>
                <a:lnTo>
                  <a:pt x="448587" y="44894"/>
                </a:lnTo>
                <a:lnTo>
                  <a:pt x="437400" y="46786"/>
                </a:lnTo>
                <a:lnTo>
                  <a:pt x="425016" y="48563"/>
                </a:lnTo>
                <a:lnTo>
                  <a:pt x="411505" y="50215"/>
                </a:lnTo>
                <a:lnTo>
                  <a:pt x="396935" y="51734"/>
                </a:lnTo>
                <a:lnTo>
                  <a:pt x="381378" y="53114"/>
                </a:lnTo>
                <a:lnTo>
                  <a:pt x="364901" y="54344"/>
                </a:lnTo>
                <a:lnTo>
                  <a:pt x="347575" y="55419"/>
                </a:lnTo>
                <a:lnTo>
                  <a:pt x="329469" y="56328"/>
                </a:lnTo>
                <a:lnTo>
                  <a:pt x="310652" y="57064"/>
                </a:lnTo>
                <a:lnTo>
                  <a:pt x="291194" y="57620"/>
                </a:lnTo>
                <a:lnTo>
                  <a:pt x="271165" y="57986"/>
                </a:lnTo>
                <a:lnTo>
                  <a:pt x="250633" y="58154"/>
                </a:lnTo>
                <a:lnTo>
                  <a:pt x="243840" y="58166"/>
                </a:lnTo>
                <a:lnTo>
                  <a:pt x="223151" y="58063"/>
                </a:lnTo>
                <a:lnTo>
                  <a:pt x="202943" y="57761"/>
                </a:lnTo>
                <a:lnTo>
                  <a:pt x="183286" y="57267"/>
                </a:lnTo>
                <a:lnTo>
                  <a:pt x="164247" y="56589"/>
                </a:lnTo>
                <a:lnTo>
                  <a:pt x="145898" y="55736"/>
                </a:lnTo>
                <a:lnTo>
                  <a:pt x="128307" y="54716"/>
                </a:lnTo>
                <a:lnTo>
                  <a:pt x="111542" y="53536"/>
                </a:lnTo>
                <a:lnTo>
                  <a:pt x="95674" y="52206"/>
                </a:lnTo>
                <a:lnTo>
                  <a:pt x="80772" y="50732"/>
                </a:lnTo>
                <a:lnTo>
                  <a:pt x="66905" y="49124"/>
                </a:lnTo>
                <a:lnTo>
                  <a:pt x="54142" y="47389"/>
                </a:lnTo>
                <a:lnTo>
                  <a:pt x="42552" y="45535"/>
                </a:lnTo>
                <a:lnTo>
                  <a:pt x="32205" y="43571"/>
                </a:lnTo>
                <a:lnTo>
                  <a:pt x="23170" y="41505"/>
                </a:lnTo>
                <a:lnTo>
                  <a:pt x="15517" y="39344"/>
                </a:lnTo>
                <a:lnTo>
                  <a:pt x="4629" y="34772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6" name="object 346"/>
          <p:cNvSpPr/>
          <p:nvPr/>
        </p:nvSpPr>
        <p:spPr>
          <a:xfrm>
            <a:off x="7441694" y="4017391"/>
            <a:ext cx="496125" cy="75438"/>
          </a:xfrm>
          <a:custGeom>
            <a:avLst/>
            <a:gdLst/>
            <a:ahLst/>
            <a:cxnLst/>
            <a:rect l="l" t="t" r="r" b="b"/>
            <a:pathLst>
              <a:path w="496125" h="75438">
                <a:moveTo>
                  <a:pt x="0" y="75437"/>
                </a:moveTo>
                <a:lnTo>
                  <a:pt x="496125" y="75437"/>
                </a:lnTo>
                <a:lnTo>
                  <a:pt x="496125" y="0"/>
                </a:lnTo>
                <a:lnTo>
                  <a:pt x="0" y="0"/>
                </a:lnTo>
                <a:lnTo>
                  <a:pt x="0" y="75437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7" name="object 347"/>
          <p:cNvSpPr/>
          <p:nvPr/>
        </p:nvSpPr>
        <p:spPr>
          <a:xfrm>
            <a:off x="7446011" y="3923169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3" h="58016">
                <a:moveTo>
                  <a:pt x="0" y="29071"/>
                </a:moveTo>
                <a:lnTo>
                  <a:pt x="1532" y="32338"/>
                </a:lnTo>
                <a:lnTo>
                  <a:pt x="4625" y="34717"/>
                </a:lnTo>
                <a:lnTo>
                  <a:pt x="23163" y="41412"/>
                </a:lnTo>
                <a:lnTo>
                  <a:pt x="42544" y="45426"/>
                </a:lnTo>
                <a:lnTo>
                  <a:pt x="66897" y="49002"/>
                </a:lnTo>
                <a:lnTo>
                  <a:pt x="95667" y="52075"/>
                </a:lnTo>
                <a:lnTo>
                  <a:pt x="128300" y="54580"/>
                </a:lnTo>
                <a:lnTo>
                  <a:pt x="145893" y="55599"/>
                </a:lnTo>
                <a:lnTo>
                  <a:pt x="164243" y="56451"/>
                </a:lnTo>
                <a:lnTo>
                  <a:pt x="183282" y="57128"/>
                </a:lnTo>
                <a:lnTo>
                  <a:pt x="202941" y="57622"/>
                </a:lnTo>
                <a:lnTo>
                  <a:pt x="223150" y="57924"/>
                </a:lnTo>
                <a:lnTo>
                  <a:pt x="250609" y="58016"/>
                </a:lnTo>
                <a:lnTo>
                  <a:pt x="271142" y="57847"/>
                </a:lnTo>
                <a:lnTo>
                  <a:pt x="291174" y="57482"/>
                </a:lnTo>
                <a:lnTo>
                  <a:pt x="310633" y="56927"/>
                </a:lnTo>
                <a:lnTo>
                  <a:pt x="329452" y="56191"/>
                </a:lnTo>
                <a:lnTo>
                  <a:pt x="347560" y="55283"/>
                </a:lnTo>
                <a:lnTo>
                  <a:pt x="364888" y="54211"/>
                </a:lnTo>
                <a:lnTo>
                  <a:pt x="381366" y="52983"/>
                </a:lnTo>
                <a:lnTo>
                  <a:pt x="411496" y="50091"/>
                </a:lnTo>
                <a:lnTo>
                  <a:pt x="437394" y="46674"/>
                </a:lnTo>
                <a:lnTo>
                  <a:pt x="458505" y="42798"/>
                </a:lnTo>
                <a:lnTo>
                  <a:pt x="474272" y="38528"/>
                </a:lnTo>
                <a:lnTo>
                  <a:pt x="487553" y="29071"/>
                </a:lnTo>
                <a:lnTo>
                  <a:pt x="486038" y="25799"/>
                </a:lnTo>
                <a:lnTo>
                  <a:pt x="464444" y="16664"/>
                </a:lnTo>
                <a:lnTo>
                  <a:pt x="445074" y="12630"/>
                </a:lnTo>
                <a:lnTo>
                  <a:pt x="420730" y="9038"/>
                </a:lnTo>
                <a:lnTo>
                  <a:pt x="391966" y="5953"/>
                </a:lnTo>
                <a:lnTo>
                  <a:pt x="359340" y="3441"/>
                </a:lnTo>
                <a:lnTo>
                  <a:pt x="341752" y="2420"/>
                </a:lnTo>
                <a:lnTo>
                  <a:pt x="323406" y="1566"/>
                </a:lnTo>
                <a:lnTo>
                  <a:pt x="304373" y="888"/>
                </a:lnTo>
                <a:lnTo>
                  <a:pt x="284721" y="393"/>
                </a:lnTo>
                <a:lnTo>
                  <a:pt x="264520" y="91"/>
                </a:lnTo>
                <a:lnTo>
                  <a:pt x="236837" y="0"/>
                </a:lnTo>
                <a:lnTo>
                  <a:pt x="216302" y="170"/>
                </a:lnTo>
                <a:lnTo>
                  <a:pt x="196272" y="538"/>
                </a:lnTo>
                <a:lnTo>
                  <a:pt x="176815" y="1094"/>
                </a:lnTo>
                <a:lnTo>
                  <a:pt x="158000" y="1832"/>
                </a:lnTo>
                <a:lnTo>
                  <a:pt x="139898" y="2742"/>
                </a:lnTo>
                <a:lnTo>
                  <a:pt x="122577" y="3817"/>
                </a:lnTo>
                <a:lnTo>
                  <a:pt x="106106" y="5048"/>
                </a:lnTo>
                <a:lnTo>
                  <a:pt x="75993" y="7947"/>
                </a:lnTo>
                <a:lnTo>
                  <a:pt x="50113" y="11374"/>
                </a:lnTo>
                <a:lnTo>
                  <a:pt x="29019" y="15266"/>
                </a:lnTo>
                <a:lnTo>
                  <a:pt x="13266" y="19555"/>
                </a:lnTo>
                <a:lnTo>
                  <a:pt x="863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8" name="object 348"/>
          <p:cNvSpPr/>
          <p:nvPr/>
        </p:nvSpPr>
        <p:spPr>
          <a:xfrm>
            <a:off x="7446011" y="3923156"/>
            <a:ext cx="487552" cy="58038"/>
          </a:xfrm>
          <a:custGeom>
            <a:avLst/>
            <a:gdLst/>
            <a:ahLst/>
            <a:cxnLst/>
            <a:rect l="l" t="t" r="r" b="b"/>
            <a:pathLst>
              <a:path w="487553" h="58038">
                <a:moveTo>
                  <a:pt x="0" y="29083"/>
                </a:moveTo>
                <a:lnTo>
                  <a:pt x="7566" y="21841"/>
                </a:lnTo>
                <a:lnTo>
                  <a:pt x="20441" y="17376"/>
                </a:lnTo>
                <a:lnTo>
                  <a:pt x="29019" y="15277"/>
                </a:lnTo>
                <a:lnTo>
                  <a:pt x="38933" y="13278"/>
                </a:lnTo>
                <a:lnTo>
                  <a:pt x="50113" y="11386"/>
                </a:lnTo>
                <a:lnTo>
                  <a:pt x="62489" y="9610"/>
                </a:lnTo>
                <a:lnTo>
                  <a:pt x="75993" y="7959"/>
                </a:lnTo>
                <a:lnTo>
                  <a:pt x="90555" y="6439"/>
                </a:lnTo>
                <a:lnTo>
                  <a:pt x="106106" y="5059"/>
                </a:lnTo>
                <a:lnTo>
                  <a:pt x="122577" y="3828"/>
                </a:lnTo>
                <a:lnTo>
                  <a:pt x="139898" y="2754"/>
                </a:lnTo>
                <a:lnTo>
                  <a:pt x="158000" y="1843"/>
                </a:lnTo>
                <a:lnTo>
                  <a:pt x="176815" y="1106"/>
                </a:lnTo>
                <a:lnTo>
                  <a:pt x="196272" y="549"/>
                </a:lnTo>
                <a:lnTo>
                  <a:pt x="216302" y="182"/>
                </a:lnTo>
                <a:lnTo>
                  <a:pt x="236837" y="11"/>
                </a:lnTo>
                <a:lnTo>
                  <a:pt x="243840" y="0"/>
                </a:lnTo>
                <a:lnTo>
                  <a:pt x="264520" y="102"/>
                </a:lnTo>
                <a:lnTo>
                  <a:pt x="284721" y="405"/>
                </a:lnTo>
                <a:lnTo>
                  <a:pt x="304373" y="899"/>
                </a:lnTo>
                <a:lnTo>
                  <a:pt x="323406" y="1578"/>
                </a:lnTo>
                <a:lnTo>
                  <a:pt x="341752" y="2431"/>
                </a:lnTo>
                <a:lnTo>
                  <a:pt x="359340" y="3453"/>
                </a:lnTo>
                <a:lnTo>
                  <a:pt x="376101" y="4633"/>
                </a:lnTo>
                <a:lnTo>
                  <a:pt x="391966" y="5965"/>
                </a:lnTo>
                <a:lnTo>
                  <a:pt x="406866" y="7440"/>
                </a:lnTo>
                <a:lnTo>
                  <a:pt x="420730" y="9050"/>
                </a:lnTo>
                <a:lnTo>
                  <a:pt x="433489" y="10786"/>
                </a:lnTo>
                <a:lnTo>
                  <a:pt x="445074" y="12641"/>
                </a:lnTo>
                <a:lnTo>
                  <a:pt x="455416" y="14607"/>
                </a:lnTo>
                <a:lnTo>
                  <a:pt x="464444" y="16676"/>
                </a:lnTo>
                <a:lnTo>
                  <a:pt x="478284" y="21087"/>
                </a:lnTo>
                <a:lnTo>
                  <a:pt x="486038" y="25810"/>
                </a:lnTo>
                <a:lnTo>
                  <a:pt x="487553" y="29083"/>
                </a:lnTo>
                <a:lnTo>
                  <a:pt x="486688" y="31541"/>
                </a:lnTo>
                <a:lnTo>
                  <a:pt x="484140" y="33942"/>
                </a:lnTo>
                <a:lnTo>
                  <a:pt x="474272" y="38539"/>
                </a:lnTo>
                <a:lnTo>
                  <a:pt x="458505" y="42809"/>
                </a:lnTo>
                <a:lnTo>
                  <a:pt x="448583" y="44801"/>
                </a:lnTo>
                <a:lnTo>
                  <a:pt x="437394" y="46686"/>
                </a:lnTo>
                <a:lnTo>
                  <a:pt x="425009" y="48456"/>
                </a:lnTo>
                <a:lnTo>
                  <a:pt x="411496" y="50103"/>
                </a:lnTo>
                <a:lnTo>
                  <a:pt x="396925" y="51618"/>
                </a:lnTo>
                <a:lnTo>
                  <a:pt x="381366" y="52995"/>
                </a:lnTo>
                <a:lnTo>
                  <a:pt x="364888" y="54223"/>
                </a:lnTo>
                <a:lnTo>
                  <a:pt x="347560" y="55295"/>
                </a:lnTo>
                <a:lnTo>
                  <a:pt x="329452" y="56203"/>
                </a:lnTo>
                <a:lnTo>
                  <a:pt x="310633" y="56939"/>
                </a:lnTo>
                <a:lnTo>
                  <a:pt x="291174" y="57493"/>
                </a:lnTo>
                <a:lnTo>
                  <a:pt x="271142" y="57859"/>
                </a:lnTo>
                <a:lnTo>
                  <a:pt x="250609" y="58028"/>
                </a:lnTo>
                <a:lnTo>
                  <a:pt x="243840" y="58039"/>
                </a:lnTo>
                <a:lnTo>
                  <a:pt x="223150" y="57936"/>
                </a:lnTo>
                <a:lnTo>
                  <a:pt x="202941" y="57634"/>
                </a:lnTo>
                <a:lnTo>
                  <a:pt x="183282" y="57140"/>
                </a:lnTo>
                <a:lnTo>
                  <a:pt x="164243" y="56463"/>
                </a:lnTo>
                <a:lnTo>
                  <a:pt x="145893" y="55611"/>
                </a:lnTo>
                <a:lnTo>
                  <a:pt x="128300" y="54592"/>
                </a:lnTo>
                <a:lnTo>
                  <a:pt x="111535" y="53415"/>
                </a:lnTo>
                <a:lnTo>
                  <a:pt x="95667" y="52087"/>
                </a:lnTo>
                <a:lnTo>
                  <a:pt x="80764" y="50617"/>
                </a:lnTo>
                <a:lnTo>
                  <a:pt x="66897" y="49014"/>
                </a:lnTo>
                <a:lnTo>
                  <a:pt x="54134" y="47284"/>
                </a:lnTo>
                <a:lnTo>
                  <a:pt x="42544" y="45437"/>
                </a:lnTo>
                <a:lnTo>
                  <a:pt x="32198" y="43481"/>
                </a:lnTo>
                <a:lnTo>
                  <a:pt x="23163" y="41424"/>
                </a:lnTo>
                <a:lnTo>
                  <a:pt x="15510" y="39274"/>
                </a:lnTo>
                <a:lnTo>
                  <a:pt x="4625" y="34729"/>
                </a:lnTo>
                <a:lnTo>
                  <a:pt x="0" y="29083"/>
                </a:lnTo>
                <a:close/>
              </a:path>
            </a:pathLst>
          </a:custGeom>
          <a:ln w="1269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9" name="object 349"/>
          <p:cNvSpPr/>
          <p:nvPr/>
        </p:nvSpPr>
        <p:spPr>
          <a:xfrm>
            <a:off x="7446011" y="3990732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3" h="58016">
                <a:moveTo>
                  <a:pt x="0" y="29071"/>
                </a:moveTo>
                <a:lnTo>
                  <a:pt x="1532" y="32338"/>
                </a:lnTo>
                <a:lnTo>
                  <a:pt x="4625" y="34717"/>
                </a:lnTo>
                <a:lnTo>
                  <a:pt x="23163" y="41412"/>
                </a:lnTo>
                <a:lnTo>
                  <a:pt x="42544" y="45426"/>
                </a:lnTo>
                <a:lnTo>
                  <a:pt x="66897" y="49002"/>
                </a:lnTo>
                <a:lnTo>
                  <a:pt x="95667" y="52075"/>
                </a:lnTo>
                <a:lnTo>
                  <a:pt x="128300" y="54580"/>
                </a:lnTo>
                <a:lnTo>
                  <a:pt x="145893" y="55599"/>
                </a:lnTo>
                <a:lnTo>
                  <a:pt x="164243" y="56451"/>
                </a:lnTo>
                <a:lnTo>
                  <a:pt x="183282" y="57128"/>
                </a:lnTo>
                <a:lnTo>
                  <a:pt x="202941" y="57622"/>
                </a:lnTo>
                <a:lnTo>
                  <a:pt x="223150" y="57924"/>
                </a:lnTo>
                <a:lnTo>
                  <a:pt x="250609" y="58016"/>
                </a:lnTo>
                <a:lnTo>
                  <a:pt x="271142" y="57847"/>
                </a:lnTo>
                <a:lnTo>
                  <a:pt x="291174" y="57482"/>
                </a:lnTo>
                <a:lnTo>
                  <a:pt x="310633" y="56927"/>
                </a:lnTo>
                <a:lnTo>
                  <a:pt x="329452" y="56191"/>
                </a:lnTo>
                <a:lnTo>
                  <a:pt x="347560" y="55283"/>
                </a:lnTo>
                <a:lnTo>
                  <a:pt x="364888" y="54211"/>
                </a:lnTo>
                <a:lnTo>
                  <a:pt x="381366" y="52983"/>
                </a:lnTo>
                <a:lnTo>
                  <a:pt x="411496" y="50091"/>
                </a:lnTo>
                <a:lnTo>
                  <a:pt x="437394" y="46674"/>
                </a:lnTo>
                <a:lnTo>
                  <a:pt x="458505" y="42798"/>
                </a:lnTo>
                <a:lnTo>
                  <a:pt x="474272" y="38528"/>
                </a:lnTo>
                <a:lnTo>
                  <a:pt x="487553" y="29071"/>
                </a:lnTo>
                <a:lnTo>
                  <a:pt x="486038" y="25799"/>
                </a:lnTo>
                <a:lnTo>
                  <a:pt x="464444" y="16664"/>
                </a:lnTo>
                <a:lnTo>
                  <a:pt x="445074" y="12630"/>
                </a:lnTo>
                <a:lnTo>
                  <a:pt x="420730" y="9038"/>
                </a:lnTo>
                <a:lnTo>
                  <a:pt x="391966" y="5953"/>
                </a:lnTo>
                <a:lnTo>
                  <a:pt x="359340" y="3441"/>
                </a:lnTo>
                <a:lnTo>
                  <a:pt x="341752" y="2420"/>
                </a:lnTo>
                <a:lnTo>
                  <a:pt x="323406" y="1566"/>
                </a:lnTo>
                <a:lnTo>
                  <a:pt x="304373" y="888"/>
                </a:lnTo>
                <a:lnTo>
                  <a:pt x="284721" y="393"/>
                </a:lnTo>
                <a:lnTo>
                  <a:pt x="264520" y="91"/>
                </a:lnTo>
                <a:lnTo>
                  <a:pt x="236837" y="0"/>
                </a:lnTo>
                <a:lnTo>
                  <a:pt x="216302" y="170"/>
                </a:lnTo>
                <a:lnTo>
                  <a:pt x="196272" y="538"/>
                </a:lnTo>
                <a:lnTo>
                  <a:pt x="176815" y="1094"/>
                </a:lnTo>
                <a:lnTo>
                  <a:pt x="158000" y="1832"/>
                </a:lnTo>
                <a:lnTo>
                  <a:pt x="139898" y="2742"/>
                </a:lnTo>
                <a:lnTo>
                  <a:pt x="122577" y="3817"/>
                </a:lnTo>
                <a:lnTo>
                  <a:pt x="106106" y="5048"/>
                </a:lnTo>
                <a:lnTo>
                  <a:pt x="75993" y="7947"/>
                </a:lnTo>
                <a:lnTo>
                  <a:pt x="50113" y="11374"/>
                </a:lnTo>
                <a:lnTo>
                  <a:pt x="29019" y="15266"/>
                </a:lnTo>
                <a:lnTo>
                  <a:pt x="13266" y="19555"/>
                </a:lnTo>
                <a:lnTo>
                  <a:pt x="863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0" name="object 350"/>
          <p:cNvSpPr/>
          <p:nvPr/>
        </p:nvSpPr>
        <p:spPr>
          <a:xfrm>
            <a:off x="7446011" y="3990722"/>
            <a:ext cx="487552" cy="58039"/>
          </a:xfrm>
          <a:custGeom>
            <a:avLst/>
            <a:gdLst/>
            <a:ahLst/>
            <a:cxnLst/>
            <a:rect l="l" t="t" r="r" b="b"/>
            <a:pathLst>
              <a:path w="487553" h="58039">
                <a:moveTo>
                  <a:pt x="0" y="29082"/>
                </a:moveTo>
                <a:lnTo>
                  <a:pt x="7566" y="21841"/>
                </a:lnTo>
                <a:lnTo>
                  <a:pt x="20441" y="17376"/>
                </a:lnTo>
                <a:lnTo>
                  <a:pt x="29019" y="15277"/>
                </a:lnTo>
                <a:lnTo>
                  <a:pt x="38933" y="13278"/>
                </a:lnTo>
                <a:lnTo>
                  <a:pt x="50113" y="11386"/>
                </a:lnTo>
                <a:lnTo>
                  <a:pt x="62489" y="9610"/>
                </a:lnTo>
                <a:lnTo>
                  <a:pt x="75993" y="7959"/>
                </a:lnTo>
                <a:lnTo>
                  <a:pt x="90555" y="6439"/>
                </a:lnTo>
                <a:lnTo>
                  <a:pt x="106106" y="5059"/>
                </a:lnTo>
                <a:lnTo>
                  <a:pt x="122577" y="3828"/>
                </a:lnTo>
                <a:lnTo>
                  <a:pt x="139898" y="2754"/>
                </a:lnTo>
                <a:lnTo>
                  <a:pt x="158000" y="1843"/>
                </a:lnTo>
                <a:lnTo>
                  <a:pt x="176815" y="1106"/>
                </a:lnTo>
                <a:lnTo>
                  <a:pt x="196272" y="549"/>
                </a:lnTo>
                <a:lnTo>
                  <a:pt x="216302" y="182"/>
                </a:lnTo>
                <a:lnTo>
                  <a:pt x="236837" y="11"/>
                </a:lnTo>
                <a:lnTo>
                  <a:pt x="243840" y="0"/>
                </a:lnTo>
                <a:lnTo>
                  <a:pt x="264520" y="102"/>
                </a:lnTo>
                <a:lnTo>
                  <a:pt x="284721" y="405"/>
                </a:lnTo>
                <a:lnTo>
                  <a:pt x="304373" y="899"/>
                </a:lnTo>
                <a:lnTo>
                  <a:pt x="323406" y="1578"/>
                </a:lnTo>
                <a:lnTo>
                  <a:pt x="341752" y="2431"/>
                </a:lnTo>
                <a:lnTo>
                  <a:pt x="359340" y="3453"/>
                </a:lnTo>
                <a:lnTo>
                  <a:pt x="376101" y="4633"/>
                </a:lnTo>
                <a:lnTo>
                  <a:pt x="391966" y="5965"/>
                </a:lnTo>
                <a:lnTo>
                  <a:pt x="406866" y="7440"/>
                </a:lnTo>
                <a:lnTo>
                  <a:pt x="420730" y="9050"/>
                </a:lnTo>
                <a:lnTo>
                  <a:pt x="433489" y="10786"/>
                </a:lnTo>
                <a:lnTo>
                  <a:pt x="445074" y="12641"/>
                </a:lnTo>
                <a:lnTo>
                  <a:pt x="455416" y="14607"/>
                </a:lnTo>
                <a:lnTo>
                  <a:pt x="464444" y="16676"/>
                </a:lnTo>
                <a:lnTo>
                  <a:pt x="478284" y="21087"/>
                </a:lnTo>
                <a:lnTo>
                  <a:pt x="486038" y="25810"/>
                </a:lnTo>
                <a:lnTo>
                  <a:pt x="487553" y="29082"/>
                </a:lnTo>
                <a:lnTo>
                  <a:pt x="486688" y="31541"/>
                </a:lnTo>
                <a:lnTo>
                  <a:pt x="484140" y="33942"/>
                </a:lnTo>
                <a:lnTo>
                  <a:pt x="474272" y="38539"/>
                </a:lnTo>
                <a:lnTo>
                  <a:pt x="458505" y="42809"/>
                </a:lnTo>
                <a:lnTo>
                  <a:pt x="448583" y="44801"/>
                </a:lnTo>
                <a:lnTo>
                  <a:pt x="437394" y="46686"/>
                </a:lnTo>
                <a:lnTo>
                  <a:pt x="425009" y="48456"/>
                </a:lnTo>
                <a:lnTo>
                  <a:pt x="411496" y="50103"/>
                </a:lnTo>
                <a:lnTo>
                  <a:pt x="396925" y="51618"/>
                </a:lnTo>
                <a:lnTo>
                  <a:pt x="381366" y="52995"/>
                </a:lnTo>
                <a:lnTo>
                  <a:pt x="364888" y="54223"/>
                </a:lnTo>
                <a:lnTo>
                  <a:pt x="347560" y="55295"/>
                </a:lnTo>
                <a:lnTo>
                  <a:pt x="329452" y="56203"/>
                </a:lnTo>
                <a:lnTo>
                  <a:pt x="310633" y="56939"/>
                </a:lnTo>
                <a:lnTo>
                  <a:pt x="291174" y="57493"/>
                </a:lnTo>
                <a:lnTo>
                  <a:pt x="271142" y="57859"/>
                </a:lnTo>
                <a:lnTo>
                  <a:pt x="250609" y="58028"/>
                </a:lnTo>
                <a:lnTo>
                  <a:pt x="243840" y="58038"/>
                </a:lnTo>
                <a:lnTo>
                  <a:pt x="223150" y="57936"/>
                </a:lnTo>
                <a:lnTo>
                  <a:pt x="202941" y="57634"/>
                </a:lnTo>
                <a:lnTo>
                  <a:pt x="183282" y="57140"/>
                </a:lnTo>
                <a:lnTo>
                  <a:pt x="164243" y="56463"/>
                </a:lnTo>
                <a:lnTo>
                  <a:pt x="145893" y="55611"/>
                </a:lnTo>
                <a:lnTo>
                  <a:pt x="128300" y="54592"/>
                </a:lnTo>
                <a:lnTo>
                  <a:pt x="111535" y="53415"/>
                </a:lnTo>
                <a:lnTo>
                  <a:pt x="95667" y="52087"/>
                </a:lnTo>
                <a:lnTo>
                  <a:pt x="80764" y="50617"/>
                </a:lnTo>
                <a:lnTo>
                  <a:pt x="66897" y="49014"/>
                </a:lnTo>
                <a:lnTo>
                  <a:pt x="54134" y="47284"/>
                </a:lnTo>
                <a:lnTo>
                  <a:pt x="42544" y="45437"/>
                </a:lnTo>
                <a:lnTo>
                  <a:pt x="32198" y="43481"/>
                </a:lnTo>
                <a:lnTo>
                  <a:pt x="23163" y="41424"/>
                </a:lnTo>
                <a:lnTo>
                  <a:pt x="15510" y="39274"/>
                </a:lnTo>
                <a:lnTo>
                  <a:pt x="4625" y="34729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1" name="object 351"/>
          <p:cNvSpPr/>
          <p:nvPr/>
        </p:nvSpPr>
        <p:spPr>
          <a:xfrm>
            <a:off x="7441694" y="3874415"/>
            <a:ext cx="496125" cy="142976"/>
          </a:xfrm>
          <a:custGeom>
            <a:avLst/>
            <a:gdLst/>
            <a:ahLst/>
            <a:cxnLst/>
            <a:rect l="l" t="t" r="r" b="b"/>
            <a:pathLst>
              <a:path w="496125" h="142976">
                <a:moveTo>
                  <a:pt x="0" y="142976"/>
                </a:moveTo>
                <a:lnTo>
                  <a:pt x="496125" y="142976"/>
                </a:lnTo>
                <a:lnTo>
                  <a:pt x="496125" y="0"/>
                </a:lnTo>
                <a:lnTo>
                  <a:pt x="0" y="0"/>
                </a:lnTo>
                <a:lnTo>
                  <a:pt x="0" y="142976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2" name="object 352"/>
          <p:cNvSpPr/>
          <p:nvPr/>
        </p:nvSpPr>
        <p:spPr>
          <a:xfrm>
            <a:off x="7446011" y="3847731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3" h="58143">
                <a:moveTo>
                  <a:pt x="0" y="29071"/>
                </a:moveTo>
                <a:lnTo>
                  <a:pt x="1535" y="32343"/>
                </a:lnTo>
                <a:lnTo>
                  <a:pt x="4629" y="34725"/>
                </a:lnTo>
                <a:lnTo>
                  <a:pt x="23170" y="41438"/>
                </a:lnTo>
                <a:lnTo>
                  <a:pt x="42552" y="45468"/>
                </a:lnTo>
                <a:lnTo>
                  <a:pt x="66905" y="49063"/>
                </a:lnTo>
                <a:lnTo>
                  <a:pt x="95674" y="52156"/>
                </a:lnTo>
                <a:lnTo>
                  <a:pt x="128307" y="54679"/>
                </a:lnTo>
                <a:lnTo>
                  <a:pt x="145898" y="55705"/>
                </a:lnTo>
                <a:lnTo>
                  <a:pt x="164247" y="56564"/>
                </a:lnTo>
                <a:lnTo>
                  <a:pt x="183286" y="57247"/>
                </a:lnTo>
                <a:lnTo>
                  <a:pt x="202943" y="57745"/>
                </a:lnTo>
                <a:lnTo>
                  <a:pt x="223151" y="58050"/>
                </a:lnTo>
                <a:lnTo>
                  <a:pt x="250633" y="58143"/>
                </a:lnTo>
                <a:lnTo>
                  <a:pt x="271165" y="57972"/>
                </a:lnTo>
                <a:lnTo>
                  <a:pt x="291194" y="57603"/>
                </a:lnTo>
                <a:lnTo>
                  <a:pt x="310652" y="57043"/>
                </a:lnTo>
                <a:lnTo>
                  <a:pt x="329469" y="56301"/>
                </a:lnTo>
                <a:lnTo>
                  <a:pt x="347575" y="55386"/>
                </a:lnTo>
                <a:lnTo>
                  <a:pt x="364901" y="54305"/>
                </a:lnTo>
                <a:lnTo>
                  <a:pt x="381378" y="53068"/>
                </a:lnTo>
                <a:lnTo>
                  <a:pt x="411505" y="50157"/>
                </a:lnTo>
                <a:lnTo>
                  <a:pt x="437400" y="46721"/>
                </a:lnTo>
                <a:lnTo>
                  <a:pt x="458508" y="42826"/>
                </a:lnTo>
                <a:lnTo>
                  <a:pt x="474273" y="38541"/>
                </a:lnTo>
                <a:lnTo>
                  <a:pt x="487553" y="29071"/>
                </a:lnTo>
                <a:lnTo>
                  <a:pt x="486038" y="25799"/>
                </a:lnTo>
                <a:lnTo>
                  <a:pt x="464444" y="16664"/>
                </a:lnTo>
                <a:lnTo>
                  <a:pt x="445074" y="12630"/>
                </a:lnTo>
                <a:lnTo>
                  <a:pt x="420730" y="9038"/>
                </a:lnTo>
                <a:lnTo>
                  <a:pt x="391966" y="5953"/>
                </a:lnTo>
                <a:lnTo>
                  <a:pt x="359340" y="3441"/>
                </a:lnTo>
                <a:lnTo>
                  <a:pt x="341752" y="2420"/>
                </a:lnTo>
                <a:lnTo>
                  <a:pt x="323406" y="1566"/>
                </a:lnTo>
                <a:lnTo>
                  <a:pt x="304373" y="888"/>
                </a:lnTo>
                <a:lnTo>
                  <a:pt x="284721" y="393"/>
                </a:lnTo>
                <a:lnTo>
                  <a:pt x="264520" y="91"/>
                </a:lnTo>
                <a:lnTo>
                  <a:pt x="236837" y="0"/>
                </a:lnTo>
                <a:lnTo>
                  <a:pt x="216302" y="170"/>
                </a:lnTo>
                <a:lnTo>
                  <a:pt x="196272" y="538"/>
                </a:lnTo>
                <a:lnTo>
                  <a:pt x="176815" y="1094"/>
                </a:lnTo>
                <a:lnTo>
                  <a:pt x="158000" y="1832"/>
                </a:lnTo>
                <a:lnTo>
                  <a:pt x="139898" y="2742"/>
                </a:lnTo>
                <a:lnTo>
                  <a:pt x="122577" y="3817"/>
                </a:lnTo>
                <a:lnTo>
                  <a:pt x="106106" y="5048"/>
                </a:lnTo>
                <a:lnTo>
                  <a:pt x="75993" y="7947"/>
                </a:lnTo>
                <a:lnTo>
                  <a:pt x="50113" y="11374"/>
                </a:lnTo>
                <a:lnTo>
                  <a:pt x="29019" y="15266"/>
                </a:lnTo>
                <a:lnTo>
                  <a:pt x="13266" y="19555"/>
                </a:lnTo>
                <a:lnTo>
                  <a:pt x="863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3" name="object 353"/>
          <p:cNvSpPr/>
          <p:nvPr/>
        </p:nvSpPr>
        <p:spPr>
          <a:xfrm>
            <a:off x="7446011" y="3847719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3" h="58166">
                <a:moveTo>
                  <a:pt x="0" y="29082"/>
                </a:moveTo>
                <a:lnTo>
                  <a:pt x="7566" y="21841"/>
                </a:lnTo>
                <a:lnTo>
                  <a:pt x="20441" y="17376"/>
                </a:lnTo>
                <a:lnTo>
                  <a:pt x="29019" y="15277"/>
                </a:lnTo>
                <a:lnTo>
                  <a:pt x="38933" y="13278"/>
                </a:lnTo>
                <a:lnTo>
                  <a:pt x="50113" y="11386"/>
                </a:lnTo>
                <a:lnTo>
                  <a:pt x="62489" y="9610"/>
                </a:lnTo>
                <a:lnTo>
                  <a:pt x="75993" y="7959"/>
                </a:lnTo>
                <a:lnTo>
                  <a:pt x="90555" y="6439"/>
                </a:lnTo>
                <a:lnTo>
                  <a:pt x="106106" y="5059"/>
                </a:lnTo>
                <a:lnTo>
                  <a:pt x="122577" y="3828"/>
                </a:lnTo>
                <a:lnTo>
                  <a:pt x="139898" y="2754"/>
                </a:lnTo>
                <a:lnTo>
                  <a:pt x="158000" y="1843"/>
                </a:lnTo>
                <a:lnTo>
                  <a:pt x="176815" y="1106"/>
                </a:lnTo>
                <a:lnTo>
                  <a:pt x="196272" y="549"/>
                </a:lnTo>
                <a:lnTo>
                  <a:pt x="216302" y="182"/>
                </a:lnTo>
                <a:lnTo>
                  <a:pt x="236837" y="11"/>
                </a:lnTo>
                <a:lnTo>
                  <a:pt x="243840" y="0"/>
                </a:lnTo>
                <a:lnTo>
                  <a:pt x="264520" y="102"/>
                </a:lnTo>
                <a:lnTo>
                  <a:pt x="284721" y="405"/>
                </a:lnTo>
                <a:lnTo>
                  <a:pt x="304373" y="899"/>
                </a:lnTo>
                <a:lnTo>
                  <a:pt x="323406" y="1578"/>
                </a:lnTo>
                <a:lnTo>
                  <a:pt x="341752" y="2431"/>
                </a:lnTo>
                <a:lnTo>
                  <a:pt x="359340" y="3453"/>
                </a:lnTo>
                <a:lnTo>
                  <a:pt x="376101" y="4633"/>
                </a:lnTo>
                <a:lnTo>
                  <a:pt x="391966" y="5965"/>
                </a:lnTo>
                <a:lnTo>
                  <a:pt x="406866" y="7440"/>
                </a:lnTo>
                <a:lnTo>
                  <a:pt x="420730" y="9050"/>
                </a:lnTo>
                <a:lnTo>
                  <a:pt x="433489" y="10786"/>
                </a:lnTo>
                <a:lnTo>
                  <a:pt x="445074" y="12641"/>
                </a:lnTo>
                <a:lnTo>
                  <a:pt x="455416" y="14607"/>
                </a:lnTo>
                <a:lnTo>
                  <a:pt x="464444" y="16676"/>
                </a:lnTo>
                <a:lnTo>
                  <a:pt x="478284" y="21087"/>
                </a:lnTo>
                <a:lnTo>
                  <a:pt x="486038" y="25810"/>
                </a:lnTo>
                <a:lnTo>
                  <a:pt x="487553" y="29082"/>
                </a:lnTo>
                <a:lnTo>
                  <a:pt x="486688" y="31542"/>
                </a:lnTo>
                <a:lnTo>
                  <a:pt x="484140" y="33945"/>
                </a:lnTo>
                <a:lnTo>
                  <a:pt x="474273" y="38553"/>
                </a:lnTo>
                <a:lnTo>
                  <a:pt x="458508" y="42838"/>
                </a:lnTo>
                <a:lnTo>
                  <a:pt x="448587" y="44838"/>
                </a:lnTo>
                <a:lnTo>
                  <a:pt x="437400" y="46732"/>
                </a:lnTo>
                <a:lnTo>
                  <a:pt x="425016" y="48512"/>
                </a:lnTo>
                <a:lnTo>
                  <a:pt x="411505" y="50169"/>
                </a:lnTo>
                <a:lnTo>
                  <a:pt x="396935" y="51694"/>
                </a:lnTo>
                <a:lnTo>
                  <a:pt x="381378" y="53080"/>
                </a:lnTo>
                <a:lnTo>
                  <a:pt x="364901" y="54317"/>
                </a:lnTo>
                <a:lnTo>
                  <a:pt x="347575" y="55398"/>
                </a:lnTo>
                <a:lnTo>
                  <a:pt x="329469" y="56313"/>
                </a:lnTo>
                <a:lnTo>
                  <a:pt x="310652" y="57055"/>
                </a:lnTo>
                <a:lnTo>
                  <a:pt x="291194" y="57615"/>
                </a:lnTo>
                <a:lnTo>
                  <a:pt x="271165" y="57984"/>
                </a:lnTo>
                <a:lnTo>
                  <a:pt x="250633" y="58154"/>
                </a:lnTo>
                <a:lnTo>
                  <a:pt x="243840" y="58165"/>
                </a:lnTo>
                <a:lnTo>
                  <a:pt x="223151" y="58062"/>
                </a:lnTo>
                <a:lnTo>
                  <a:pt x="202943" y="57757"/>
                </a:lnTo>
                <a:lnTo>
                  <a:pt x="183286" y="57259"/>
                </a:lnTo>
                <a:lnTo>
                  <a:pt x="164247" y="56576"/>
                </a:lnTo>
                <a:lnTo>
                  <a:pt x="145898" y="55717"/>
                </a:lnTo>
                <a:lnTo>
                  <a:pt x="128307" y="54690"/>
                </a:lnTo>
                <a:lnTo>
                  <a:pt x="111542" y="53504"/>
                </a:lnTo>
                <a:lnTo>
                  <a:pt x="95674" y="52168"/>
                </a:lnTo>
                <a:lnTo>
                  <a:pt x="80772" y="50688"/>
                </a:lnTo>
                <a:lnTo>
                  <a:pt x="66905" y="49075"/>
                </a:lnTo>
                <a:lnTo>
                  <a:pt x="54142" y="47336"/>
                </a:lnTo>
                <a:lnTo>
                  <a:pt x="42552" y="45480"/>
                </a:lnTo>
                <a:lnTo>
                  <a:pt x="32205" y="43515"/>
                </a:lnTo>
                <a:lnTo>
                  <a:pt x="23170" y="41450"/>
                </a:lnTo>
                <a:lnTo>
                  <a:pt x="15517" y="39293"/>
                </a:lnTo>
                <a:lnTo>
                  <a:pt x="4629" y="34737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4" name="object 354"/>
          <p:cNvSpPr/>
          <p:nvPr/>
        </p:nvSpPr>
        <p:spPr>
          <a:xfrm>
            <a:off x="8077835" y="4066044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3" h="58143">
                <a:moveTo>
                  <a:pt x="0" y="29071"/>
                </a:moveTo>
                <a:lnTo>
                  <a:pt x="1514" y="32344"/>
                </a:lnTo>
                <a:lnTo>
                  <a:pt x="4595" y="34740"/>
                </a:lnTo>
                <a:lnTo>
                  <a:pt x="23108" y="41478"/>
                </a:lnTo>
                <a:lnTo>
                  <a:pt x="42478" y="45512"/>
                </a:lnTo>
                <a:lnTo>
                  <a:pt x="66822" y="49104"/>
                </a:lnTo>
                <a:lnTo>
                  <a:pt x="95586" y="52189"/>
                </a:lnTo>
                <a:lnTo>
                  <a:pt x="128212" y="54701"/>
                </a:lnTo>
                <a:lnTo>
                  <a:pt x="145800" y="55723"/>
                </a:lnTo>
                <a:lnTo>
                  <a:pt x="164146" y="56576"/>
                </a:lnTo>
                <a:lnTo>
                  <a:pt x="183179" y="57255"/>
                </a:lnTo>
                <a:lnTo>
                  <a:pt x="202831" y="57749"/>
                </a:lnTo>
                <a:lnTo>
                  <a:pt x="223032" y="58052"/>
                </a:lnTo>
                <a:lnTo>
                  <a:pt x="250715" y="58143"/>
                </a:lnTo>
                <a:lnTo>
                  <a:pt x="271250" y="57972"/>
                </a:lnTo>
                <a:lnTo>
                  <a:pt x="291280" y="57604"/>
                </a:lnTo>
                <a:lnTo>
                  <a:pt x="310737" y="57048"/>
                </a:lnTo>
                <a:lnTo>
                  <a:pt x="329552" y="56310"/>
                </a:lnTo>
                <a:lnTo>
                  <a:pt x="347654" y="55400"/>
                </a:lnTo>
                <a:lnTo>
                  <a:pt x="364975" y="54326"/>
                </a:lnTo>
                <a:lnTo>
                  <a:pt x="381446" y="53094"/>
                </a:lnTo>
                <a:lnTo>
                  <a:pt x="411559" y="50195"/>
                </a:lnTo>
                <a:lnTo>
                  <a:pt x="437439" y="46768"/>
                </a:lnTo>
                <a:lnTo>
                  <a:pt x="458533" y="42877"/>
                </a:lnTo>
                <a:lnTo>
                  <a:pt x="474286" y="38587"/>
                </a:lnTo>
                <a:lnTo>
                  <a:pt x="487553" y="29071"/>
                </a:lnTo>
                <a:lnTo>
                  <a:pt x="486017" y="25799"/>
                </a:lnTo>
                <a:lnTo>
                  <a:pt x="464382" y="16704"/>
                </a:lnTo>
                <a:lnTo>
                  <a:pt x="445000" y="12674"/>
                </a:lnTo>
                <a:lnTo>
                  <a:pt x="420647" y="9079"/>
                </a:lnTo>
                <a:lnTo>
                  <a:pt x="391878" y="5986"/>
                </a:lnTo>
                <a:lnTo>
                  <a:pt x="359245" y="3463"/>
                </a:lnTo>
                <a:lnTo>
                  <a:pt x="341654" y="2437"/>
                </a:lnTo>
                <a:lnTo>
                  <a:pt x="323305" y="1578"/>
                </a:lnTo>
                <a:lnTo>
                  <a:pt x="304266" y="895"/>
                </a:lnTo>
                <a:lnTo>
                  <a:pt x="284609" y="397"/>
                </a:lnTo>
                <a:lnTo>
                  <a:pt x="264401" y="92"/>
                </a:lnTo>
                <a:lnTo>
                  <a:pt x="236919" y="0"/>
                </a:lnTo>
                <a:lnTo>
                  <a:pt x="216387" y="170"/>
                </a:lnTo>
                <a:lnTo>
                  <a:pt x="196358" y="539"/>
                </a:lnTo>
                <a:lnTo>
                  <a:pt x="176900" y="1099"/>
                </a:lnTo>
                <a:lnTo>
                  <a:pt x="158083" y="1841"/>
                </a:lnTo>
                <a:lnTo>
                  <a:pt x="139977" y="2756"/>
                </a:lnTo>
                <a:lnTo>
                  <a:pt x="122651" y="3837"/>
                </a:lnTo>
                <a:lnTo>
                  <a:pt x="106174" y="5074"/>
                </a:lnTo>
                <a:lnTo>
                  <a:pt x="76047" y="7985"/>
                </a:lnTo>
                <a:lnTo>
                  <a:pt x="50152" y="11422"/>
                </a:lnTo>
                <a:lnTo>
                  <a:pt x="29044" y="15316"/>
                </a:lnTo>
                <a:lnTo>
                  <a:pt x="13279" y="19601"/>
                </a:lnTo>
                <a:lnTo>
                  <a:pt x="864" y="26612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5" name="object 355"/>
          <p:cNvSpPr/>
          <p:nvPr/>
        </p:nvSpPr>
        <p:spPr>
          <a:xfrm>
            <a:off x="8077835" y="4066031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3" h="58166">
                <a:moveTo>
                  <a:pt x="0" y="29083"/>
                </a:moveTo>
                <a:lnTo>
                  <a:pt x="7573" y="21880"/>
                </a:lnTo>
                <a:lnTo>
                  <a:pt x="20459" y="17425"/>
                </a:lnTo>
                <a:lnTo>
                  <a:pt x="29044" y="15327"/>
                </a:lnTo>
                <a:lnTo>
                  <a:pt x="38965" y="13327"/>
                </a:lnTo>
                <a:lnTo>
                  <a:pt x="50152" y="11433"/>
                </a:lnTo>
                <a:lnTo>
                  <a:pt x="62536" y="9653"/>
                </a:lnTo>
                <a:lnTo>
                  <a:pt x="76047" y="7996"/>
                </a:lnTo>
                <a:lnTo>
                  <a:pt x="90617" y="6471"/>
                </a:lnTo>
                <a:lnTo>
                  <a:pt x="106174" y="5085"/>
                </a:lnTo>
                <a:lnTo>
                  <a:pt x="122651" y="3848"/>
                </a:lnTo>
                <a:lnTo>
                  <a:pt x="139977" y="2767"/>
                </a:lnTo>
                <a:lnTo>
                  <a:pt x="158083" y="1852"/>
                </a:lnTo>
                <a:lnTo>
                  <a:pt x="176900" y="1110"/>
                </a:lnTo>
                <a:lnTo>
                  <a:pt x="196358" y="550"/>
                </a:lnTo>
                <a:lnTo>
                  <a:pt x="216387" y="181"/>
                </a:lnTo>
                <a:lnTo>
                  <a:pt x="236919" y="11"/>
                </a:lnTo>
                <a:lnTo>
                  <a:pt x="243713" y="0"/>
                </a:lnTo>
                <a:lnTo>
                  <a:pt x="264401" y="103"/>
                </a:lnTo>
                <a:lnTo>
                  <a:pt x="284609" y="408"/>
                </a:lnTo>
                <a:lnTo>
                  <a:pt x="304266" y="906"/>
                </a:lnTo>
                <a:lnTo>
                  <a:pt x="323305" y="1589"/>
                </a:lnTo>
                <a:lnTo>
                  <a:pt x="341654" y="2448"/>
                </a:lnTo>
                <a:lnTo>
                  <a:pt x="359245" y="3475"/>
                </a:lnTo>
                <a:lnTo>
                  <a:pt x="376010" y="4661"/>
                </a:lnTo>
                <a:lnTo>
                  <a:pt x="391878" y="5997"/>
                </a:lnTo>
                <a:lnTo>
                  <a:pt x="406780" y="7477"/>
                </a:lnTo>
                <a:lnTo>
                  <a:pt x="420647" y="9090"/>
                </a:lnTo>
                <a:lnTo>
                  <a:pt x="433410" y="10829"/>
                </a:lnTo>
                <a:lnTo>
                  <a:pt x="445000" y="12685"/>
                </a:lnTo>
                <a:lnTo>
                  <a:pt x="455347" y="14650"/>
                </a:lnTo>
                <a:lnTo>
                  <a:pt x="464382" y="16715"/>
                </a:lnTo>
                <a:lnTo>
                  <a:pt x="478239" y="21113"/>
                </a:lnTo>
                <a:lnTo>
                  <a:pt x="486017" y="25811"/>
                </a:lnTo>
                <a:lnTo>
                  <a:pt x="487553" y="29083"/>
                </a:lnTo>
                <a:lnTo>
                  <a:pt x="486689" y="31558"/>
                </a:lnTo>
                <a:lnTo>
                  <a:pt x="484143" y="33975"/>
                </a:lnTo>
                <a:lnTo>
                  <a:pt x="474286" y="38598"/>
                </a:lnTo>
                <a:lnTo>
                  <a:pt x="458533" y="42888"/>
                </a:lnTo>
                <a:lnTo>
                  <a:pt x="448619" y="44887"/>
                </a:lnTo>
                <a:lnTo>
                  <a:pt x="437439" y="46779"/>
                </a:lnTo>
                <a:lnTo>
                  <a:pt x="425063" y="48555"/>
                </a:lnTo>
                <a:lnTo>
                  <a:pt x="411559" y="50206"/>
                </a:lnTo>
                <a:lnTo>
                  <a:pt x="396997" y="51726"/>
                </a:lnTo>
                <a:lnTo>
                  <a:pt x="381446" y="53106"/>
                </a:lnTo>
                <a:lnTo>
                  <a:pt x="364975" y="54337"/>
                </a:lnTo>
                <a:lnTo>
                  <a:pt x="347654" y="55411"/>
                </a:lnTo>
                <a:lnTo>
                  <a:pt x="329552" y="56322"/>
                </a:lnTo>
                <a:lnTo>
                  <a:pt x="310737" y="57059"/>
                </a:lnTo>
                <a:lnTo>
                  <a:pt x="291280" y="57616"/>
                </a:lnTo>
                <a:lnTo>
                  <a:pt x="271250" y="57983"/>
                </a:lnTo>
                <a:lnTo>
                  <a:pt x="250715" y="58154"/>
                </a:lnTo>
                <a:lnTo>
                  <a:pt x="243713" y="58166"/>
                </a:lnTo>
                <a:lnTo>
                  <a:pt x="223032" y="58063"/>
                </a:lnTo>
                <a:lnTo>
                  <a:pt x="202831" y="57760"/>
                </a:lnTo>
                <a:lnTo>
                  <a:pt x="183179" y="57266"/>
                </a:lnTo>
                <a:lnTo>
                  <a:pt x="164146" y="56587"/>
                </a:lnTo>
                <a:lnTo>
                  <a:pt x="145800" y="55734"/>
                </a:lnTo>
                <a:lnTo>
                  <a:pt x="128212" y="54712"/>
                </a:lnTo>
                <a:lnTo>
                  <a:pt x="111451" y="53532"/>
                </a:lnTo>
                <a:lnTo>
                  <a:pt x="95586" y="52200"/>
                </a:lnTo>
                <a:lnTo>
                  <a:pt x="80686" y="50725"/>
                </a:lnTo>
                <a:lnTo>
                  <a:pt x="66822" y="49115"/>
                </a:lnTo>
                <a:lnTo>
                  <a:pt x="54063" y="47379"/>
                </a:lnTo>
                <a:lnTo>
                  <a:pt x="42478" y="45524"/>
                </a:lnTo>
                <a:lnTo>
                  <a:pt x="32136" y="43558"/>
                </a:lnTo>
                <a:lnTo>
                  <a:pt x="23108" y="41489"/>
                </a:lnTo>
                <a:lnTo>
                  <a:pt x="15462" y="39327"/>
                </a:lnTo>
                <a:lnTo>
                  <a:pt x="4595" y="34751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6" name="object 356"/>
          <p:cNvSpPr/>
          <p:nvPr/>
        </p:nvSpPr>
        <p:spPr>
          <a:xfrm>
            <a:off x="8073519" y="4017391"/>
            <a:ext cx="496125" cy="75438"/>
          </a:xfrm>
          <a:custGeom>
            <a:avLst/>
            <a:gdLst/>
            <a:ahLst/>
            <a:cxnLst/>
            <a:rect l="l" t="t" r="r" b="b"/>
            <a:pathLst>
              <a:path w="496125" h="75438">
                <a:moveTo>
                  <a:pt x="0" y="75437"/>
                </a:moveTo>
                <a:lnTo>
                  <a:pt x="496125" y="75437"/>
                </a:lnTo>
                <a:lnTo>
                  <a:pt x="496125" y="0"/>
                </a:lnTo>
                <a:lnTo>
                  <a:pt x="0" y="0"/>
                </a:lnTo>
                <a:lnTo>
                  <a:pt x="0" y="75437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7" name="object 357"/>
          <p:cNvSpPr/>
          <p:nvPr/>
        </p:nvSpPr>
        <p:spPr>
          <a:xfrm>
            <a:off x="8077835" y="3923169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3" h="58016">
                <a:moveTo>
                  <a:pt x="0" y="29071"/>
                </a:moveTo>
                <a:lnTo>
                  <a:pt x="1511" y="32317"/>
                </a:lnTo>
                <a:lnTo>
                  <a:pt x="4591" y="34697"/>
                </a:lnTo>
                <a:lnTo>
                  <a:pt x="23101" y="41398"/>
                </a:lnTo>
                <a:lnTo>
                  <a:pt x="42470" y="45415"/>
                </a:lnTo>
                <a:lnTo>
                  <a:pt x="66814" y="48994"/>
                </a:lnTo>
                <a:lnTo>
                  <a:pt x="95578" y="52070"/>
                </a:lnTo>
                <a:lnTo>
                  <a:pt x="128206" y="54578"/>
                </a:lnTo>
                <a:lnTo>
                  <a:pt x="145795" y="55598"/>
                </a:lnTo>
                <a:lnTo>
                  <a:pt x="164141" y="56450"/>
                </a:lnTo>
                <a:lnTo>
                  <a:pt x="183176" y="57128"/>
                </a:lnTo>
                <a:lnTo>
                  <a:pt x="202829" y="57622"/>
                </a:lnTo>
                <a:lnTo>
                  <a:pt x="223031" y="57925"/>
                </a:lnTo>
                <a:lnTo>
                  <a:pt x="250691" y="58016"/>
                </a:lnTo>
                <a:lnTo>
                  <a:pt x="271227" y="57845"/>
                </a:lnTo>
                <a:lnTo>
                  <a:pt x="291260" y="57478"/>
                </a:lnTo>
                <a:lnTo>
                  <a:pt x="310719" y="56922"/>
                </a:lnTo>
                <a:lnTo>
                  <a:pt x="329535" y="56186"/>
                </a:lnTo>
                <a:lnTo>
                  <a:pt x="347639" y="55277"/>
                </a:lnTo>
                <a:lnTo>
                  <a:pt x="364962" y="54204"/>
                </a:lnTo>
                <a:lnTo>
                  <a:pt x="381434" y="52975"/>
                </a:lnTo>
                <a:lnTo>
                  <a:pt x="411551" y="50084"/>
                </a:lnTo>
                <a:lnTo>
                  <a:pt x="437434" y="46667"/>
                </a:lnTo>
                <a:lnTo>
                  <a:pt x="458530" y="42792"/>
                </a:lnTo>
                <a:lnTo>
                  <a:pt x="474284" y="38524"/>
                </a:lnTo>
                <a:lnTo>
                  <a:pt x="487553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8" name="object 358"/>
          <p:cNvSpPr/>
          <p:nvPr/>
        </p:nvSpPr>
        <p:spPr>
          <a:xfrm>
            <a:off x="8077835" y="3923156"/>
            <a:ext cx="487552" cy="58038"/>
          </a:xfrm>
          <a:custGeom>
            <a:avLst/>
            <a:gdLst/>
            <a:ahLst/>
            <a:cxnLst/>
            <a:rect l="l" t="t" r="r" b="b"/>
            <a:pathLst>
              <a:path w="487553" h="58038">
                <a:moveTo>
                  <a:pt x="0" y="29083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3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3" y="29083"/>
                </a:lnTo>
                <a:lnTo>
                  <a:pt x="486689" y="31540"/>
                </a:lnTo>
                <a:lnTo>
                  <a:pt x="484143" y="33939"/>
                </a:lnTo>
                <a:lnTo>
                  <a:pt x="474284" y="38535"/>
                </a:lnTo>
                <a:lnTo>
                  <a:pt x="458530" y="42803"/>
                </a:lnTo>
                <a:lnTo>
                  <a:pt x="448615" y="44794"/>
                </a:lnTo>
                <a:lnTo>
                  <a:pt x="437434" y="46678"/>
                </a:lnTo>
                <a:lnTo>
                  <a:pt x="425056" y="48448"/>
                </a:lnTo>
                <a:lnTo>
                  <a:pt x="411551" y="50095"/>
                </a:lnTo>
                <a:lnTo>
                  <a:pt x="396987" y="51610"/>
                </a:lnTo>
                <a:lnTo>
                  <a:pt x="381434" y="52987"/>
                </a:lnTo>
                <a:lnTo>
                  <a:pt x="364962" y="54215"/>
                </a:lnTo>
                <a:lnTo>
                  <a:pt x="347639" y="55288"/>
                </a:lnTo>
                <a:lnTo>
                  <a:pt x="329535" y="56197"/>
                </a:lnTo>
                <a:lnTo>
                  <a:pt x="310719" y="56933"/>
                </a:lnTo>
                <a:lnTo>
                  <a:pt x="291260" y="57489"/>
                </a:lnTo>
                <a:lnTo>
                  <a:pt x="271227" y="57857"/>
                </a:lnTo>
                <a:lnTo>
                  <a:pt x="250691" y="58027"/>
                </a:lnTo>
                <a:lnTo>
                  <a:pt x="243713" y="58039"/>
                </a:lnTo>
                <a:lnTo>
                  <a:pt x="223031" y="57936"/>
                </a:lnTo>
                <a:lnTo>
                  <a:pt x="202829" y="57633"/>
                </a:lnTo>
                <a:lnTo>
                  <a:pt x="183176" y="57139"/>
                </a:lnTo>
                <a:lnTo>
                  <a:pt x="164141" y="56461"/>
                </a:lnTo>
                <a:lnTo>
                  <a:pt x="145795" y="55609"/>
                </a:lnTo>
                <a:lnTo>
                  <a:pt x="128206" y="54589"/>
                </a:lnTo>
                <a:lnTo>
                  <a:pt x="111444" y="53410"/>
                </a:lnTo>
                <a:lnTo>
                  <a:pt x="95578" y="52081"/>
                </a:lnTo>
                <a:lnTo>
                  <a:pt x="80678" y="50610"/>
                </a:lnTo>
                <a:lnTo>
                  <a:pt x="66814" y="49005"/>
                </a:lnTo>
                <a:lnTo>
                  <a:pt x="54055" y="47274"/>
                </a:lnTo>
                <a:lnTo>
                  <a:pt x="42470" y="45426"/>
                </a:lnTo>
                <a:lnTo>
                  <a:pt x="32128" y="43468"/>
                </a:lnTo>
                <a:lnTo>
                  <a:pt x="23101" y="41409"/>
                </a:lnTo>
                <a:lnTo>
                  <a:pt x="15455" y="39257"/>
                </a:lnTo>
                <a:lnTo>
                  <a:pt x="4591" y="34708"/>
                </a:lnTo>
                <a:lnTo>
                  <a:pt x="0" y="29083"/>
                </a:lnTo>
                <a:close/>
              </a:path>
            </a:pathLst>
          </a:custGeom>
          <a:ln w="1269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9" name="object 359"/>
          <p:cNvSpPr/>
          <p:nvPr/>
        </p:nvSpPr>
        <p:spPr>
          <a:xfrm>
            <a:off x="8077835" y="3990732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3" h="58016">
                <a:moveTo>
                  <a:pt x="0" y="29071"/>
                </a:moveTo>
                <a:lnTo>
                  <a:pt x="1511" y="32317"/>
                </a:lnTo>
                <a:lnTo>
                  <a:pt x="4591" y="34697"/>
                </a:lnTo>
                <a:lnTo>
                  <a:pt x="23101" y="41398"/>
                </a:lnTo>
                <a:lnTo>
                  <a:pt x="42470" y="45415"/>
                </a:lnTo>
                <a:lnTo>
                  <a:pt x="66814" y="48994"/>
                </a:lnTo>
                <a:lnTo>
                  <a:pt x="95578" y="52070"/>
                </a:lnTo>
                <a:lnTo>
                  <a:pt x="128206" y="54578"/>
                </a:lnTo>
                <a:lnTo>
                  <a:pt x="145795" y="55598"/>
                </a:lnTo>
                <a:lnTo>
                  <a:pt x="164141" y="56450"/>
                </a:lnTo>
                <a:lnTo>
                  <a:pt x="183176" y="57128"/>
                </a:lnTo>
                <a:lnTo>
                  <a:pt x="202829" y="57622"/>
                </a:lnTo>
                <a:lnTo>
                  <a:pt x="223031" y="57925"/>
                </a:lnTo>
                <a:lnTo>
                  <a:pt x="250691" y="58016"/>
                </a:lnTo>
                <a:lnTo>
                  <a:pt x="271227" y="57845"/>
                </a:lnTo>
                <a:lnTo>
                  <a:pt x="291260" y="57478"/>
                </a:lnTo>
                <a:lnTo>
                  <a:pt x="310719" y="56922"/>
                </a:lnTo>
                <a:lnTo>
                  <a:pt x="329535" y="56186"/>
                </a:lnTo>
                <a:lnTo>
                  <a:pt x="347639" y="55277"/>
                </a:lnTo>
                <a:lnTo>
                  <a:pt x="364962" y="54204"/>
                </a:lnTo>
                <a:lnTo>
                  <a:pt x="381434" y="52975"/>
                </a:lnTo>
                <a:lnTo>
                  <a:pt x="411551" y="50084"/>
                </a:lnTo>
                <a:lnTo>
                  <a:pt x="437434" y="46667"/>
                </a:lnTo>
                <a:lnTo>
                  <a:pt x="458530" y="42792"/>
                </a:lnTo>
                <a:lnTo>
                  <a:pt x="474284" y="38524"/>
                </a:lnTo>
                <a:lnTo>
                  <a:pt x="487553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0" name="object 360"/>
          <p:cNvSpPr/>
          <p:nvPr/>
        </p:nvSpPr>
        <p:spPr>
          <a:xfrm>
            <a:off x="8077835" y="3990722"/>
            <a:ext cx="487552" cy="58039"/>
          </a:xfrm>
          <a:custGeom>
            <a:avLst/>
            <a:gdLst/>
            <a:ahLst/>
            <a:cxnLst/>
            <a:rect l="l" t="t" r="r" b="b"/>
            <a:pathLst>
              <a:path w="487553" h="58039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3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3" y="29082"/>
                </a:lnTo>
                <a:lnTo>
                  <a:pt x="486689" y="31540"/>
                </a:lnTo>
                <a:lnTo>
                  <a:pt x="484143" y="33939"/>
                </a:lnTo>
                <a:lnTo>
                  <a:pt x="474284" y="38535"/>
                </a:lnTo>
                <a:lnTo>
                  <a:pt x="458530" y="42803"/>
                </a:lnTo>
                <a:lnTo>
                  <a:pt x="448615" y="44794"/>
                </a:lnTo>
                <a:lnTo>
                  <a:pt x="437434" y="46678"/>
                </a:lnTo>
                <a:lnTo>
                  <a:pt x="425056" y="48448"/>
                </a:lnTo>
                <a:lnTo>
                  <a:pt x="411551" y="50095"/>
                </a:lnTo>
                <a:lnTo>
                  <a:pt x="396987" y="51610"/>
                </a:lnTo>
                <a:lnTo>
                  <a:pt x="381434" y="52987"/>
                </a:lnTo>
                <a:lnTo>
                  <a:pt x="364962" y="54215"/>
                </a:lnTo>
                <a:lnTo>
                  <a:pt x="347639" y="55288"/>
                </a:lnTo>
                <a:lnTo>
                  <a:pt x="329535" y="56197"/>
                </a:lnTo>
                <a:lnTo>
                  <a:pt x="310719" y="56933"/>
                </a:lnTo>
                <a:lnTo>
                  <a:pt x="291260" y="57489"/>
                </a:lnTo>
                <a:lnTo>
                  <a:pt x="271227" y="57857"/>
                </a:lnTo>
                <a:lnTo>
                  <a:pt x="250691" y="58027"/>
                </a:lnTo>
                <a:lnTo>
                  <a:pt x="243713" y="58038"/>
                </a:lnTo>
                <a:lnTo>
                  <a:pt x="223031" y="57936"/>
                </a:lnTo>
                <a:lnTo>
                  <a:pt x="202829" y="57633"/>
                </a:lnTo>
                <a:lnTo>
                  <a:pt x="183176" y="57139"/>
                </a:lnTo>
                <a:lnTo>
                  <a:pt x="164141" y="56461"/>
                </a:lnTo>
                <a:lnTo>
                  <a:pt x="145795" y="55609"/>
                </a:lnTo>
                <a:lnTo>
                  <a:pt x="128206" y="54589"/>
                </a:lnTo>
                <a:lnTo>
                  <a:pt x="111444" y="53410"/>
                </a:lnTo>
                <a:lnTo>
                  <a:pt x="95578" y="52081"/>
                </a:lnTo>
                <a:lnTo>
                  <a:pt x="80678" y="50610"/>
                </a:lnTo>
                <a:lnTo>
                  <a:pt x="66814" y="49005"/>
                </a:lnTo>
                <a:lnTo>
                  <a:pt x="54055" y="47274"/>
                </a:lnTo>
                <a:lnTo>
                  <a:pt x="42470" y="45426"/>
                </a:lnTo>
                <a:lnTo>
                  <a:pt x="32128" y="43468"/>
                </a:lnTo>
                <a:lnTo>
                  <a:pt x="23101" y="41409"/>
                </a:lnTo>
                <a:lnTo>
                  <a:pt x="15455" y="39257"/>
                </a:lnTo>
                <a:lnTo>
                  <a:pt x="4591" y="34708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1" name="object 361"/>
          <p:cNvSpPr/>
          <p:nvPr/>
        </p:nvSpPr>
        <p:spPr>
          <a:xfrm>
            <a:off x="8073519" y="3874415"/>
            <a:ext cx="496125" cy="142976"/>
          </a:xfrm>
          <a:custGeom>
            <a:avLst/>
            <a:gdLst/>
            <a:ahLst/>
            <a:cxnLst/>
            <a:rect l="l" t="t" r="r" b="b"/>
            <a:pathLst>
              <a:path w="496125" h="142976">
                <a:moveTo>
                  <a:pt x="0" y="142976"/>
                </a:moveTo>
                <a:lnTo>
                  <a:pt x="496125" y="142976"/>
                </a:lnTo>
                <a:lnTo>
                  <a:pt x="496125" y="0"/>
                </a:lnTo>
                <a:lnTo>
                  <a:pt x="0" y="0"/>
                </a:lnTo>
                <a:lnTo>
                  <a:pt x="0" y="142976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2" name="object 362"/>
          <p:cNvSpPr/>
          <p:nvPr/>
        </p:nvSpPr>
        <p:spPr>
          <a:xfrm>
            <a:off x="8077835" y="3847731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3" h="58143">
                <a:moveTo>
                  <a:pt x="0" y="29071"/>
                </a:moveTo>
                <a:lnTo>
                  <a:pt x="1514" y="32321"/>
                </a:lnTo>
                <a:lnTo>
                  <a:pt x="4595" y="34705"/>
                </a:lnTo>
                <a:lnTo>
                  <a:pt x="23108" y="41423"/>
                </a:lnTo>
                <a:lnTo>
                  <a:pt x="42478" y="45457"/>
                </a:lnTo>
                <a:lnTo>
                  <a:pt x="66822" y="49055"/>
                </a:lnTo>
                <a:lnTo>
                  <a:pt x="95586" y="52151"/>
                </a:lnTo>
                <a:lnTo>
                  <a:pt x="128212" y="54676"/>
                </a:lnTo>
                <a:lnTo>
                  <a:pt x="145800" y="55704"/>
                </a:lnTo>
                <a:lnTo>
                  <a:pt x="164146" y="56563"/>
                </a:lnTo>
                <a:lnTo>
                  <a:pt x="183179" y="57247"/>
                </a:lnTo>
                <a:lnTo>
                  <a:pt x="202831" y="57745"/>
                </a:lnTo>
                <a:lnTo>
                  <a:pt x="223032" y="58051"/>
                </a:lnTo>
                <a:lnTo>
                  <a:pt x="250715" y="58143"/>
                </a:lnTo>
                <a:lnTo>
                  <a:pt x="271250" y="57970"/>
                </a:lnTo>
                <a:lnTo>
                  <a:pt x="291280" y="57600"/>
                </a:lnTo>
                <a:lnTo>
                  <a:pt x="310737" y="57039"/>
                </a:lnTo>
                <a:lnTo>
                  <a:pt x="329552" y="56296"/>
                </a:lnTo>
                <a:lnTo>
                  <a:pt x="347654" y="55379"/>
                </a:lnTo>
                <a:lnTo>
                  <a:pt x="364975" y="54298"/>
                </a:lnTo>
                <a:lnTo>
                  <a:pt x="381446" y="53061"/>
                </a:lnTo>
                <a:lnTo>
                  <a:pt x="411559" y="50150"/>
                </a:lnTo>
                <a:lnTo>
                  <a:pt x="437439" y="46714"/>
                </a:lnTo>
                <a:lnTo>
                  <a:pt x="458533" y="42820"/>
                </a:lnTo>
                <a:lnTo>
                  <a:pt x="474286" y="38537"/>
                </a:lnTo>
                <a:lnTo>
                  <a:pt x="487553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3" name="object 363"/>
          <p:cNvSpPr/>
          <p:nvPr/>
        </p:nvSpPr>
        <p:spPr>
          <a:xfrm>
            <a:off x="8077835" y="3847719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3" h="58166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3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3" y="29082"/>
                </a:lnTo>
                <a:lnTo>
                  <a:pt x="486689" y="31540"/>
                </a:lnTo>
                <a:lnTo>
                  <a:pt x="484143" y="33943"/>
                </a:lnTo>
                <a:lnTo>
                  <a:pt x="474286" y="38548"/>
                </a:lnTo>
                <a:lnTo>
                  <a:pt x="458533" y="42831"/>
                </a:lnTo>
                <a:lnTo>
                  <a:pt x="448619" y="44831"/>
                </a:lnTo>
                <a:lnTo>
                  <a:pt x="437439" y="46725"/>
                </a:lnTo>
                <a:lnTo>
                  <a:pt x="425063" y="48504"/>
                </a:lnTo>
                <a:lnTo>
                  <a:pt x="411559" y="50161"/>
                </a:lnTo>
                <a:lnTo>
                  <a:pt x="396997" y="51686"/>
                </a:lnTo>
                <a:lnTo>
                  <a:pt x="381446" y="53072"/>
                </a:lnTo>
                <a:lnTo>
                  <a:pt x="364975" y="54309"/>
                </a:lnTo>
                <a:lnTo>
                  <a:pt x="347654" y="55390"/>
                </a:lnTo>
                <a:lnTo>
                  <a:pt x="329552" y="56307"/>
                </a:lnTo>
                <a:lnTo>
                  <a:pt x="310737" y="57050"/>
                </a:lnTo>
                <a:lnTo>
                  <a:pt x="291280" y="57611"/>
                </a:lnTo>
                <a:lnTo>
                  <a:pt x="271250" y="57981"/>
                </a:lnTo>
                <a:lnTo>
                  <a:pt x="250715" y="58154"/>
                </a:lnTo>
                <a:lnTo>
                  <a:pt x="243713" y="58165"/>
                </a:lnTo>
                <a:lnTo>
                  <a:pt x="223032" y="58062"/>
                </a:lnTo>
                <a:lnTo>
                  <a:pt x="202831" y="57756"/>
                </a:lnTo>
                <a:lnTo>
                  <a:pt x="183179" y="57258"/>
                </a:lnTo>
                <a:lnTo>
                  <a:pt x="164146" y="56574"/>
                </a:lnTo>
                <a:lnTo>
                  <a:pt x="145800" y="55715"/>
                </a:lnTo>
                <a:lnTo>
                  <a:pt x="128212" y="54687"/>
                </a:lnTo>
                <a:lnTo>
                  <a:pt x="111451" y="53500"/>
                </a:lnTo>
                <a:lnTo>
                  <a:pt x="95586" y="52162"/>
                </a:lnTo>
                <a:lnTo>
                  <a:pt x="80686" y="50681"/>
                </a:lnTo>
                <a:lnTo>
                  <a:pt x="66822" y="49066"/>
                </a:lnTo>
                <a:lnTo>
                  <a:pt x="54063" y="47326"/>
                </a:lnTo>
                <a:lnTo>
                  <a:pt x="42478" y="45468"/>
                </a:lnTo>
                <a:lnTo>
                  <a:pt x="32136" y="43501"/>
                </a:lnTo>
                <a:lnTo>
                  <a:pt x="23108" y="41434"/>
                </a:lnTo>
                <a:lnTo>
                  <a:pt x="15462" y="39276"/>
                </a:lnTo>
                <a:lnTo>
                  <a:pt x="4595" y="34716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4" name="object 364"/>
          <p:cNvSpPr/>
          <p:nvPr/>
        </p:nvSpPr>
        <p:spPr>
          <a:xfrm>
            <a:off x="6685916" y="3523996"/>
            <a:ext cx="469645" cy="206628"/>
          </a:xfrm>
          <a:custGeom>
            <a:avLst/>
            <a:gdLst/>
            <a:ahLst/>
            <a:cxnLst/>
            <a:rect l="l" t="t" r="r" b="b"/>
            <a:pathLst>
              <a:path w="469645" h="206628">
                <a:moveTo>
                  <a:pt x="343407" y="62864"/>
                </a:moveTo>
                <a:lnTo>
                  <a:pt x="325374" y="73913"/>
                </a:lnTo>
                <a:lnTo>
                  <a:pt x="300989" y="80137"/>
                </a:lnTo>
                <a:lnTo>
                  <a:pt x="156844" y="80137"/>
                </a:lnTo>
                <a:lnTo>
                  <a:pt x="156844" y="33781"/>
                </a:lnTo>
                <a:lnTo>
                  <a:pt x="0" y="124205"/>
                </a:lnTo>
                <a:lnTo>
                  <a:pt x="156844" y="206628"/>
                </a:lnTo>
                <a:lnTo>
                  <a:pt x="156844" y="161035"/>
                </a:lnTo>
                <a:lnTo>
                  <a:pt x="300989" y="161035"/>
                </a:lnTo>
                <a:lnTo>
                  <a:pt x="326516" y="160273"/>
                </a:lnTo>
                <a:lnTo>
                  <a:pt x="355091" y="155574"/>
                </a:lnTo>
                <a:lnTo>
                  <a:pt x="377316" y="146938"/>
                </a:lnTo>
                <a:lnTo>
                  <a:pt x="397509" y="139064"/>
                </a:lnTo>
                <a:lnTo>
                  <a:pt x="416559" y="127380"/>
                </a:lnTo>
                <a:lnTo>
                  <a:pt x="432434" y="113156"/>
                </a:lnTo>
                <a:lnTo>
                  <a:pt x="444118" y="102234"/>
                </a:lnTo>
                <a:lnTo>
                  <a:pt x="453643" y="87248"/>
                </a:lnTo>
                <a:lnTo>
                  <a:pt x="458977" y="73913"/>
                </a:lnTo>
                <a:lnTo>
                  <a:pt x="464311" y="55879"/>
                </a:lnTo>
                <a:lnTo>
                  <a:pt x="468502" y="38607"/>
                </a:lnTo>
                <a:lnTo>
                  <a:pt x="469645" y="0"/>
                </a:lnTo>
                <a:lnTo>
                  <a:pt x="357250" y="0"/>
                </a:lnTo>
                <a:lnTo>
                  <a:pt x="357250" y="24383"/>
                </a:lnTo>
                <a:lnTo>
                  <a:pt x="352932" y="48005"/>
                </a:lnTo>
                <a:lnTo>
                  <a:pt x="343407" y="62864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5" name="object 365"/>
          <p:cNvSpPr/>
          <p:nvPr/>
        </p:nvSpPr>
        <p:spPr>
          <a:xfrm>
            <a:off x="6685916" y="3523996"/>
            <a:ext cx="469645" cy="206628"/>
          </a:xfrm>
          <a:custGeom>
            <a:avLst/>
            <a:gdLst/>
            <a:ahLst/>
            <a:cxnLst/>
            <a:rect l="l" t="t" r="r" b="b"/>
            <a:pathLst>
              <a:path w="469645" h="206628">
                <a:moveTo>
                  <a:pt x="156844" y="206628"/>
                </a:moveTo>
                <a:lnTo>
                  <a:pt x="0" y="124205"/>
                </a:lnTo>
                <a:lnTo>
                  <a:pt x="156844" y="33781"/>
                </a:lnTo>
                <a:lnTo>
                  <a:pt x="156844" y="80137"/>
                </a:lnTo>
                <a:lnTo>
                  <a:pt x="300989" y="80137"/>
                </a:lnTo>
                <a:lnTo>
                  <a:pt x="325374" y="73913"/>
                </a:lnTo>
                <a:lnTo>
                  <a:pt x="343407" y="62864"/>
                </a:lnTo>
                <a:lnTo>
                  <a:pt x="352932" y="48005"/>
                </a:lnTo>
                <a:lnTo>
                  <a:pt x="357250" y="24383"/>
                </a:lnTo>
                <a:lnTo>
                  <a:pt x="357250" y="0"/>
                </a:lnTo>
                <a:lnTo>
                  <a:pt x="469645" y="0"/>
                </a:lnTo>
                <a:lnTo>
                  <a:pt x="468502" y="38607"/>
                </a:lnTo>
                <a:lnTo>
                  <a:pt x="464311" y="55879"/>
                </a:lnTo>
                <a:lnTo>
                  <a:pt x="458977" y="73913"/>
                </a:lnTo>
                <a:lnTo>
                  <a:pt x="453643" y="87248"/>
                </a:lnTo>
                <a:lnTo>
                  <a:pt x="444118" y="102234"/>
                </a:lnTo>
                <a:lnTo>
                  <a:pt x="432434" y="113156"/>
                </a:lnTo>
                <a:lnTo>
                  <a:pt x="416559" y="127380"/>
                </a:lnTo>
                <a:lnTo>
                  <a:pt x="397509" y="139064"/>
                </a:lnTo>
                <a:lnTo>
                  <a:pt x="377316" y="146938"/>
                </a:lnTo>
                <a:lnTo>
                  <a:pt x="355091" y="155574"/>
                </a:lnTo>
                <a:lnTo>
                  <a:pt x="326516" y="160273"/>
                </a:lnTo>
                <a:lnTo>
                  <a:pt x="300989" y="161035"/>
                </a:lnTo>
                <a:lnTo>
                  <a:pt x="156844" y="161035"/>
                </a:lnTo>
                <a:lnTo>
                  <a:pt x="156844" y="20662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6" name="object 366"/>
          <p:cNvSpPr/>
          <p:nvPr/>
        </p:nvSpPr>
        <p:spPr>
          <a:xfrm>
            <a:off x="6315965" y="3608831"/>
            <a:ext cx="314833" cy="245110"/>
          </a:xfrm>
          <a:custGeom>
            <a:avLst/>
            <a:gdLst/>
            <a:ahLst/>
            <a:cxnLst/>
            <a:rect l="l" t="t" r="r" b="b"/>
            <a:pathLst>
              <a:path w="314833" h="245110">
                <a:moveTo>
                  <a:pt x="190754" y="162687"/>
                </a:moveTo>
                <a:lnTo>
                  <a:pt x="191896" y="87249"/>
                </a:lnTo>
                <a:lnTo>
                  <a:pt x="200279" y="74676"/>
                </a:lnTo>
                <a:lnTo>
                  <a:pt x="217296" y="65278"/>
                </a:lnTo>
                <a:lnTo>
                  <a:pt x="241681" y="59817"/>
                </a:lnTo>
                <a:lnTo>
                  <a:pt x="276606" y="58166"/>
                </a:lnTo>
                <a:lnTo>
                  <a:pt x="314833" y="58166"/>
                </a:lnTo>
                <a:lnTo>
                  <a:pt x="314833" y="0"/>
                </a:lnTo>
                <a:lnTo>
                  <a:pt x="255396" y="0"/>
                </a:lnTo>
                <a:lnTo>
                  <a:pt x="228981" y="1651"/>
                </a:lnTo>
                <a:lnTo>
                  <a:pt x="200279" y="3937"/>
                </a:lnTo>
                <a:lnTo>
                  <a:pt x="180212" y="7874"/>
                </a:lnTo>
                <a:lnTo>
                  <a:pt x="159003" y="12573"/>
                </a:lnTo>
                <a:lnTo>
                  <a:pt x="140970" y="18161"/>
                </a:lnTo>
                <a:lnTo>
                  <a:pt x="119761" y="27559"/>
                </a:lnTo>
                <a:lnTo>
                  <a:pt x="102743" y="36957"/>
                </a:lnTo>
                <a:lnTo>
                  <a:pt x="91186" y="48006"/>
                </a:lnTo>
                <a:lnTo>
                  <a:pt x="78359" y="58928"/>
                </a:lnTo>
                <a:lnTo>
                  <a:pt x="70993" y="73914"/>
                </a:lnTo>
                <a:lnTo>
                  <a:pt x="69976" y="87249"/>
                </a:lnTo>
                <a:lnTo>
                  <a:pt x="68834" y="162687"/>
                </a:lnTo>
                <a:lnTo>
                  <a:pt x="0" y="162687"/>
                </a:lnTo>
                <a:lnTo>
                  <a:pt x="123951" y="245110"/>
                </a:lnTo>
                <a:lnTo>
                  <a:pt x="262889" y="162687"/>
                </a:lnTo>
                <a:lnTo>
                  <a:pt x="190754" y="162687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7" name="object 367"/>
          <p:cNvSpPr/>
          <p:nvPr/>
        </p:nvSpPr>
        <p:spPr>
          <a:xfrm>
            <a:off x="6315965" y="3608831"/>
            <a:ext cx="314833" cy="245110"/>
          </a:xfrm>
          <a:custGeom>
            <a:avLst/>
            <a:gdLst/>
            <a:ahLst/>
            <a:cxnLst/>
            <a:rect l="l" t="t" r="r" b="b"/>
            <a:pathLst>
              <a:path w="314833" h="245110">
                <a:moveTo>
                  <a:pt x="0" y="162687"/>
                </a:moveTo>
                <a:lnTo>
                  <a:pt x="123951" y="245110"/>
                </a:lnTo>
                <a:lnTo>
                  <a:pt x="262889" y="162687"/>
                </a:lnTo>
                <a:lnTo>
                  <a:pt x="190754" y="162687"/>
                </a:lnTo>
                <a:lnTo>
                  <a:pt x="191896" y="87249"/>
                </a:lnTo>
                <a:lnTo>
                  <a:pt x="200279" y="74676"/>
                </a:lnTo>
                <a:lnTo>
                  <a:pt x="217296" y="65278"/>
                </a:lnTo>
                <a:lnTo>
                  <a:pt x="241681" y="59817"/>
                </a:lnTo>
                <a:lnTo>
                  <a:pt x="276606" y="58166"/>
                </a:lnTo>
                <a:lnTo>
                  <a:pt x="314833" y="58166"/>
                </a:lnTo>
                <a:lnTo>
                  <a:pt x="314833" y="0"/>
                </a:lnTo>
                <a:lnTo>
                  <a:pt x="255396" y="0"/>
                </a:lnTo>
                <a:lnTo>
                  <a:pt x="228981" y="1651"/>
                </a:lnTo>
                <a:lnTo>
                  <a:pt x="200279" y="3937"/>
                </a:lnTo>
                <a:lnTo>
                  <a:pt x="180212" y="7874"/>
                </a:lnTo>
                <a:lnTo>
                  <a:pt x="159003" y="12573"/>
                </a:lnTo>
                <a:lnTo>
                  <a:pt x="140970" y="18161"/>
                </a:lnTo>
                <a:lnTo>
                  <a:pt x="119761" y="27559"/>
                </a:lnTo>
                <a:lnTo>
                  <a:pt x="102743" y="36957"/>
                </a:lnTo>
                <a:lnTo>
                  <a:pt x="91186" y="48006"/>
                </a:lnTo>
                <a:lnTo>
                  <a:pt x="78359" y="58928"/>
                </a:lnTo>
                <a:lnTo>
                  <a:pt x="70993" y="73914"/>
                </a:lnTo>
                <a:lnTo>
                  <a:pt x="69976" y="87249"/>
                </a:lnTo>
                <a:lnTo>
                  <a:pt x="68834" y="162687"/>
                </a:lnTo>
                <a:lnTo>
                  <a:pt x="0" y="1626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8" name="object 368"/>
          <p:cNvSpPr/>
          <p:nvPr/>
        </p:nvSpPr>
        <p:spPr>
          <a:xfrm>
            <a:off x="6199379" y="4066044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44"/>
                </a:lnTo>
                <a:lnTo>
                  <a:pt x="4595" y="34740"/>
                </a:lnTo>
                <a:lnTo>
                  <a:pt x="23108" y="41478"/>
                </a:lnTo>
                <a:lnTo>
                  <a:pt x="42478" y="45512"/>
                </a:lnTo>
                <a:lnTo>
                  <a:pt x="66822" y="49104"/>
                </a:lnTo>
                <a:lnTo>
                  <a:pt x="95586" y="52189"/>
                </a:lnTo>
                <a:lnTo>
                  <a:pt x="128212" y="54701"/>
                </a:lnTo>
                <a:lnTo>
                  <a:pt x="145800" y="55723"/>
                </a:lnTo>
                <a:lnTo>
                  <a:pt x="164146" y="56576"/>
                </a:lnTo>
                <a:lnTo>
                  <a:pt x="183179" y="57255"/>
                </a:lnTo>
                <a:lnTo>
                  <a:pt x="202831" y="57749"/>
                </a:lnTo>
                <a:lnTo>
                  <a:pt x="223032" y="58052"/>
                </a:lnTo>
                <a:lnTo>
                  <a:pt x="250715" y="58143"/>
                </a:lnTo>
                <a:lnTo>
                  <a:pt x="271250" y="57972"/>
                </a:lnTo>
                <a:lnTo>
                  <a:pt x="291280" y="57604"/>
                </a:lnTo>
                <a:lnTo>
                  <a:pt x="310737" y="57048"/>
                </a:lnTo>
                <a:lnTo>
                  <a:pt x="329552" y="56310"/>
                </a:lnTo>
                <a:lnTo>
                  <a:pt x="347654" y="55400"/>
                </a:lnTo>
                <a:lnTo>
                  <a:pt x="364975" y="54326"/>
                </a:lnTo>
                <a:lnTo>
                  <a:pt x="381446" y="53094"/>
                </a:lnTo>
                <a:lnTo>
                  <a:pt x="411559" y="50195"/>
                </a:lnTo>
                <a:lnTo>
                  <a:pt x="437439" y="46768"/>
                </a:lnTo>
                <a:lnTo>
                  <a:pt x="458533" y="42877"/>
                </a:lnTo>
                <a:lnTo>
                  <a:pt x="474286" y="38587"/>
                </a:lnTo>
                <a:lnTo>
                  <a:pt x="487552" y="29071"/>
                </a:lnTo>
                <a:lnTo>
                  <a:pt x="486017" y="25799"/>
                </a:lnTo>
                <a:lnTo>
                  <a:pt x="464382" y="16704"/>
                </a:lnTo>
                <a:lnTo>
                  <a:pt x="445000" y="12674"/>
                </a:lnTo>
                <a:lnTo>
                  <a:pt x="420647" y="9079"/>
                </a:lnTo>
                <a:lnTo>
                  <a:pt x="391878" y="5986"/>
                </a:lnTo>
                <a:lnTo>
                  <a:pt x="359245" y="3463"/>
                </a:lnTo>
                <a:lnTo>
                  <a:pt x="341654" y="2437"/>
                </a:lnTo>
                <a:lnTo>
                  <a:pt x="323305" y="1578"/>
                </a:lnTo>
                <a:lnTo>
                  <a:pt x="304266" y="895"/>
                </a:lnTo>
                <a:lnTo>
                  <a:pt x="284609" y="397"/>
                </a:lnTo>
                <a:lnTo>
                  <a:pt x="264401" y="92"/>
                </a:lnTo>
                <a:lnTo>
                  <a:pt x="236919" y="0"/>
                </a:lnTo>
                <a:lnTo>
                  <a:pt x="216387" y="170"/>
                </a:lnTo>
                <a:lnTo>
                  <a:pt x="196358" y="539"/>
                </a:lnTo>
                <a:lnTo>
                  <a:pt x="176900" y="1099"/>
                </a:lnTo>
                <a:lnTo>
                  <a:pt x="158083" y="1841"/>
                </a:lnTo>
                <a:lnTo>
                  <a:pt x="139977" y="2756"/>
                </a:lnTo>
                <a:lnTo>
                  <a:pt x="122651" y="3837"/>
                </a:lnTo>
                <a:lnTo>
                  <a:pt x="106174" y="5074"/>
                </a:lnTo>
                <a:lnTo>
                  <a:pt x="76047" y="7985"/>
                </a:lnTo>
                <a:lnTo>
                  <a:pt x="50152" y="11422"/>
                </a:lnTo>
                <a:lnTo>
                  <a:pt x="29044" y="15316"/>
                </a:lnTo>
                <a:lnTo>
                  <a:pt x="13279" y="19601"/>
                </a:lnTo>
                <a:lnTo>
                  <a:pt x="864" y="26612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9" name="object 369"/>
          <p:cNvSpPr/>
          <p:nvPr/>
        </p:nvSpPr>
        <p:spPr>
          <a:xfrm>
            <a:off x="6199379" y="4066031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3"/>
                </a:moveTo>
                <a:lnTo>
                  <a:pt x="7573" y="21880"/>
                </a:lnTo>
                <a:lnTo>
                  <a:pt x="20459" y="17425"/>
                </a:lnTo>
                <a:lnTo>
                  <a:pt x="29044" y="15327"/>
                </a:lnTo>
                <a:lnTo>
                  <a:pt x="38965" y="13327"/>
                </a:lnTo>
                <a:lnTo>
                  <a:pt x="50152" y="11433"/>
                </a:lnTo>
                <a:lnTo>
                  <a:pt x="62536" y="9653"/>
                </a:lnTo>
                <a:lnTo>
                  <a:pt x="76047" y="7996"/>
                </a:lnTo>
                <a:lnTo>
                  <a:pt x="90617" y="6471"/>
                </a:lnTo>
                <a:lnTo>
                  <a:pt x="106174" y="5085"/>
                </a:lnTo>
                <a:lnTo>
                  <a:pt x="122651" y="3848"/>
                </a:lnTo>
                <a:lnTo>
                  <a:pt x="139977" y="2767"/>
                </a:lnTo>
                <a:lnTo>
                  <a:pt x="158083" y="1852"/>
                </a:lnTo>
                <a:lnTo>
                  <a:pt x="176900" y="1110"/>
                </a:lnTo>
                <a:lnTo>
                  <a:pt x="196358" y="550"/>
                </a:lnTo>
                <a:lnTo>
                  <a:pt x="216387" y="181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3"/>
                </a:lnTo>
                <a:lnTo>
                  <a:pt x="284609" y="408"/>
                </a:lnTo>
                <a:lnTo>
                  <a:pt x="304266" y="906"/>
                </a:lnTo>
                <a:lnTo>
                  <a:pt x="323305" y="1589"/>
                </a:lnTo>
                <a:lnTo>
                  <a:pt x="341654" y="2448"/>
                </a:lnTo>
                <a:lnTo>
                  <a:pt x="359245" y="3475"/>
                </a:lnTo>
                <a:lnTo>
                  <a:pt x="376010" y="4661"/>
                </a:lnTo>
                <a:lnTo>
                  <a:pt x="391878" y="5997"/>
                </a:lnTo>
                <a:lnTo>
                  <a:pt x="406780" y="7477"/>
                </a:lnTo>
                <a:lnTo>
                  <a:pt x="420647" y="9090"/>
                </a:lnTo>
                <a:lnTo>
                  <a:pt x="433410" y="10829"/>
                </a:lnTo>
                <a:lnTo>
                  <a:pt x="445000" y="12685"/>
                </a:lnTo>
                <a:lnTo>
                  <a:pt x="455347" y="14650"/>
                </a:lnTo>
                <a:lnTo>
                  <a:pt x="464382" y="16715"/>
                </a:lnTo>
                <a:lnTo>
                  <a:pt x="478239" y="21113"/>
                </a:lnTo>
                <a:lnTo>
                  <a:pt x="486017" y="25811"/>
                </a:lnTo>
                <a:lnTo>
                  <a:pt x="487552" y="29083"/>
                </a:lnTo>
                <a:lnTo>
                  <a:pt x="486689" y="31558"/>
                </a:lnTo>
                <a:lnTo>
                  <a:pt x="484143" y="33975"/>
                </a:lnTo>
                <a:lnTo>
                  <a:pt x="474286" y="38598"/>
                </a:lnTo>
                <a:lnTo>
                  <a:pt x="458533" y="42888"/>
                </a:lnTo>
                <a:lnTo>
                  <a:pt x="448619" y="44887"/>
                </a:lnTo>
                <a:lnTo>
                  <a:pt x="437439" y="46779"/>
                </a:lnTo>
                <a:lnTo>
                  <a:pt x="425063" y="48555"/>
                </a:lnTo>
                <a:lnTo>
                  <a:pt x="411559" y="50206"/>
                </a:lnTo>
                <a:lnTo>
                  <a:pt x="396997" y="51726"/>
                </a:lnTo>
                <a:lnTo>
                  <a:pt x="381446" y="53106"/>
                </a:lnTo>
                <a:lnTo>
                  <a:pt x="364975" y="54337"/>
                </a:lnTo>
                <a:lnTo>
                  <a:pt x="347654" y="55411"/>
                </a:lnTo>
                <a:lnTo>
                  <a:pt x="329552" y="56322"/>
                </a:lnTo>
                <a:lnTo>
                  <a:pt x="310737" y="57059"/>
                </a:lnTo>
                <a:lnTo>
                  <a:pt x="291280" y="57616"/>
                </a:lnTo>
                <a:lnTo>
                  <a:pt x="271250" y="57983"/>
                </a:lnTo>
                <a:lnTo>
                  <a:pt x="250715" y="58154"/>
                </a:lnTo>
                <a:lnTo>
                  <a:pt x="243712" y="58166"/>
                </a:lnTo>
                <a:lnTo>
                  <a:pt x="223032" y="58063"/>
                </a:lnTo>
                <a:lnTo>
                  <a:pt x="202831" y="57760"/>
                </a:lnTo>
                <a:lnTo>
                  <a:pt x="183179" y="57266"/>
                </a:lnTo>
                <a:lnTo>
                  <a:pt x="164146" y="56587"/>
                </a:lnTo>
                <a:lnTo>
                  <a:pt x="145800" y="55734"/>
                </a:lnTo>
                <a:lnTo>
                  <a:pt x="128212" y="54712"/>
                </a:lnTo>
                <a:lnTo>
                  <a:pt x="111451" y="53532"/>
                </a:lnTo>
                <a:lnTo>
                  <a:pt x="95586" y="52200"/>
                </a:lnTo>
                <a:lnTo>
                  <a:pt x="80686" y="50725"/>
                </a:lnTo>
                <a:lnTo>
                  <a:pt x="66822" y="49115"/>
                </a:lnTo>
                <a:lnTo>
                  <a:pt x="54063" y="47379"/>
                </a:lnTo>
                <a:lnTo>
                  <a:pt x="42478" y="45524"/>
                </a:lnTo>
                <a:lnTo>
                  <a:pt x="32136" y="43558"/>
                </a:lnTo>
                <a:lnTo>
                  <a:pt x="23108" y="41489"/>
                </a:lnTo>
                <a:lnTo>
                  <a:pt x="15462" y="39327"/>
                </a:lnTo>
                <a:lnTo>
                  <a:pt x="4595" y="34751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0" name="object 370"/>
          <p:cNvSpPr/>
          <p:nvPr/>
        </p:nvSpPr>
        <p:spPr>
          <a:xfrm>
            <a:off x="6195060" y="3949852"/>
            <a:ext cx="0" cy="142976"/>
          </a:xfrm>
          <a:custGeom>
            <a:avLst/>
            <a:gdLst/>
            <a:ahLst/>
            <a:cxnLst/>
            <a:rect l="l" t="t" r="r" b="b"/>
            <a:pathLst>
              <a:path h="142976">
                <a:moveTo>
                  <a:pt x="0" y="142976"/>
                </a:moveTo>
                <a:lnTo>
                  <a:pt x="0" y="0"/>
                </a:lnTo>
                <a:lnTo>
                  <a:pt x="0" y="142976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1" name="object 371"/>
          <p:cNvSpPr/>
          <p:nvPr/>
        </p:nvSpPr>
        <p:spPr>
          <a:xfrm>
            <a:off x="6199379" y="3923169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2" h="58016">
                <a:moveTo>
                  <a:pt x="0" y="29071"/>
                </a:moveTo>
                <a:lnTo>
                  <a:pt x="1511" y="32317"/>
                </a:lnTo>
                <a:lnTo>
                  <a:pt x="4591" y="34697"/>
                </a:lnTo>
                <a:lnTo>
                  <a:pt x="23101" y="41398"/>
                </a:lnTo>
                <a:lnTo>
                  <a:pt x="42470" y="45415"/>
                </a:lnTo>
                <a:lnTo>
                  <a:pt x="66814" y="48994"/>
                </a:lnTo>
                <a:lnTo>
                  <a:pt x="95578" y="52070"/>
                </a:lnTo>
                <a:lnTo>
                  <a:pt x="128206" y="54578"/>
                </a:lnTo>
                <a:lnTo>
                  <a:pt x="145795" y="55598"/>
                </a:lnTo>
                <a:lnTo>
                  <a:pt x="164141" y="56450"/>
                </a:lnTo>
                <a:lnTo>
                  <a:pt x="183176" y="57128"/>
                </a:lnTo>
                <a:lnTo>
                  <a:pt x="202829" y="57622"/>
                </a:lnTo>
                <a:lnTo>
                  <a:pt x="223031" y="57925"/>
                </a:lnTo>
                <a:lnTo>
                  <a:pt x="250691" y="58016"/>
                </a:lnTo>
                <a:lnTo>
                  <a:pt x="271227" y="57845"/>
                </a:lnTo>
                <a:lnTo>
                  <a:pt x="291260" y="57478"/>
                </a:lnTo>
                <a:lnTo>
                  <a:pt x="310719" y="56922"/>
                </a:lnTo>
                <a:lnTo>
                  <a:pt x="329535" y="56186"/>
                </a:lnTo>
                <a:lnTo>
                  <a:pt x="347639" y="55277"/>
                </a:lnTo>
                <a:lnTo>
                  <a:pt x="364962" y="54204"/>
                </a:lnTo>
                <a:lnTo>
                  <a:pt x="381434" y="52975"/>
                </a:lnTo>
                <a:lnTo>
                  <a:pt x="411551" y="50084"/>
                </a:lnTo>
                <a:lnTo>
                  <a:pt x="437434" y="46667"/>
                </a:lnTo>
                <a:lnTo>
                  <a:pt x="458530" y="42792"/>
                </a:lnTo>
                <a:lnTo>
                  <a:pt x="474284" y="38524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2" name="object 372"/>
          <p:cNvSpPr/>
          <p:nvPr/>
        </p:nvSpPr>
        <p:spPr>
          <a:xfrm>
            <a:off x="6199379" y="3923156"/>
            <a:ext cx="487552" cy="58038"/>
          </a:xfrm>
          <a:custGeom>
            <a:avLst/>
            <a:gdLst/>
            <a:ahLst/>
            <a:cxnLst/>
            <a:rect l="l" t="t" r="r" b="b"/>
            <a:pathLst>
              <a:path w="487552" h="58038">
                <a:moveTo>
                  <a:pt x="0" y="29083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3"/>
                </a:lnTo>
                <a:lnTo>
                  <a:pt x="486689" y="31540"/>
                </a:lnTo>
                <a:lnTo>
                  <a:pt x="484143" y="33939"/>
                </a:lnTo>
                <a:lnTo>
                  <a:pt x="474284" y="38535"/>
                </a:lnTo>
                <a:lnTo>
                  <a:pt x="458530" y="42803"/>
                </a:lnTo>
                <a:lnTo>
                  <a:pt x="448615" y="44794"/>
                </a:lnTo>
                <a:lnTo>
                  <a:pt x="437434" y="46678"/>
                </a:lnTo>
                <a:lnTo>
                  <a:pt x="425056" y="48448"/>
                </a:lnTo>
                <a:lnTo>
                  <a:pt x="411551" y="50095"/>
                </a:lnTo>
                <a:lnTo>
                  <a:pt x="396987" y="51610"/>
                </a:lnTo>
                <a:lnTo>
                  <a:pt x="381434" y="52987"/>
                </a:lnTo>
                <a:lnTo>
                  <a:pt x="364962" y="54215"/>
                </a:lnTo>
                <a:lnTo>
                  <a:pt x="347639" y="55288"/>
                </a:lnTo>
                <a:lnTo>
                  <a:pt x="329535" y="56197"/>
                </a:lnTo>
                <a:lnTo>
                  <a:pt x="310719" y="56933"/>
                </a:lnTo>
                <a:lnTo>
                  <a:pt x="291260" y="57489"/>
                </a:lnTo>
                <a:lnTo>
                  <a:pt x="271227" y="57857"/>
                </a:lnTo>
                <a:lnTo>
                  <a:pt x="250691" y="58027"/>
                </a:lnTo>
                <a:lnTo>
                  <a:pt x="243712" y="58039"/>
                </a:lnTo>
                <a:lnTo>
                  <a:pt x="223031" y="57936"/>
                </a:lnTo>
                <a:lnTo>
                  <a:pt x="202829" y="57633"/>
                </a:lnTo>
                <a:lnTo>
                  <a:pt x="183176" y="57139"/>
                </a:lnTo>
                <a:lnTo>
                  <a:pt x="164141" y="56461"/>
                </a:lnTo>
                <a:lnTo>
                  <a:pt x="145795" y="55609"/>
                </a:lnTo>
                <a:lnTo>
                  <a:pt x="128206" y="54589"/>
                </a:lnTo>
                <a:lnTo>
                  <a:pt x="111444" y="53410"/>
                </a:lnTo>
                <a:lnTo>
                  <a:pt x="95578" y="52081"/>
                </a:lnTo>
                <a:lnTo>
                  <a:pt x="80678" y="50610"/>
                </a:lnTo>
                <a:lnTo>
                  <a:pt x="66814" y="49005"/>
                </a:lnTo>
                <a:lnTo>
                  <a:pt x="54055" y="47274"/>
                </a:lnTo>
                <a:lnTo>
                  <a:pt x="42470" y="45426"/>
                </a:lnTo>
                <a:lnTo>
                  <a:pt x="32128" y="43468"/>
                </a:lnTo>
                <a:lnTo>
                  <a:pt x="23101" y="41409"/>
                </a:lnTo>
                <a:lnTo>
                  <a:pt x="15455" y="39257"/>
                </a:lnTo>
                <a:lnTo>
                  <a:pt x="4591" y="34708"/>
                </a:lnTo>
                <a:lnTo>
                  <a:pt x="0" y="29083"/>
                </a:lnTo>
                <a:close/>
              </a:path>
            </a:pathLst>
          </a:custGeom>
          <a:ln w="1269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3" name="object 373"/>
          <p:cNvSpPr/>
          <p:nvPr/>
        </p:nvSpPr>
        <p:spPr>
          <a:xfrm>
            <a:off x="6199379" y="3924693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21"/>
                </a:lnTo>
                <a:lnTo>
                  <a:pt x="4595" y="34705"/>
                </a:lnTo>
                <a:lnTo>
                  <a:pt x="23108" y="41423"/>
                </a:lnTo>
                <a:lnTo>
                  <a:pt x="42478" y="45457"/>
                </a:lnTo>
                <a:lnTo>
                  <a:pt x="66822" y="49055"/>
                </a:lnTo>
                <a:lnTo>
                  <a:pt x="95586" y="52151"/>
                </a:lnTo>
                <a:lnTo>
                  <a:pt x="128212" y="54676"/>
                </a:lnTo>
                <a:lnTo>
                  <a:pt x="145800" y="55704"/>
                </a:lnTo>
                <a:lnTo>
                  <a:pt x="164146" y="56563"/>
                </a:lnTo>
                <a:lnTo>
                  <a:pt x="183179" y="57247"/>
                </a:lnTo>
                <a:lnTo>
                  <a:pt x="202831" y="57745"/>
                </a:lnTo>
                <a:lnTo>
                  <a:pt x="223032" y="58051"/>
                </a:lnTo>
                <a:lnTo>
                  <a:pt x="250715" y="58143"/>
                </a:lnTo>
                <a:lnTo>
                  <a:pt x="271250" y="57970"/>
                </a:lnTo>
                <a:lnTo>
                  <a:pt x="291280" y="57599"/>
                </a:lnTo>
                <a:lnTo>
                  <a:pt x="310737" y="57038"/>
                </a:lnTo>
                <a:lnTo>
                  <a:pt x="329552" y="56296"/>
                </a:lnTo>
                <a:lnTo>
                  <a:pt x="347654" y="55379"/>
                </a:lnTo>
                <a:lnTo>
                  <a:pt x="364975" y="54298"/>
                </a:lnTo>
                <a:lnTo>
                  <a:pt x="381446" y="53060"/>
                </a:lnTo>
                <a:lnTo>
                  <a:pt x="411559" y="50149"/>
                </a:lnTo>
                <a:lnTo>
                  <a:pt x="437439" y="46714"/>
                </a:lnTo>
                <a:lnTo>
                  <a:pt x="458533" y="42820"/>
                </a:lnTo>
                <a:lnTo>
                  <a:pt x="474286" y="38537"/>
                </a:lnTo>
                <a:lnTo>
                  <a:pt x="487552" y="29071"/>
                </a:lnTo>
                <a:lnTo>
                  <a:pt x="486017" y="25799"/>
                </a:lnTo>
                <a:lnTo>
                  <a:pt x="464382" y="16704"/>
                </a:lnTo>
                <a:lnTo>
                  <a:pt x="445000" y="12674"/>
                </a:lnTo>
                <a:lnTo>
                  <a:pt x="420647" y="9079"/>
                </a:lnTo>
                <a:lnTo>
                  <a:pt x="391878" y="5986"/>
                </a:lnTo>
                <a:lnTo>
                  <a:pt x="359245" y="3463"/>
                </a:lnTo>
                <a:lnTo>
                  <a:pt x="341654" y="2437"/>
                </a:lnTo>
                <a:lnTo>
                  <a:pt x="323305" y="1578"/>
                </a:lnTo>
                <a:lnTo>
                  <a:pt x="304266" y="895"/>
                </a:lnTo>
                <a:lnTo>
                  <a:pt x="284609" y="397"/>
                </a:lnTo>
                <a:lnTo>
                  <a:pt x="264401" y="92"/>
                </a:lnTo>
                <a:lnTo>
                  <a:pt x="236919" y="0"/>
                </a:lnTo>
                <a:lnTo>
                  <a:pt x="216387" y="170"/>
                </a:lnTo>
                <a:lnTo>
                  <a:pt x="196358" y="539"/>
                </a:lnTo>
                <a:lnTo>
                  <a:pt x="176900" y="1099"/>
                </a:lnTo>
                <a:lnTo>
                  <a:pt x="158083" y="1841"/>
                </a:lnTo>
                <a:lnTo>
                  <a:pt x="139977" y="2756"/>
                </a:lnTo>
                <a:lnTo>
                  <a:pt x="122651" y="3837"/>
                </a:lnTo>
                <a:lnTo>
                  <a:pt x="106174" y="5074"/>
                </a:lnTo>
                <a:lnTo>
                  <a:pt x="76047" y="7985"/>
                </a:lnTo>
                <a:lnTo>
                  <a:pt x="50152" y="11422"/>
                </a:lnTo>
                <a:lnTo>
                  <a:pt x="29044" y="15316"/>
                </a:lnTo>
                <a:lnTo>
                  <a:pt x="13279" y="19601"/>
                </a:lnTo>
                <a:lnTo>
                  <a:pt x="864" y="26612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4" name="object 374"/>
          <p:cNvSpPr/>
          <p:nvPr/>
        </p:nvSpPr>
        <p:spPr>
          <a:xfrm>
            <a:off x="6199379" y="3924680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3"/>
                </a:moveTo>
                <a:lnTo>
                  <a:pt x="7573" y="21880"/>
                </a:lnTo>
                <a:lnTo>
                  <a:pt x="20459" y="17425"/>
                </a:lnTo>
                <a:lnTo>
                  <a:pt x="29044" y="15327"/>
                </a:lnTo>
                <a:lnTo>
                  <a:pt x="38965" y="13327"/>
                </a:lnTo>
                <a:lnTo>
                  <a:pt x="50152" y="11433"/>
                </a:lnTo>
                <a:lnTo>
                  <a:pt x="62536" y="9653"/>
                </a:lnTo>
                <a:lnTo>
                  <a:pt x="76047" y="7996"/>
                </a:lnTo>
                <a:lnTo>
                  <a:pt x="90617" y="6471"/>
                </a:lnTo>
                <a:lnTo>
                  <a:pt x="106174" y="5085"/>
                </a:lnTo>
                <a:lnTo>
                  <a:pt x="122651" y="3848"/>
                </a:lnTo>
                <a:lnTo>
                  <a:pt x="139977" y="2767"/>
                </a:lnTo>
                <a:lnTo>
                  <a:pt x="158083" y="1852"/>
                </a:lnTo>
                <a:lnTo>
                  <a:pt x="176900" y="1110"/>
                </a:lnTo>
                <a:lnTo>
                  <a:pt x="196358" y="550"/>
                </a:lnTo>
                <a:lnTo>
                  <a:pt x="216387" y="181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3"/>
                </a:lnTo>
                <a:lnTo>
                  <a:pt x="284609" y="408"/>
                </a:lnTo>
                <a:lnTo>
                  <a:pt x="304266" y="906"/>
                </a:lnTo>
                <a:lnTo>
                  <a:pt x="323305" y="1589"/>
                </a:lnTo>
                <a:lnTo>
                  <a:pt x="341654" y="2448"/>
                </a:lnTo>
                <a:lnTo>
                  <a:pt x="359245" y="3475"/>
                </a:lnTo>
                <a:lnTo>
                  <a:pt x="376010" y="4661"/>
                </a:lnTo>
                <a:lnTo>
                  <a:pt x="391878" y="5997"/>
                </a:lnTo>
                <a:lnTo>
                  <a:pt x="406780" y="7477"/>
                </a:lnTo>
                <a:lnTo>
                  <a:pt x="420647" y="9090"/>
                </a:lnTo>
                <a:lnTo>
                  <a:pt x="433410" y="10829"/>
                </a:lnTo>
                <a:lnTo>
                  <a:pt x="445000" y="12685"/>
                </a:lnTo>
                <a:lnTo>
                  <a:pt x="455347" y="14650"/>
                </a:lnTo>
                <a:lnTo>
                  <a:pt x="464382" y="16715"/>
                </a:lnTo>
                <a:lnTo>
                  <a:pt x="478239" y="21113"/>
                </a:lnTo>
                <a:lnTo>
                  <a:pt x="486017" y="25811"/>
                </a:lnTo>
                <a:lnTo>
                  <a:pt x="487552" y="29083"/>
                </a:lnTo>
                <a:lnTo>
                  <a:pt x="486689" y="31540"/>
                </a:lnTo>
                <a:lnTo>
                  <a:pt x="484143" y="33943"/>
                </a:lnTo>
                <a:lnTo>
                  <a:pt x="474286" y="38548"/>
                </a:lnTo>
                <a:lnTo>
                  <a:pt x="458533" y="42831"/>
                </a:lnTo>
                <a:lnTo>
                  <a:pt x="448619" y="44831"/>
                </a:lnTo>
                <a:lnTo>
                  <a:pt x="437439" y="46725"/>
                </a:lnTo>
                <a:lnTo>
                  <a:pt x="425063" y="48504"/>
                </a:lnTo>
                <a:lnTo>
                  <a:pt x="411559" y="50161"/>
                </a:lnTo>
                <a:lnTo>
                  <a:pt x="396997" y="51686"/>
                </a:lnTo>
                <a:lnTo>
                  <a:pt x="381446" y="53072"/>
                </a:lnTo>
                <a:lnTo>
                  <a:pt x="364975" y="54309"/>
                </a:lnTo>
                <a:lnTo>
                  <a:pt x="347654" y="55390"/>
                </a:lnTo>
                <a:lnTo>
                  <a:pt x="329552" y="56307"/>
                </a:lnTo>
                <a:lnTo>
                  <a:pt x="310737" y="57050"/>
                </a:lnTo>
                <a:lnTo>
                  <a:pt x="291280" y="57611"/>
                </a:lnTo>
                <a:lnTo>
                  <a:pt x="271250" y="57981"/>
                </a:lnTo>
                <a:lnTo>
                  <a:pt x="250715" y="58154"/>
                </a:lnTo>
                <a:lnTo>
                  <a:pt x="243712" y="58166"/>
                </a:lnTo>
                <a:lnTo>
                  <a:pt x="223032" y="58062"/>
                </a:lnTo>
                <a:lnTo>
                  <a:pt x="202831" y="57756"/>
                </a:lnTo>
                <a:lnTo>
                  <a:pt x="183179" y="57258"/>
                </a:lnTo>
                <a:lnTo>
                  <a:pt x="164146" y="56574"/>
                </a:lnTo>
                <a:lnTo>
                  <a:pt x="145800" y="55715"/>
                </a:lnTo>
                <a:lnTo>
                  <a:pt x="128212" y="54687"/>
                </a:lnTo>
                <a:lnTo>
                  <a:pt x="111451" y="53500"/>
                </a:lnTo>
                <a:lnTo>
                  <a:pt x="95586" y="52162"/>
                </a:lnTo>
                <a:lnTo>
                  <a:pt x="80686" y="50681"/>
                </a:lnTo>
                <a:lnTo>
                  <a:pt x="66822" y="49066"/>
                </a:lnTo>
                <a:lnTo>
                  <a:pt x="54063" y="47326"/>
                </a:lnTo>
                <a:lnTo>
                  <a:pt x="42478" y="45468"/>
                </a:lnTo>
                <a:lnTo>
                  <a:pt x="32136" y="43501"/>
                </a:lnTo>
                <a:lnTo>
                  <a:pt x="23108" y="41434"/>
                </a:lnTo>
                <a:lnTo>
                  <a:pt x="15462" y="39276"/>
                </a:lnTo>
                <a:lnTo>
                  <a:pt x="4595" y="34716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5" name="object 375"/>
          <p:cNvSpPr/>
          <p:nvPr/>
        </p:nvSpPr>
        <p:spPr>
          <a:xfrm>
            <a:off x="6199379" y="3847731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21"/>
                </a:lnTo>
                <a:lnTo>
                  <a:pt x="4595" y="34705"/>
                </a:lnTo>
                <a:lnTo>
                  <a:pt x="23108" y="41423"/>
                </a:lnTo>
                <a:lnTo>
                  <a:pt x="42478" y="45457"/>
                </a:lnTo>
                <a:lnTo>
                  <a:pt x="66822" y="49055"/>
                </a:lnTo>
                <a:lnTo>
                  <a:pt x="95586" y="52151"/>
                </a:lnTo>
                <a:lnTo>
                  <a:pt x="128212" y="54676"/>
                </a:lnTo>
                <a:lnTo>
                  <a:pt x="145800" y="55704"/>
                </a:lnTo>
                <a:lnTo>
                  <a:pt x="164146" y="56563"/>
                </a:lnTo>
                <a:lnTo>
                  <a:pt x="183179" y="57247"/>
                </a:lnTo>
                <a:lnTo>
                  <a:pt x="202831" y="57745"/>
                </a:lnTo>
                <a:lnTo>
                  <a:pt x="223032" y="58051"/>
                </a:lnTo>
                <a:lnTo>
                  <a:pt x="250715" y="58143"/>
                </a:lnTo>
                <a:lnTo>
                  <a:pt x="271250" y="57970"/>
                </a:lnTo>
                <a:lnTo>
                  <a:pt x="291280" y="57600"/>
                </a:lnTo>
                <a:lnTo>
                  <a:pt x="310737" y="57039"/>
                </a:lnTo>
                <a:lnTo>
                  <a:pt x="329552" y="56296"/>
                </a:lnTo>
                <a:lnTo>
                  <a:pt x="347654" y="55379"/>
                </a:lnTo>
                <a:lnTo>
                  <a:pt x="364975" y="54298"/>
                </a:lnTo>
                <a:lnTo>
                  <a:pt x="381446" y="53061"/>
                </a:lnTo>
                <a:lnTo>
                  <a:pt x="411559" y="50150"/>
                </a:lnTo>
                <a:lnTo>
                  <a:pt x="437439" y="46714"/>
                </a:lnTo>
                <a:lnTo>
                  <a:pt x="458533" y="42820"/>
                </a:lnTo>
                <a:lnTo>
                  <a:pt x="474286" y="38537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6" name="object 376"/>
          <p:cNvSpPr/>
          <p:nvPr/>
        </p:nvSpPr>
        <p:spPr>
          <a:xfrm>
            <a:off x="6199379" y="3847719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2"/>
                </a:lnTo>
                <a:lnTo>
                  <a:pt x="486689" y="31540"/>
                </a:lnTo>
                <a:lnTo>
                  <a:pt x="484143" y="33943"/>
                </a:lnTo>
                <a:lnTo>
                  <a:pt x="474286" y="38548"/>
                </a:lnTo>
                <a:lnTo>
                  <a:pt x="458533" y="42831"/>
                </a:lnTo>
                <a:lnTo>
                  <a:pt x="448619" y="44831"/>
                </a:lnTo>
                <a:lnTo>
                  <a:pt x="437439" y="46725"/>
                </a:lnTo>
                <a:lnTo>
                  <a:pt x="425063" y="48504"/>
                </a:lnTo>
                <a:lnTo>
                  <a:pt x="411559" y="50161"/>
                </a:lnTo>
                <a:lnTo>
                  <a:pt x="396997" y="51686"/>
                </a:lnTo>
                <a:lnTo>
                  <a:pt x="381446" y="53072"/>
                </a:lnTo>
                <a:lnTo>
                  <a:pt x="364975" y="54309"/>
                </a:lnTo>
                <a:lnTo>
                  <a:pt x="347654" y="55390"/>
                </a:lnTo>
                <a:lnTo>
                  <a:pt x="329552" y="56307"/>
                </a:lnTo>
                <a:lnTo>
                  <a:pt x="310737" y="57050"/>
                </a:lnTo>
                <a:lnTo>
                  <a:pt x="291280" y="57611"/>
                </a:lnTo>
                <a:lnTo>
                  <a:pt x="271250" y="57981"/>
                </a:lnTo>
                <a:lnTo>
                  <a:pt x="250715" y="58154"/>
                </a:lnTo>
                <a:lnTo>
                  <a:pt x="243712" y="58165"/>
                </a:lnTo>
                <a:lnTo>
                  <a:pt x="223032" y="58062"/>
                </a:lnTo>
                <a:lnTo>
                  <a:pt x="202831" y="57756"/>
                </a:lnTo>
                <a:lnTo>
                  <a:pt x="183179" y="57258"/>
                </a:lnTo>
                <a:lnTo>
                  <a:pt x="164146" y="56574"/>
                </a:lnTo>
                <a:lnTo>
                  <a:pt x="145800" y="55715"/>
                </a:lnTo>
                <a:lnTo>
                  <a:pt x="128212" y="54687"/>
                </a:lnTo>
                <a:lnTo>
                  <a:pt x="111451" y="53500"/>
                </a:lnTo>
                <a:lnTo>
                  <a:pt x="95586" y="52162"/>
                </a:lnTo>
                <a:lnTo>
                  <a:pt x="80686" y="50681"/>
                </a:lnTo>
                <a:lnTo>
                  <a:pt x="66822" y="49066"/>
                </a:lnTo>
                <a:lnTo>
                  <a:pt x="54063" y="47326"/>
                </a:lnTo>
                <a:lnTo>
                  <a:pt x="42478" y="45468"/>
                </a:lnTo>
                <a:lnTo>
                  <a:pt x="32136" y="43501"/>
                </a:lnTo>
                <a:lnTo>
                  <a:pt x="23108" y="41434"/>
                </a:lnTo>
                <a:lnTo>
                  <a:pt x="15462" y="39276"/>
                </a:lnTo>
                <a:lnTo>
                  <a:pt x="4595" y="34716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7" name="object 377"/>
          <p:cNvSpPr/>
          <p:nvPr/>
        </p:nvSpPr>
        <p:spPr>
          <a:xfrm>
            <a:off x="6685916" y="3523996"/>
            <a:ext cx="469645" cy="206628"/>
          </a:xfrm>
          <a:custGeom>
            <a:avLst/>
            <a:gdLst/>
            <a:ahLst/>
            <a:cxnLst/>
            <a:rect l="l" t="t" r="r" b="b"/>
            <a:pathLst>
              <a:path w="469645" h="206628">
                <a:moveTo>
                  <a:pt x="343407" y="62864"/>
                </a:moveTo>
                <a:lnTo>
                  <a:pt x="325374" y="73913"/>
                </a:lnTo>
                <a:lnTo>
                  <a:pt x="300989" y="80137"/>
                </a:lnTo>
                <a:lnTo>
                  <a:pt x="156844" y="80137"/>
                </a:lnTo>
                <a:lnTo>
                  <a:pt x="156844" y="33781"/>
                </a:lnTo>
                <a:lnTo>
                  <a:pt x="0" y="124205"/>
                </a:lnTo>
                <a:lnTo>
                  <a:pt x="156844" y="206628"/>
                </a:lnTo>
                <a:lnTo>
                  <a:pt x="156844" y="161035"/>
                </a:lnTo>
                <a:lnTo>
                  <a:pt x="300989" y="161035"/>
                </a:lnTo>
                <a:lnTo>
                  <a:pt x="326516" y="160273"/>
                </a:lnTo>
                <a:lnTo>
                  <a:pt x="355091" y="155574"/>
                </a:lnTo>
                <a:lnTo>
                  <a:pt x="377316" y="146938"/>
                </a:lnTo>
                <a:lnTo>
                  <a:pt x="397509" y="139064"/>
                </a:lnTo>
                <a:lnTo>
                  <a:pt x="416559" y="127380"/>
                </a:lnTo>
                <a:lnTo>
                  <a:pt x="432434" y="113156"/>
                </a:lnTo>
                <a:lnTo>
                  <a:pt x="444118" y="102234"/>
                </a:lnTo>
                <a:lnTo>
                  <a:pt x="453643" y="87248"/>
                </a:lnTo>
                <a:lnTo>
                  <a:pt x="458977" y="73913"/>
                </a:lnTo>
                <a:lnTo>
                  <a:pt x="464311" y="55879"/>
                </a:lnTo>
                <a:lnTo>
                  <a:pt x="468502" y="38607"/>
                </a:lnTo>
                <a:lnTo>
                  <a:pt x="469645" y="0"/>
                </a:lnTo>
                <a:lnTo>
                  <a:pt x="357250" y="0"/>
                </a:lnTo>
                <a:lnTo>
                  <a:pt x="357250" y="24383"/>
                </a:lnTo>
                <a:lnTo>
                  <a:pt x="352932" y="48005"/>
                </a:lnTo>
                <a:lnTo>
                  <a:pt x="343407" y="62864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8" name="object 378"/>
          <p:cNvSpPr/>
          <p:nvPr/>
        </p:nvSpPr>
        <p:spPr>
          <a:xfrm>
            <a:off x="6685916" y="3523996"/>
            <a:ext cx="469645" cy="206628"/>
          </a:xfrm>
          <a:custGeom>
            <a:avLst/>
            <a:gdLst/>
            <a:ahLst/>
            <a:cxnLst/>
            <a:rect l="l" t="t" r="r" b="b"/>
            <a:pathLst>
              <a:path w="469645" h="206628">
                <a:moveTo>
                  <a:pt x="156844" y="206628"/>
                </a:moveTo>
                <a:lnTo>
                  <a:pt x="0" y="124205"/>
                </a:lnTo>
                <a:lnTo>
                  <a:pt x="156844" y="33781"/>
                </a:lnTo>
                <a:lnTo>
                  <a:pt x="156844" y="80137"/>
                </a:lnTo>
                <a:lnTo>
                  <a:pt x="300989" y="80137"/>
                </a:lnTo>
                <a:lnTo>
                  <a:pt x="325374" y="73913"/>
                </a:lnTo>
                <a:lnTo>
                  <a:pt x="343407" y="62864"/>
                </a:lnTo>
                <a:lnTo>
                  <a:pt x="352932" y="48005"/>
                </a:lnTo>
                <a:lnTo>
                  <a:pt x="357250" y="24383"/>
                </a:lnTo>
                <a:lnTo>
                  <a:pt x="357250" y="0"/>
                </a:lnTo>
                <a:lnTo>
                  <a:pt x="469645" y="0"/>
                </a:lnTo>
                <a:lnTo>
                  <a:pt x="468502" y="38607"/>
                </a:lnTo>
                <a:lnTo>
                  <a:pt x="464311" y="55879"/>
                </a:lnTo>
                <a:lnTo>
                  <a:pt x="458977" y="73913"/>
                </a:lnTo>
                <a:lnTo>
                  <a:pt x="453643" y="87248"/>
                </a:lnTo>
                <a:lnTo>
                  <a:pt x="444118" y="102234"/>
                </a:lnTo>
                <a:lnTo>
                  <a:pt x="432434" y="113156"/>
                </a:lnTo>
                <a:lnTo>
                  <a:pt x="416559" y="127380"/>
                </a:lnTo>
                <a:lnTo>
                  <a:pt x="397509" y="139064"/>
                </a:lnTo>
                <a:lnTo>
                  <a:pt x="377316" y="146938"/>
                </a:lnTo>
                <a:lnTo>
                  <a:pt x="355091" y="155574"/>
                </a:lnTo>
                <a:lnTo>
                  <a:pt x="326516" y="160273"/>
                </a:lnTo>
                <a:lnTo>
                  <a:pt x="300989" y="161035"/>
                </a:lnTo>
                <a:lnTo>
                  <a:pt x="156844" y="161035"/>
                </a:lnTo>
                <a:lnTo>
                  <a:pt x="156844" y="20662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9" name="object 379"/>
          <p:cNvSpPr/>
          <p:nvPr/>
        </p:nvSpPr>
        <p:spPr>
          <a:xfrm>
            <a:off x="6315965" y="3608831"/>
            <a:ext cx="314833" cy="245110"/>
          </a:xfrm>
          <a:custGeom>
            <a:avLst/>
            <a:gdLst/>
            <a:ahLst/>
            <a:cxnLst/>
            <a:rect l="l" t="t" r="r" b="b"/>
            <a:pathLst>
              <a:path w="314833" h="245110">
                <a:moveTo>
                  <a:pt x="190754" y="162687"/>
                </a:moveTo>
                <a:lnTo>
                  <a:pt x="191896" y="87249"/>
                </a:lnTo>
                <a:lnTo>
                  <a:pt x="200279" y="74676"/>
                </a:lnTo>
                <a:lnTo>
                  <a:pt x="217296" y="65278"/>
                </a:lnTo>
                <a:lnTo>
                  <a:pt x="241681" y="59817"/>
                </a:lnTo>
                <a:lnTo>
                  <a:pt x="276606" y="58166"/>
                </a:lnTo>
                <a:lnTo>
                  <a:pt x="314833" y="58166"/>
                </a:lnTo>
                <a:lnTo>
                  <a:pt x="314833" y="0"/>
                </a:lnTo>
                <a:lnTo>
                  <a:pt x="255396" y="0"/>
                </a:lnTo>
                <a:lnTo>
                  <a:pt x="228981" y="1651"/>
                </a:lnTo>
                <a:lnTo>
                  <a:pt x="200279" y="3937"/>
                </a:lnTo>
                <a:lnTo>
                  <a:pt x="180212" y="7874"/>
                </a:lnTo>
                <a:lnTo>
                  <a:pt x="159003" y="12573"/>
                </a:lnTo>
                <a:lnTo>
                  <a:pt x="140970" y="18161"/>
                </a:lnTo>
                <a:lnTo>
                  <a:pt x="119761" y="27559"/>
                </a:lnTo>
                <a:lnTo>
                  <a:pt x="102743" y="36957"/>
                </a:lnTo>
                <a:lnTo>
                  <a:pt x="91186" y="48006"/>
                </a:lnTo>
                <a:lnTo>
                  <a:pt x="78359" y="58928"/>
                </a:lnTo>
                <a:lnTo>
                  <a:pt x="70993" y="73914"/>
                </a:lnTo>
                <a:lnTo>
                  <a:pt x="69976" y="87249"/>
                </a:lnTo>
                <a:lnTo>
                  <a:pt x="68834" y="162687"/>
                </a:lnTo>
                <a:lnTo>
                  <a:pt x="0" y="162687"/>
                </a:lnTo>
                <a:lnTo>
                  <a:pt x="123951" y="245110"/>
                </a:lnTo>
                <a:lnTo>
                  <a:pt x="262889" y="162687"/>
                </a:lnTo>
                <a:lnTo>
                  <a:pt x="190754" y="162687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0" name="object 380"/>
          <p:cNvSpPr/>
          <p:nvPr/>
        </p:nvSpPr>
        <p:spPr>
          <a:xfrm>
            <a:off x="6315965" y="3608831"/>
            <a:ext cx="314833" cy="245110"/>
          </a:xfrm>
          <a:custGeom>
            <a:avLst/>
            <a:gdLst/>
            <a:ahLst/>
            <a:cxnLst/>
            <a:rect l="l" t="t" r="r" b="b"/>
            <a:pathLst>
              <a:path w="314833" h="245110">
                <a:moveTo>
                  <a:pt x="0" y="162687"/>
                </a:moveTo>
                <a:lnTo>
                  <a:pt x="123951" y="245110"/>
                </a:lnTo>
                <a:lnTo>
                  <a:pt x="262889" y="162687"/>
                </a:lnTo>
                <a:lnTo>
                  <a:pt x="190754" y="162687"/>
                </a:lnTo>
                <a:lnTo>
                  <a:pt x="191896" y="87249"/>
                </a:lnTo>
                <a:lnTo>
                  <a:pt x="200279" y="74676"/>
                </a:lnTo>
                <a:lnTo>
                  <a:pt x="217296" y="65278"/>
                </a:lnTo>
                <a:lnTo>
                  <a:pt x="241681" y="59817"/>
                </a:lnTo>
                <a:lnTo>
                  <a:pt x="276606" y="58166"/>
                </a:lnTo>
                <a:lnTo>
                  <a:pt x="314833" y="58166"/>
                </a:lnTo>
                <a:lnTo>
                  <a:pt x="314833" y="0"/>
                </a:lnTo>
                <a:lnTo>
                  <a:pt x="255396" y="0"/>
                </a:lnTo>
                <a:lnTo>
                  <a:pt x="228981" y="1651"/>
                </a:lnTo>
                <a:lnTo>
                  <a:pt x="200279" y="3937"/>
                </a:lnTo>
                <a:lnTo>
                  <a:pt x="180212" y="7874"/>
                </a:lnTo>
                <a:lnTo>
                  <a:pt x="159003" y="12573"/>
                </a:lnTo>
                <a:lnTo>
                  <a:pt x="140970" y="18161"/>
                </a:lnTo>
                <a:lnTo>
                  <a:pt x="119761" y="27559"/>
                </a:lnTo>
                <a:lnTo>
                  <a:pt x="102743" y="36957"/>
                </a:lnTo>
                <a:lnTo>
                  <a:pt x="91186" y="48006"/>
                </a:lnTo>
                <a:lnTo>
                  <a:pt x="78359" y="58928"/>
                </a:lnTo>
                <a:lnTo>
                  <a:pt x="70993" y="73914"/>
                </a:lnTo>
                <a:lnTo>
                  <a:pt x="69976" y="87249"/>
                </a:lnTo>
                <a:lnTo>
                  <a:pt x="68834" y="162687"/>
                </a:lnTo>
                <a:lnTo>
                  <a:pt x="0" y="1626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1" name="object 381"/>
          <p:cNvSpPr/>
          <p:nvPr/>
        </p:nvSpPr>
        <p:spPr>
          <a:xfrm>
            <a:off x="6199379" y="4066044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44"/>
                </a:lnTo>
                <a:lnTo>
                  <a:pt x="4595" y="34740"/>
                </a:lnTo>
                <a:lnTo>
                  <a:pt x="23108" y="41478"/>
                </a:lnTo>
                <a:lnTo>
                  <a:pt x="42478" y="45512"/>
                </a:lnTo>
                <a:lnTo>
                  <a:pt x="66822" y="49104"/>
                </a:lnTo>
                <a:lnTo>
                  <a:pt x="95586" y="52189"/>
                </a:lnTo>
                <a:lnTo>
                  <a:pt x="128212" y="54701"/>
                </a:lnTo>
                <a:lnTo>
                  <a:pt x="145800" y="55723"/>
                </a:lnTo>
                <a:lnTo>
                  <a:pt x="164146" y="56576"/>
                </a:lnTo>
                <a:lnTo>
                  <a:pt x="183179" y="57255"/>
                </a:lnTo>
                <a:lnTo>
                  <a:pt x="202831" y="57749"/>
                </a:lnTo>
                <a:lnTo>
                  <a:pt x="223032" y="58052"/>
                </a:lnTo>
                <a:lnTo>
                  <a:pt x="250715" y="58143"/>
                </a:lnTo>
                <a:lnTo>
                  <a:pt x="271250" y="57972"/>
                </a:lnTo>
                <a:lnTo>
                  <a:pt x="291280" y="57604"/>
                </a:lnTo>
                <a:lnTo>
                  <a:pt x="310737" y="57048"/>
                </a:lnTo>
                <a:lnTo>
                  <a:pt x="329552" y="56310"/>
                </a:lnTo>
                <a:lnTo>
                  <a:pt x="347654" y="55400"/>
                </a:lnTo>
                <a:lnTo>
                  <a:pt x="364975" y="54326"/>
                </a:lnTo>
                <a:lnTo>
                  <a:pt x="381446" y="53094"/>
                </a:lnTo>
                <a:lnTo>
                  <a:pt x="411559" y="50195"/>
                </a:lnTo>
                <a:lnTo>
                  <a:pt x="437439" y="46768"/>
                </a:lnTo>
                <a:lnTo>
                  <a:pt x="458533" y="42877"/>
                </a:lnTo>
                <a:lnTo>
                  <a:pt x="474286" y="38587"/>
                </a:lnTo>
                <a:lnTo>
                  <a:pt x="487552" y="29071"/>
                </a:lnTo>
                <a:lnTo>
                  <a:pt x="486017" y="25799"/>
                </a:lnTo>
                <a:lnTo>
                  <a:pt x="464382" y="16704"/>
                </a:lnTo>
                <a:lnTo>
                  <a:pt x="445000" y="12674"/>
                </a:lnTo>
                <a:lnTo>
                  <a:pt x="420647" y="9079"/>
                </a:lnTo>
                <a:lnTo>
                  <a:pt x="391878" y="5986"/>
                </a:lnTo>
                <a:lnTo>
                  <a:pt x="359245" y="3463"/>
                </a:lnTo>
                <a:lnTo>
                  <a:pt x="341654" y="2437"/>
                </a:lnTo>
                <a:lnTo>
                  <a:pt x="323305" y="1578"/>
                </a:lnTo>
                <a:lnTo>
                  <a:pt x="304266" y="895"/>
                </a:lnTo>
                <a:lnTo>
                  <a:pt x="284609" y="397"/>
                </a:lnTo>
                <a:lnTo>
                  <a:pt x="264401" y="92"/>
                </a:lnTo>
                <a:lnTo>
                  <a:pt x="236919" y="0"/>
                </a:lnTo>
                <a:lnTo>
                  <a:pt x="216387" y="170"/>
                </a:lnTo>
                <a:lnTo>
                  <a:pt x="196358" y="539"/>
                </a:lnTo>
                <a:lnTo>
                  <a:pt x="176900" y="1099"/>
                </a:lnTo>
                <a:lnTo>
                  <a:pt x="158083" y="1841"/>
                </a:lnTo>
                <a:lnTo>
                  <a:pt x="139977" y="2756"/>
                </a:lnTo>
                <a:lnTo>
                  <a:pt x="122651" y="3837"/>
                </a:lnTo>
                <a:lnTo>
                  <a:pt x="106174" y="5074"/>
                </a:lnTo>
                <a:lnTo>
                  <a:pt x="76047" y="7985"/>
                </a:lnTo>
                <a:lnTo>
                  <a:pt x="50152" y="11422"/>
                </a:lnTo>
                <a:lnTo>
                  <a:pt x="29044" y="15316"/>
                </a:lnTo>
                <a:lnTo>
                  <a:pt x="13279" y="19601"/>
                </a:lnTo>
                <a:lnTo>
                  <a:pt x="864" y="26612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2" name="object 382"/>
          <p:cNvSpPr/>
          <p:nvPr/>
        </p:nvSpPr>
        <p:spPr>
          <a:xfrm>
            <a:off x="6199379" y="4066031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3"/>
                </a:moveTo>
                <a:lnTo>
                  <a:pt x="7573" y="21880"/>
                </a:lnTo>
                <a:lnTo>
                  <a:pt x="20459" y="17425"/>
                </a:lnTo>
                <a:lnTo>
                  <a:pt x="29044" y="15327"/>
                </a:lnTo>
                <a:lnTo>
                  <a:pt x="38965" y="13327"/>
                </a:lnTo>
                <a:lnTo>
                  <a:pt x="50152" y="11433"/>
                </a:lnTo>
                <a:lnTo>
                  <a:pt x="62536" y="9653"/>
                </a:lnTo>
                <a:lnTo>
                  <a:pt x="76047" y="7996"/>
                </a:lnTo>
                <a:lnTo>
                  <a:pt x="90617" y="6471"/>
                </a:lnTo>
                <a:lnTo>
                  <a:pt x="106174" y="5085"/>
                </a:lnTo>
                <a:lnTo>
                  <a:pt x="122651" y="3848"/>
                </a:lnTo>
                <a:lnTo>
                  <a:pt x="139977" y="2767"/>
                </a:lnTo>
                <a:lnTo>
                  <a:pt x="158083" y="1852"/>
                </a:lnTo>
                <a:lnTo>
                  <a:pt x="176900" y="1110"/>
                </a:lnTo>
                <a:lnTo>
                  <a:pt x="196358" y="550"/>
                </a:lnTo>
                <a:lnTo>
                  <a:pt x="216387" y="181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3"/>
                </a:lnTo>
                <a:lnTo>
                  <a:pt x="284609" y="408"/>
                </a:lnTo>
                <a:lnTo>
                  <a:pt x="304266" y="906"/>
                </a:lnTo>
                <a:lnTo>
                  <a:pt x="323305" y="1589"/>
                </a:lnTo>
                <a:lnTo>
                  <a:pt x="341654" y="2448"/>
                </a:lnTo>
                <a:lnTo>
                  <a:pt x="359245" y="3475"/>
                </a:lnTo>
                <a:lnTo>
                  <a:pt x="376010" y="4661"/>
                </a:lnTo>
                <a:lnTo>
                  <a:pt x="391878" y="5997"/>
                </a:lnTo>
                <a:lnTo>
                  <a:pt x="406780" y="7477"/>
                </a:lnTo>
                <a:lnTo>
                  <a:pt x="420647" y="9090"/>
                </a:lnTo>
                <a:lnTo>
                  <a:pt x="433410" y="10829"/>
                </a:lnTo>
                <a:lnTo>
                  <a:pt x="445000" y="12685"/>
                </a:lnTo>
                <a:lnTo>
                  <a:pt x="455347" y="14650"/>
                </a:lnTo>
                <a:lnTo>
                  <a:pt x="464382" y="16715"/>
                </a:lnTo>
                <a:lnTo>
                  <a:pt x="478239" y="21113"/>
                </a:lnTo>
                <a:lnTo>
                  <a:pt x="486017" y="25811"/>
                </a:lnTo>
                <a:lnTo>
                  <a:pt x="487552" y="29083"/>
                </a:lnTo>
                <a:lnTo>
                  <a:pt x="486689" y="31558"/>
                </a:lnTo>
                <a:lnTo>
                  <a:pt x="484143" y="33975"/>
                </a:lnTo>
                <a:lnTo>
                  <a:pt x="474286" y="38598"/>
                </a:lnTo>
                <a:lnTo>
                  <a:pt x="458533" y="42888"/>
                </a:lnTo>
                <a:lnTo>
                  <a:pt x="448619" y="44887"/>
                </a:lnTo>
                <a:lnTo>
                  <a:pt x="437439" y="46779"/>
                </a:lnTo>
                <a:lnTo>
                  <a:pt x="425063" y="48555"/>
                </a:lnTo>
                <a:lnTo>
                  <a:pt x="411559" y="50206"/>
                </a:lnTo>
                <a:lnTo>
                  <a:pt x="396997" y="51726"/>
                </a:lnTo>
                <a:lnTo>
                  <a:pt x="381446" y="53106"/>
                </a:lnTo>
                <a:lnTo>
                  <a:pt x="364975" y="54337"/>
                </a:lnTo>
                <a:lnTo>
                  <a:pt x="347654" y="55411"/>
                </a:lnTo>
                <a:lnTo>
                  <a:pt x="329552" y="56322"/>
                </a:lnTo>
                <a:lnTo>
                  <a:pt x="310737" y="57059"/>
                </a:lnTo>
                <a:lnTo>
                  <a:pt x="291280" y="57616"/>
                </a:lnTo>
                <a:lnTo>
                  <a:pt x="271250" y="57983"/>
                </a:lnTo>
                <a:lnTo>
                  <a:pt x="250715" y="58154"/>
                </a:lnTo>
                <a:lnTo>
                  <a:pt x="243712" y="58166"/>
                </a:lnTo>
                <a:lnTo>
                  <a:pt x="223032" y="58063"/>
                </a:lnTo>
                <a:lnTo>
                  <a:pt x="202831" y="57760"/>
                </a:lnTo>
                <a:lnTo>
                  <a:pt x="183179" y="57266"/>
                </a:lnTo>
                <a:lnTo>
                  <a:pt x="164146" y="56587"/>
                </a:lnTo>
                <a:lnTo>
                  <a:pt x="145800" y="55734"/>
                </a:lnTo>
                <a:lnTo>
                  <a:pt x="128212" y="54712"/>
                </a:lnTo>
                <a:lnTo>
                  <a:pt x="111451" y="53532"/>
                </a:lnTo>
                <a:lnTo>
                  <a:pt x="95586" y="52200"/>
                </a:lnTo>
                <a:lnTo>
                  <a:pt x="80686" y="50725"/>
                </a:lnTo>
                <a:lnTo>
                  <a:pt x="66822" y="49115"/>
                </a:lnTo>
                <a:lnTo>
                  <a:pt x="54063" y="47379"/>
                </a:lnTo>
                <a:lnTo>
                  <a:pt x="42478" y="45524"/>
                </a:lnTo>
                <a:lnTo>
                  <a:pt x="32136" y="43558"/>
                </a:lnTo>
                <a:lnTo>
                  <a:pt x="23108" y="41489"/>
                </a:lnTo>
                <a:lnTo>
                  <a:pt x="15462" y="39327"/>
                </a:lnTo>
                <a:lnTo>
                  <a:pt x="4595" y="34751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3" name="object 383"/>
          <p:cNvSpPr/>
          <p:nvPr/>
        </p:nvSpPr>
        <p:spPr>
          <a:xfrm>
            <a:off x="6199379" y="3847731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21"/>
                </a:lnTo>
                <a:lnTo>
                  <a:pt x="4595" y="34705"/>
                </a:lnTo>
                <a:lnTo>
                  <a:pt x="23108" y="41423"/>
                </a:lnTo>
                <a:lnTo>
                  <a:pt x="42478" y="45457"/>
                </a:lnTo>
                <a:lnTo>
                  <a:pt x="66822" y="49055"/>
                </a:lnTo>
                <a:lnTo>
                  <a:pt x="95586" y="52151"/>
                </a:lnTo>
                <a:lnTo>
                  <a:pt x="128212" y="54676"/>
                </a:lnTo>
                <a:lnTo>
                  <a:pt x="145800" y="55704"/>
                </a:lnTo>
                <a:lnTo>
                  <a:pt x="164146" y="56563"/>
                </a:lnTo>
                <a:lnTo>
                  <a:pt x="183179" y="57247"/>
                </a:lnTo>
                <a:lnTo>
                  <a:pt x="202831" y="57745"/>
                </a:lnTo>
                <a:lnTo>
                  <a:pt x="223032" y="58051"/>
                </a:lnTo>
                <a:lnTo>
                  <a:pt x="250715" y="58143"/>
                </a:lnTo>
                <a:lnTo>
                  <a:pt x="271250" y="57970"/>
                </a:lnTo>
                <a:lnTo>
                  <a:pt x="291280" y="57600"/>
                </a:lnTo>
                <a:lnTo>
                  <a:pt x="310737" y="57039"/>
                </a:lnTo>
                <a:lnTo>
                  <a:pt x="329552" y="56296"/>
                </a:lnTo>
                <a:lnTo>
                  <a:pt x="347654" y="55379"/>
                </a:lnTo>
                <a:lnTo>
                  <a:pt x="364975" y="54298"/>
                </a:lnTo>
                <a:lnTo>
                  <a:pt x="381446" y="53061"/>
                </a:lnTo>
                <a:lnTo>
                  <a:pt x="411559" y="50150"/>
                </a:lnTo>
                <a:lnTo>
                  <a:pt x="437439" y="46714"/>
                </a:lnTo>
                <a:lnTo>
                  <a:pt x="458533" y="42820"/>
                </a:lnTo>
                <a:lnTo>
                  <a:pt x="474286" y="38537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4" name="object 384"/>
          <p:cNvSpPr/>
          <p:nvPr/>
        </p:nvSpPr>
        <p:spPr>
          <a:xfrm>
            <a:off x="6199379" y="3847719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2"/>
                </a:lnTo>
                <a:lnTo>
                  <a:pt x="486689" y="31540"/>
                </a:lnTo>
                <a:lnTo>
                  <a:pt x="484143" y="33943"/>
                </a:lnTo>
                <a:lnTo>
                  <a:pt x="474286" y="38548"/>
                </a:lnTo>
                <a:lnTo>
                  <a:pt x="458533" y="42831"/>
                </a:lnTo>
                <a:lnTo>
                  <a:pt x="448619" y="44831"/>
                </a:lnTo>
                <a:lnTo>
                  <a:pt x="437439" y="46725"/>
                </a:lnTo>
                <a:lnTo>
                  <a:pt x="425063" y="48504"/>
                </a:lnTo>
                <a:lnTo>
                  <a:pt x="411559" y="50161"/>
                </a:lnTo>
                <a:lnTo>
                  <a:pt x="396997" y="51686"/>
                </a:lnTo>
                <a:lnTo>
                  <a:pt x="381446" y="53072"/>
                </a:lnTo>
                <a:lnTo>
                  <a:pt x="364975" y="54309"/>
                </a:lnTo>
                <a:lnTo>
                  <a:pt x="347654" y="55390"/>
                </a:lnTo>
                <a:lnTo>
                  <a:pt x="329552" y="56307"/>
                </a:lnTo>
                <a:lnTo>
                  <a:pt x="310737" y="57050"/>
                </a:lnTo>
                <a:lnTo>
                  <a:pt x="291280" y="57611"/>
                </a:lnTo>
                <a:lnTo>
                  <a:pt x="271250" y="57981"/>
                </a:lnTo>
                <a:lnTo>
                  <a:pt x="250715" y="58154"/>
                </a:lnTo>
                <a:lnTo>
                  <a:pt x="243712" y="58165"/>
                </a:lnTo>
                <a:lnTo>
                  <a:pt x="223032" y="58062"/>
                </a:lnTo>
                <a:lnTo>
                  <a:pt x="202831" y="57756"/>
                </a:lnTo>
                <a:lnTo>
                  <a:pt x="183179" y="57258"/>
                </a:lnTo>
                <a:lnTo>
                  <a:pt x="164146" y="56574"/>
                </a:lnTo>
                <a:lnTo>
                  <a:pt x="145800" y="55715"/>
                </a:lnTo>
                <a:lnTo>
                  <a:pt x="128212" y="54687"/>
                </a:lnTo>
                <a:lnTo>
                  <a:pt x="111451" y="53500"/>
                </a:lnTo>
                <a:lnTo>
                  <a:pt x="95586" y="52162"/>
                </a:lnTo>
                <a:lnTo>
                  <a:pt x="80686" y="50681"/>
                </a:lnTo>
                <a:lnTo>
                  <a:pt x="66822" y="49066"/>
                </a:lnTo>
                <a:lnTo>
                  <a:pt x="54063" y="47326"/>
                </a:lnTo>
                <a:lnTo>
                  <a:pt x="42478" y="45468"/>
                </a:lnTo>
                <a:lnTo>
                  <a:pt x="32136" y="43501"/>
                </a:lnTo>
                <a:lnTo>
                  <a:pt x="23108" y="41434"/>
                </a:lnTo>
                <a:lnTo>
                  <a:pt x="15462" y="39276"/>
                </a:lnTo>
                <a:lnTo>
                  <a:pt x="4595" y="34716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5" name="object 385"/>
          <p:cNvSpPr/>
          <p:nvPr/>
        </p:nvSpPr>
        <p:spPr>
          <a:xfrm>
            <a:off x="6685916" y="3523996"/>
            <a:ext cx="469645" cy="206628"/>
          </a:xfrm>
          <a:custGeom>
            <a:avLst/>
            <a:gdLst/>
            <a:ahLst/>
            <a:cxnLst/>
            <a:rect l="l" t="t" r="r" b="b"/>
            <a:pathLst>
              <a:path w="469645" h="206628">
                <a:moveTo>
                  <a:pt x="343407" y="62864"/>
                </a:moveTo>
                <a:lnTo>
                  <a:pt x="325374" y="73913"/>
                </a:lnTo>
                <a:lnTo>
                  <a:pt x="300989" y="80137"/>
                </a:lnTo>
                <a:lnTo>
                  <a:pt x="156844" y="80137"/>
                </a:lnTo>
                <a:lnTo>
                  <a:pt x="156844" y="33781"/>
                </a:lnTo>
                <a:lnTo>
                  <a:pt x="0" y="124205"/>
                </a:lnTo>
                <a:lnTo>
                  <a:pt x="156844" y="206628"/>
                </a:lnTo>
                <a:lnTo>
                  <a:pt x="156844" y="161035"/>
                </a:lnTo>
                <a:lnTo>
                  <a:pt x="300989" y="161035"/>
                </a:lnTo>
                <a:lnTo>
                  <a:pt x="326516" y="160273"/>
                </a:lnTo>
                <a:lnTo>
                  <a:pt x="355091" y="155574"/>
                </a:lnTo>
                <a:lnTo>
                  <a:pt x="377316" y="146938"/>
                </a:lnTo>
                <a:lnTo>
                  <a:pt x="397509" y="139064"/>
                </a:lnTo>
                <a:lnTo>
                  <a:pt x="416559" y="127380"/>
                </a:lnTo>
                <a:lnTo>
                  <a:pt x="432434" y="113156"/>
                </a:lnTo>
                <a:lnTo>
                  <a:pt x="444118" y="102234"/>
                </a:lnTo>
                <a:lnTo>
                  <a:pt x="453643" y="87248"/>
                </a:lnTo>
                <a:lnTo>
                  <a:pt x="458977" y="73913"/>
                </a:lnTo>
                <a:lnTo>
                  <a:pt x="464311" y="55879"/>
                </a:lnTo>
                <a:lnTo>
                  <a:pt x="468502" y="38607"/>
                </a:lnTo>
                <a:lnTo>
                  <a:pt x="469645" y="0"/>
                </a:lnTo>
                <a:lnTo>
                  <a:pt x="357250" y="0"/>
                </a:lnTo>
                <a:lnTo>
                  <a:pt x="357250" y="24383"/>
                </a:lnTo>
                <a:lnTo>
                  <a:pt x="352932" y="48005"/>
                </a:lnTo>
                <a:lnTo>
                  <a:pt x="343407" y="62864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6" name="object 386"/>
          <p:cNvSpPr/>
          <p:nvPr/>
        </p:nvSpPr>
        <p:spPr>
          <a:xfrm>
            <a:off x="6685916" y="3523996"/>
            <a:ext cx="469645" cy="206628"/>
          </a:xfrm>
          <a:custGeom>
            <a:avLst/>
            <a:gdLst/>
            <a:ahLst/>
            <a:cxnLst/>
            <a:rect l="l" t="t" r="r" b="b"/>
            <a:pathLst>
              <a:path w="469645" h="206628">
                <a:moveTo>
                  <a:pt x="156844" y="206628"/>
                </a:moveTo>
                <a:lnTo>
                  <a:pt x="0" y="124205"/>
                </a:lnTo>
                <a:lnTo>
                  <a:pt x="156844" y="33781"/>
                </a:lnTo>
                <a:lnTo>
                  <a:pt x="156844" y="80137"/>
                </a:lnTo>
                <a:lnTo>
                  <a:pt x="300989" y="80137"/>
                </a:lnTo>
                <a:lnTo>
                  <a:pt x="325374" y="73913"/>
                </a:lnTo>
                <a:lnTo>
                  <a:pt x="343407" y="62864"/>
                </a:lnTo>
                <a:lnTo>
                  <a:pt x="352932" y="48005"/>
                </a:lnTo>
                <a:lnTo>
                  <a:pt x="357250" y="24383"/>
                </a:lnTo>
                <a:lnTo>
                  <a:pt x="357250" y="0"/>
                </a:lnTo>
                <a:lnTo>
                  <a:pt x="469645" y="0"/>
                </a:lnTo>
                <a:lnTo>
                  <a:pt x="468502" y="38607"/>
                </a:lnTo>
                <a:lnTo>
                  <a:pt x="464311" y="55879"/>
                </a:lnTo>
                <a:lnTo>
                  <a:pt x="458977" y="73913"/>
                </a:lnTo>
                <a:lnTo>
                  <a:pt x="453643" y="87248"/>
                </a:lnTo>
                <a:lnTo>
                  <a:pt x="444118" y="102234"/>
                </a:lnTo>
                <a:lnTo>
                  <a:pt x="432434" y="113156"/>
                </a:lnTo>
                <a:lnTo>
                  <a:pt x="416559" y="127380"/>
                </a:lnTo>
                <a:lnTo>
                  <a:pt x="397509" y="139064"/>
                </a:lnTo>
                <a:lnTo>
                  <a:pt x="377316" y="146938"/>
                </a:lnTo>
                <a:lnTo>
                  <a:pt x="355091" y="155574"/>
                </a:lnTo>
                <a:lnTo>
                  <a:pt x="326516" y="160273"/>
                </a:lnTo>
                <a:lnTo>
                  <a:pt x="300989" y="161035"/>
                </a:lnTo>
                <a:lnTo>
                  <a:pt x="156844" y="161035"/>
                </a:lnTo>
                <a:lnTo>
                  <a:pt x="156844" y="20662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7" name="object 387"/>
          <p:cNvSpPr/>
          <p:nvPr/>
        </p:nvSpPr>
        <p:spPr>
          <a:xfrm>
            <a:off x="6315965" y="3608831"/>
            <a:ext cx="314833" cy="245110"/>
          </a:xfrm>
          <a:custGeom>
            <a:avLst/>
            <a:gdLst/>
            <a:ahLst/>
            <a:cxnLst/>
            <a:rect l="l" t="t" r="r" b="b"/>
            <a:pathLst>
              <a:path w="314833" h="245110">
                <a:moveTo>
                  <a:pt x="190754" y="162687"/>
                </a:moveTo>
                <a:lnTo>
                  <a:pt x="191896" y="87249"/>
                </a:lnTo>
                <a:lnTo>
                  <a:pt x="200279" y="74676"/>
                </a:lnTo>
                <a:lnTo>
                  <a:pt x="217296" y="65278"/>
                </a:lnTo>
                <a:lnTo>
                  <a:pt x="241681" y="59817"/>
                </a:lnTo>
                <a:lnTo>
                  <a:pt x="276606" y="58166"/>
                </a:lnTo>
                <a:lnTo>
                  <a:pt x="314833" y="58166"/>
                </a:lnTo>
                <a:lnTo>
                  <a:pt x="314833" y="0"/>
                </a:lnTo>
                <a:lnTo>
                  <a:pt x="255396" y="0"/>
                </a:lnTo>
                <a:lnTo>
                  <a:pt x="228981" y="1651"/>
                </a:lnTo>
                <a:lnTo>
                  <a:pt x="200279" y="3937"/>
                </a:lnTo>
                <a:lnTo>
                  <a:pt x="180212" y="7874"/>
                </a:lnTo>
                <a:lnTo>
                  <a:pt x="159003" y="12573"/>
                </a:lnTo>
                <a:lnTo>
                  <a:pt x="140970" y="18161"/>
                </a:lnTo>
                <a:lnTo>
                  <a:pt x="119761" y="27559"/>
                </a:lnTo>
                <a:lnTo>
                  <a:pt x="102743" y="36957"/>
                </a:lnTo>
                <a:lnTo>
                  <a:pt x="91186" y="48006"/>
                </a:lnTo>
                <a:lnTo>
                  <a:pt x="78359" y="58928"/>
                </a:lnTo>
                <a:lnTo>
                  <a:pt x="70993" y="73914"/>
                </a:lnTo>
                <a:lnTo>
                  <a:pt x="69976" y="87249"/>
                </a:lnTo>
                <a:lnTo>
                  <a:pt x="68834" y="162687"/>
                </a:lnTo>
                <a:lnTo>
                  <a:pt x="0" y="162687"/>
                </a:lnTo>
                <a:lnTo>
                  <a:pt x="123951" y="245110"/>
                </a:lnTo>
                <a:lnTo>
                  <a:pt x="262889" y="162687"/>
                </a:lnTo>
                <a:lnTo>
                  <a:pt x="190754" y="162687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8" name="object 388"/>
          <p:cNvSpPr/>
          <p:nvPr/>
        </p:nvSpPr>
        <p:spPr>
          <a:xfrm>
            <a:off x="6315965" y="3608831"/>
            <a:ext cx="314833" cy="245110"/>
          </a:xfrm>
          <a:custGeom>
            <a:avLst/>
            <a:gdLst/>
            <a:ahLst/>
            <a:cxnLst/>
            <a:rect l="l" t="t" r="r" b="b"/>
            <a:pathLst>
              <a:path w="314833" h="245110">
                <a:moveTo>
                  <a:pt x="0" y="162687"/>
                </a:moveTo>
                <a:lnTo>
                  <a:pt x="123951" y="245110"/>
                </a:lnTo>
                <a:lnTo>
                  <a:pt x="262889" y="162687"/>
                </a:lnTo>
                <a:lnTo>
                  <a:pt x="190754" y="162687"/>
                </a:lnTo>
                <a:lnTo>
                  <a:pt x="191896" y="87249"/>
                </a:lnTo>
                <a:lnTo>
                  <a:pt x="200279" y="74676"/>
                </a:lnTo>
                <a:lnTo>
                  <a:pt x="217296" y="65278"/>
                </a:lnTo>
                <a:lnTo>
                  <a:pt x="241681" y="59817"/>
                </a:lnTo>
                <a:lnTo>
                  <a:pt x="276606" y="58166"/>
                </a:lnTo>
                <a:lnTo>
                  <a:pt x="314833" y="58166"/>
                </a:lnTo>
                <a:lnTo>
                  <a:pt x="314833" y="0"/>
                </a:lnTo>
                <a:lnTo>
                  <a:pt x="255396" y="0"/>
                </a:lnTo>
                <a:lnTo>
                  <a:pt x="228981" y="1651"/>
                </a:lnTo>
                <a:lnTo>
                  <a:pt x="200279" y="3937"/>
                </a:lnTo>
                <a:lnTo>
                  <a:pt x="180212" y="7874"/>
                </a:lnTo>
                <a:lnTo>
                  <a:pt x="159003" y="12573"/>
                </a:lnTo>
                <a:lnTo>
                  <a:pt x="140970" y="18161"/>
                </a:lnTo>
                <a:lnTo>
                  <a:pt x="119761" y="27559"/>
                </a:lnTo>
                <a:lnTo>
                  <a:pt x="102743" y="36957"/>
                </a:lnTo>
                <a:lnTo>
                  <a:pt x="91186" y="48006"/>
                </a:lnTo>
                <a:lnTo>
                  <a:pt x="78359" y="58928"/>
                </a:lnTo>
                <a:lnTo>
                  <a:pt x="70993" y="73914"/>
                </a:lnTo>
                <a:lnTo>
                  <a:pt x="69976" y="87249"/>
                </a:lnTo>
                <a:lnTo>
                  <a:pt x="68834" y="162687"/>
                </a:lnTo>
                <a:lnTo>
                  <a:pt x="0" y="1626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9" name="object 389"/>
          <p:cNvSpPr/>
          <p:nvPr/>
        </p:nvSpPr>
        <p:spPr>
          <a:xfrm>
            <a:off x="6199379" y="4066044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44"/>
                </a:lnTo>
                <a:lnTo>
                  <a:pt x="4595" y="34740"/>
                </a:lnTo>
                <a:lnTo>
                  <a:pt x="23108" y="41478"/>
                </a:lnTo>
                <a:lnTo>
                  <a:pt x="42478" y="45512"/>
                </a:lnTo>
                <a:lnTo>
                  <a:pt x="66822" y="49104"/>
                </a:lnTo>
                <a:lnTo>
                  <a:pt x="95586" y="52189"/>
                </a:lnTo>
                <a:lnTo>
                  <a:pt x="128212" y="54701"/>
                </a:lnTo>
                <a:lnTo>
                  <a:pt x="145800" y="55723"/>
                </a:lnTo>
                <a:lnTo>
                  <a:pt x="164146" y="56576"/>
                </a:lnTo>
                <a:lnTo>
                  <a:pt x="183179" y="57255"/>
                </a:lnTo>
                <a:lnTo>
                  <a:pt x="202831" y="57749"/>
                </a:lnTo>
                <a:lnTo>
                  <a:pt x="223032" y="58052"/>
                </a:lnTo>
                <a:lnTo>
                  <a:pt x="250715" y="58143"/>
                </a:lnTo>
                <a:lnTo>
                  <a:pt x="271250" y="57972"/>
                </a:lnTo>
                <a:lnTo>
                  <a:pt x="291280" y="57604"/>
                </a:lnTo>
                <a:lnTo>
                  <a:pt x="310737" y="57048"/>
                </a:lnTo>
                <a:lnTo>
                  <a:pt x="329552" y="56310"/>
                </a:lnTo>
                <a:lnTo>
                  <a:pt x="347654" y="55400"/>
                </a:lnTo>
                <a:lnTo>
                  <a:pt x="364975" y="54326"/>
                </a:lnTo>
                <a:lnTo>
                  <a:pt x="381446" y="53094"/>
                </a:lnTo>
                <a:lnTo>
                  <a:pt x="411559" y="50195"/>
                </a:lnTo>
                <a:lnTo>
                  <a:pt x="437439" y="46768"/>
                </a:lnTo>
                <a:lnTo>
                  <a:pt x="458533" y="42877"/>
                </a:lnTo>
                <a:lnTo>
                  <a:pt x="474286" y="38587"/>
                </a:lnTo>
                <a:lnTo>
                  <a:pt x="487552" y="29071"/>
                </a:lnTo>
                <a:lnTo>
                  <a:pt x="486017" y="25799"/>
                </a:lnTo>
                <a:lnTo>
                  <a:pt x="464382" y="16704"/>
                </a:lnTo>
                <a:lnTo>
                  <a:pt x="445000" y="12674"/>
                </a:lnTo>
                <a:lnTo>
                  <a:pt x="420647" y="9079"/>
                </a:lnTo>
                <a:lnTo>
                  <a:pt x="391878" y="5986"/>
                </a:lnTo>
                <a:lnTo>
                  <a:pt x="359245" y="3463"/>
                </a:lnTo>
                <a:lnTo>
                  <a:pt x="341654" y="2437"/>
                </a:lnTo>
                <a:lnTo>
                  <a:pt x="323305" y="1578"/>
                </a:lnTo>
                <a:lnTo>
                  <a:pt x="304266" y="895"/>
                </a:lnTo>
                <a:lnTo>
                  <a:pt x="284609" y="397"/>
                </a:lnTo>
                <a:lnTo>
                  <a:pt x="264401" y="92"/>
                </a:lnTo>
                <a:lnTo>
                  <a:pt x="236919" y="0"/>
                </a:lnTo>
                <a:lnTo>
                  <a:pt x="216387" y="170"/>
                </a:lnTo>
                <a:lnTo>
                  <a:pt x="196358" y="539"/>
                </a:lnTo>
                <a:lnTo>
                  <a:pt x="176900" y="1099"/>
                </a:lnTo>
                <a:lnTo>
                  <a:pt x="158083" y="1841"/>
                </a:lnTo>
                <a:lnTo>
                  <a:pt x="139977" y="2756"/>
                </a:lnTo>
                <a:lnTo>
                  <a:pt x="122651" y="3837"/>
                </a:lnTo>
                <a:lnTo>
                  <a:pt x="106174" y="5074"/>
                </a:lnTo>
                <a:lnTo>
                  <a:pt x="76047" y="7985"/>
                </a:lnTo>
                <a:lnTo>
                  <a:pt x="50152" y="11422"/>
                </a:lnTo>
                <a:lnTo>
                  <a:pt x="29044" y="15316"/>
                </a:lnTo>
                <a:lnTo>
                  <a:pt x="13279" y="19601"/>
                </a:lnTo>
                <a:lnTo>
                  <a:pt x="864" y="26612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0" name="object 390"/>
          <p:cNvSpPr/>
          <p:nvPr/>
        </p:nvSpPr>
        <p:spPr>
          <a:xfrm>
            <a:off x="6199379" y="4066031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3"/>
                </a:moveTo>
                <a:lnTo>
                  <a:pt x="7573" y="21880"/>
                </a:lnTo>
                <a:lnTo>
                  <a:pt x="20459" y="17425"/>
                </a:lnTo>
                <a:lnTo>
                  <a:pt x="29044" y="15327"/>
                </a:lnTo>
                <a:lnTo>
                  <a:pt x="38965" y="13327"/>
                </a:lnTo>
                <a:lnTo>
                  <a:pt x="50152" y="11433"/>
                </a:lnTo>
                <a:lnTo>
                  <a:pt x="62536" y="9653"/>
                </a:lnTo>
                <a:lnTo>
                  <a:pt x="76047" y="7996"/>
                </a:lnTo>
                <a:lnTo>
                  <a:pt x="90617" y="6471"/>
                </a:lnTo>
                <a:lnTo>
                  <a:pt x="106174" y="5085"/>
                </a:lnTo>
                <a:lnTo>
                  <a:pt x="122651" y="3848"/>
                </a:lnTo>
                <a:lnTo>
                  <a:pt x="139977" y="2767"/>
                </a:lnTo>
                <a:lnTo>
                  <a:pt x="158083" y="1852"/>
                </a:lnTo>
                <a:lnTo>
                  <a:pt x="176900" y="1110"/>
                </a:lnTo>
                <a:lnTo>
                  <a:pt x="196358" y="550"/>
                </a:lnTo>
                <a:lnTo>
                  <a:pt x="216387" y="181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3"/>
                </a:lnTo>
                <a:lnTo>
                  <a:pt x="284609" y="408"/>
                </a:lnTo>
                <a:lnTo>
                  <a:pt x="304266" y="906"/>
                </a:lnTo>
                <a:lnTo>
                  <a:pt x="323305" y="1589"/>
                </a:lnTo>
                <a:lnTo>
                  <a:pt x="341654" y="2448"/>
                </a:lnTo>
                <a:lnTo>
                  <a:pt x="359245" y="3475"/>
                </a:lnTo>
                <a:lnTo>
                  <a:pt x="376010" y="4661"/>
                </a:lnTo>
                <a:lnTo>
                  <a:pt x="391878" y="5997"/>
                </a:lnTo>
                <a:lnTo>
                  <a:pt x="406780" y="7477"/>
                </a:lnTo>
                <a:lnTo>
                  <a:pt x="420647" y="9090"/>
                </a:lnTo>
                <a:lnTo>
                  <a:pt x="433410" y="10829"/>
                </a:lnTo>
                <a:lnTo>
                  <a:pt x="445000" y="12685"/>
                </a:lnTo>
                <a:lnTo>
                  <a:pt x="455347" y="14650"/>
                </a:lnTo>
                <a:lnTo>
                  <a:pt x="464382" y="16715"/>
                </a:lnTo>
                <a:lnTo>
                  <a:pt x="478239" y="21113"/>
                </a:lnTo>
                <a:lnTo>
                  <a:pt x="486017" y="25811"/>
                </a:lnTo>
                <a:lnTo>
                  <a:pt x="487552" y="29083"/>
                </a:lnTo>
                <a:lnTo>
                  <a:pt x="486689" y="31558"/>
                </a:lnTo>
                <a:lnTo>
                  <a:pt x="484143" y="33975"/>
                </a:lnTo>
                <a:lnTo>
                  <a:pt x="474286" y="38598"/>
                </a:lnTo>
                <a:lnTo>
                  <a:pt x="458533" y="42888"/>
                </a:lnTo>
                <a:lnTo>
                  <a:pt x="448619" y="44887"/>
                </a:lnTo>
                <a:lnTo>
                  <a:pt x="437439" y="46779"/>
                </a:lnTo>
                <a:lnTo>
                  <a:pt x="425063" y="48555"/>
                </a:lnTo>
                <a:lnTo>
                  <a:pt x="411559" y="50206"/>
                </a:lnTo>
                <a:lnTo>
                  <a:pt x="396997" y="51726"/>
                </a:lnTo>
                <a:lnTo>
                  <a:pt x="381446" y="53106"/>
                </a:lnTo>
                <a:lnTo>
                  <a:pt x="364975" y="54337"/>
                </a:lnTo>
                <a:lnTo>
                  <a:pt x="347654" y="55411"/>
                </a:lnTo>
                <a:lnTo>
                  <a:pt x="329552" y="56322"/>
                </a:lnTo>
                <a:lnTo>
                  <a:pt x="310737" y="57059"/>
                </a:lnTo>
                <a:lnTo>
                  <a:pt x="291280" y="57616"/>
                </a:lnTo>
                <a:lnTo>
                  <a:pt x="271250" y="57983"/>
                </a:lnTo>
                <a:lnTo>
                  <a:pt x="250715" y="58154"/>
                </a:lnTo>
                <a:lnTo>
                  <a:pt x="243712" y="58166"/>
                </a:lnTo>
                <a:lnTo>
                  <a:pt x="223032" y="58063"/>
                </a:lnTo>
                <a:lnTo>
                  <a:pt x="202831" y="57760"/>
                </a:lnTo>
                <a:lnTo>
                  <a:pt x="183179" y="57266"/>
                </a:lnTo>
                <a:lnTo>
                  <a:pt x="164146" y="56587"/>
                </a:lnTo>
                <a:lnTo>
                  <a:pt x="145800" y="55734"/>
                </a:lnTo>
                <a:lnTo>
                  <a:pt x="128212" y="54712"/>
                </a:lnTo>
                <a:lnTo>
                  <a:pt x="111451" y="53532"/>
                </a:lnTo>
                <a:lnTo>
                  <a:pt x="95586" y="52200"/>
                </a:lnTo>
                <a:lnTo>
                  <a:pt x="80686" y="50725"/>
                </a:lnTo>
                <a:lnTo>
                  <a:pt x="66822" y="49115"/>
                </a:lnTo>
                <a:lnTo>
                  <a:pt x="54063" y="47379"/>
                </a:lnTo>
                <a:lnTo>
                  <a:pt x="42478" y="45524"/>
                </a:lnTo>
                <a:lnTo>
                  <a:pt x="32136" y="43558"/>
                </a:lnTo>
                <a:lnTo>
                  <a:pt x="23108" y="41489"/>
                </a:lnTo>
                <a:lnTo>
                  <a:pt x="15462" y="39327"/>
                </a:lnTo>
                <a:lnTo>
                  <a:pt x="4595" y="34751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1" name="object 391"/>
          <p:cNvSpPr/>
          <p:nvPr/>
        </p:nvSpPr>
        <p:spPr>
          <a:xfrm>
            <a:off x="6199379" y="3847731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21"/>
                </a:lnTo>
                <a:lnTo>
                  <a:pt x="4595" y="34705"/>
                </a:lnTo>
                <a:lnTo>
                  <a:pt x="23108" y="41423"/>
                </a:lnTo>
                <a:lnTo>
                  <a:pt x="42478" y="45457"/>
                </a:lnTo>
                <a:lnTo>
                  <a:pt x="66822" y="49055"/>
                </a:lnTo>
                <a:lnTo>
                  <a:pt x="95586" y="52151"/>
                </a:lnTo>
                <a:lnTo>
                  <a:pt x="128212" y="54676"/>
                </a:lnTo>
                <a:lnTo>
                  <a:pt x="145800" y="55704"/>
                </a:lnTo>
                <a:lnTo>
                  <a:pt x="164146" y="56563"/>
                </a:lnTo>
                <a:lnTo>
                  <a:pt x="183179" y="57247"/>
                </a:lnTo>
                <a:lnTo>
                  <a:pt x="202831" y="57745"/>
                </a:lnTo>
                <a:lnTo>
                  <a:pt x="223032" y="58051"/>
                </a:lnTo>
                <a:lnTo>
                  <a:pt x="250715" y="58143"/>
                </a:lnTo>
                <a:lnTo>
                  <a:pt x="271250" y="57970"/>
                </a:lnTo>
                <a:lnTo>
                  <a:pt x="291280" y="57600"/>
                </a:lnTo>
                <a:lnTo>
                  <a:pt x="310737" y="57039"/>
                </a:lnTo>
                <a:lnTo>
                  <a:pt x="329552" y="56296"/>
                </a:lnTo>
                <a:lnTo>
                  <a:pt x="347654" y="55379"/>
                </a:lnTo>
                <a:lnTo>
                  <a:pt x="364975" y="54298"/>
                </a:lnTo>
                <a:lnTo>
                  <a:pt x="381446" y="53061"/>
                </a:lnTo>
                <a:lnTo>
                  <a:pt x="411559" y="50150"/>
                </a:lnTo>
                <a:lnTo>
                  <a:pt x="437439" y="46714"/>
                </a:lnTo>
                <a:lnTo>
                  <a:pt x="458533" y="42820"/>
                </a:lnTo>
                <a:lnTo>
                  <a:pt x="474286" y="38537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2" name="object 392"/>
          <p:cNvSpPr/>
          <p:nvPr/>
        </p:nvSpPr>
        <p:spPr>
          <a:xfrm>
            <a:off x="6199379" y="3847719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2"/>
                </a:lnTo>
                <a:lnTo>
                  <a:pt x="486689" y="31540"/>
                </a:lnTo>
                <a:lnTo>
                  <a:pt x="484143" y="33943"/>
                </a:lnTo>
                <a:lnTo>
                  <a:pt x="474286" y="38548"/>
                </a:lnTo>
                <a:lnTo>
                  <a:pt x="458533" y="42831"/>
                </a:lnTo>
                <a:lnTo>
                  <a:pt x="448619" y="44831"/>
                </a:lnTo>
                <a:lnTo>
                  <a:pt x="437439" y="46725"/>
                </a:lnTo>
                <a:lnTo>
                  <a:pt x="425063" y="48504"/>
                </a:lnTo>
                <a:lnTo>
                  <a:pt x="411559" y="50161"/>
                </a:lnTo>
                <a:lnTo>
                  <a:pt x="396997" y="51686"/>
                </a:lnTo>
                <a:lnTo>
                  <a:pt x="381446" y="53072"/>
                </a:lnTo>
                <a:lnTo>
                  <a:pt x="364975" y="54309"/>
                </a:lnTo>
                <a:lnTo>
                  <a:pt x="347654" y="55390"/>
                </a:lnTo>
                <a:lnTo>
                  <a:pt x="329552" y="56307"/>
                </a:lnTo>
                <a:lnTo>
                  <a:pt x="310737" y="57050"/>
                </a:lnTo>
                <a:lnTo>
                  <a:pt x="291280" y="57611"/>
                </a:lnTo>
                <a:lnTo>
                  <a:pt x="271250" y="57981"/>
                </a:lnTo>
                <a:lnTo>
                  <a:pt x="250715" y="58154"/>
                </a:lnTo>
                <a:lnTo>
                  <a:pt x="243712" y="58165"/>
                </a:lnTo>
                <a:lnTo>
                  <a:pt x="223032" y="58062"/>
                </a:lnTo>
                <a:lnTo>
                  <a:pt x="202831" y="57756"/>
                </a:lnTo>
                <a:lnTo>
                  <a:pt x="183179" y="57258"/>
                </a:lnTo>
                <a:lnTo>
                  <a:pt x="164146" y="56574"/>
                </a:lnTo>
                <a:lnTo>
                  <a:pt x="145800" y="55715"/>
                </a:lnTo>
                <a:lnTo>
                  <a:pt x="128212" y="54687"/>
                </a:lnTo>
                <a:lnTo>
                  <a:pt x="111451" y="53500"/>
                </a:lnTo>
                <a:lnTo>
                  <a:pt x="95586" y="52162"/>
                </a:lnTo>
                <a:lnTo>
                  <a:pt x="80686" y="50681"/>
                </a:lnTo>
                <a:lnTo>
                  <a:pt x="66822" y="49066"/>
                </a:lnTo>
                <a:lnTo>
                  <a:pt x="54063" y="47326"/>
                </a:lnTo>
                <a:lnTo>
                  <a:pt x="42478" y="45468"/>
                </a:lnTo>
                <a:lnTo>
                  <a:pt x="32136" y="43501"/>
                </a:lnTo>
                <a:lnTo>
                  <a:pt x="23108" y="41434"/>
                </a:lnTo>
                <a:lnTo>
                  <a:pt x="15462" y="39276"/>
                </a:lnTo>
                <a:lnTo>
                  <a:pt x="4595" y="34716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3" name="object 393"/>
          <p:cNvSpPr/>
          <p:nvPr/>
        </p:nvSpPr>
        <p:spPr>
          <a:xfrm>
            <a:off x="6685916" y="3523996"/>
            <a:ext cx="469645" cy="206628"/>
          </a:xfrm>
          <a:custGeom>
            <a:avLst/>
            <a:gdLst/>
            <a:ahLst/>
            <a:cxnLst/>
            <a:rect l="l" t="t" r="r" b="b"/>
            <a:pathLst>
              <a:path w="469645" h="206628">
                <a:moveTo>
                  <a:pt x="343407" y="62864"/>
                </a:moveTo>
                <a:lnTo>
                  <a:pt x="325374" y="73913"/>
                </a:lnTo>
                <a:lnTo>
                  <a:pt x="300989" y="80137"/>
                </a:lnTo>
                <a:lnTo>
                  <a:pt x="156844" y="80137"/>
                </a:lnTo>
                <a:lnTo>
                  <a:pt x="156844" y="33781"/>
                </a:lnTo>
                <a:lnTo>
                  <a:pt x="0" y="124205"/>
                </a:lnTo>
                <a:lnTo>
                  <a:pt x="156844" y="206628"/>
                </a:lnTo>
                <a:lnTo>
                  <a:pt x="156844" y="161035"/>
                </a:lnTo>
                <a:lnTo>
                  <a:pt x="300989" y="161035"/>
                </a:lnTo>
                <a:lnTo>
                  <a:pt x="326516" y="160273"/>
                </a:lnTo>
                <a:lnTo>
                  <a:pt x="355091" y="155574"/>
                </a:lnTo>
                <a:lnTo>
                  <a:pt x="377316" y="146938"/>
                </a:lnTo>
                <a:lnTo>
                  <a:pt x="397509" y="139064"/>
                </a:lnTo>
                <a:lnTo>
                  <a:pt x="416559" y="127380"/>
                </a:lnTo>
                <a:lnTo>
                  <a:pt x="432434" y="113156"/>
                </a:lnTo>
                <a:lnTo>
                  <a:pt x="444118" y="102234"/>
                </a:lnTo>
                <a:lnTo>
                  <a:pt x="453643" y="87248"/>
                </a:lnTo>
                <a:lnTo>
                  <a:pt x="458977" y="73913"/>
                </a:lnTo>
                <a:lnTo>
                  <a:pt x="464311" y="55879"/>
                </a:lnTo>
                <a:lnTo>
                  <a:pt x="468502" y="38607"/>
                </a:lnTo>
                <a:lnTo>
                  <a:pt x="469645" y="0"/>
                </a:lnTo>
                <a:lnTo>
                  <a:pt x="357250" y="0"/>
                </a:lnTo>
                <a:lnTo>
                  <a:pt x="357250" y="24383"/>
                </a:lnTo>
                <a:lnTo>
                  <a:pt x="352932" y="48005"/>
                </a:lnTo>
                <a:lnTo>
                  <a:pt x="343407" y="62864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4" name="object 394"/>
          <p:cNvSpPr/>
          <p:nvPr/>
        </p:nvSpPr>
        <p:spPr>
          <a:xfrm>
            <a:off x="6685916" y="3523996"/>
            <a:ext cx="469645" cy="206628"/>
          </a:xfrm>
          <a:custGeom>
            <a:avLst/>
            <a:gdLst/>
            <a:ahLst/>
            <a:cxnLst/>
            <a:rect l="l" t="t" r="r" b="b"/>
            <a:pathLst>
              <a:path w="469645" h="206628">
                <a:moveTo>
                  <a:pt x="156844" y="206628"/>
                </a:moveTo>
                <a:lnTo>
                  <a:pt x="0" y="124205"/>
                </a:lnTo>
                <a:lnTo>
                  <a:pt x="156844" y="33781"/>
                </a:lnTo>
                <a:lnTo>
                  <a:pt x="156844" y="80137"/>
                </a:lnTo>
                <a:lnTo>
                  <a:pt x="300989" y="80137"/>
                </a:lnTo>
                <a:lnTo>
                  <a:pt x="325374" y="73913"/>
                </a:lnTo>
                <a:lnTo>
                  <a:pt x="343407" y="62864"/>
                </a:lnTo>
                <a:lnTo>
                  <a:pt x="352932" y="48005"/>
                </a:lnTo>
                <a:lnTo>
                  <a:pt x="357250" y="24383"/>
                </a:lnTo>
                <a:lnTo>
                  <a:pt x="357250" y="0"/>
                </a:lnTo>
                <a:lnTo>
                  <a:pt x="469645" y="0"/>
                </a:lnTo>
                <a:lnTo>
                  <a:pt x="468502" y="38607"/>
                </a:lnTo>
                <a:lnTo>
                  <a:pt x="464311" y="55879"/>
                </a:lnTo>
                <a:lnTo>
                  <a:pt x="458977" y="73913"/>
                </a:lnTo>
                <a:lnTo>
                  <a:pt x="453643" y="87248"/>
                </a:lnTo>
                <a:lnTo>
                  <a:pt x="444118" y="102234"/>
                </a:lnTo>
                <a:lnTo>
                  <a:pt x="432434" y="113156"/>
                </a:lnTo>
                <a:lnTo>
                  <a:pt x="416559" y="127380"/>
                </a:lnTo>
                <a:lnTo>
                  <a:pt x="397509" y="139064"/>
                </a:lnTo>
                <a:lnTo>
                  <a:pt x="377316" y="146938"/>
                </a:lnTo>
                <a:lnTo>
                  <a:pt x="355091" y="155574"/>
                </a:lnTo>
                <a:lnTo>
                  <a:pt x="326516" y="160273"/>
                </a:lnTo>
                <a:lnTo>
                  <a:pt x="300989" y="161035"/>
                </a:lnTo>
                <a:lnTo>
                  <a:pt x="156844" y="161035"/>
                </a:lnTo>
                <a:lnTo>
                  <a:pt x="156844" y="20662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5" name="object 395"/>
          <p:cNvSpPr/>
          <p:nvPr/>
        </p:nvSpPr>
        <p:spPr>
          <a:xfrm>
            <a:off x="6315965" y="3608831"/>
            <a:ext cx="314833" cy="245110"/>
          </a:xfrm>
          <a:custGeom>
            <a:avLst/>
            <a:gdLst/>
            <a:ahLst/>
            <a:cxnLst/>
            <a:rect l="l" t="t" r="r" b="b"/>
            <a:pathLst>
              <a:path w="314833" h="245110">
                <a:moveTo>
                  <a:pt x="190754" y="162687"/>
                </a:moveTo>
                <a:lnTo>
                  <a:pt x="191896" y="87249"/>
                </a:lnTo>
                <a:lnTo>
                  <a:pt x="200279" y="74676"/>
                </a:lnTo>
                <a:lnTo>
                  <a:pt x="217296" y="65278"/>
                </a:lnTo>
                <a:lnTo>
                  <a:pt x="241681" y="59817"/>
                </a:lnTo>
                <a:lnTo>
                  <a:pt x="276606" y="58166"/>
                </a:lnTo>
                <a:lnTo>
                  <a:pt x="314833" y="58166"/>
                </a:lnTo>
                <a:lnTo>
                  <a:pt x="314833" y="0"/>
                </a:lnTo>
                <a:lnTo>
                  <a:pt x="255396" y="0"/>
                </a:lnTo>
                <a:lnTo>
                  <a:pt x="228981" y="1651"/>
                </a:lnTo>
                <a:lnTo>
                  <a:pt x="200279" y="3937"/>
                </a:lnTo>
                <a:lnTo>
                  <a:pt x="180212" y="7874"/>
                </a:lnTo>
                <a:lnTo>
                  <a:pt x="159003" y="12573"/>
                </a:lnTo>
                <a:lnTo>
                  <a:pt x="140970" y="18161"/>
                </a:lnTo>
                <a:lnTo>
                  <a:pt x="119761" y="27559"/>
                </a:lnTo>
                <a:lnTo>
                  <a:pt x="102743" y="36957"/>
                </a:lnTo>
                <a:lnTo>
                  <a:pt x="91186" y="48006"/>
                </a:lnTo>
                <a:lnTo>
                  <a:pt x="78359" y="58928"/>
                </a:lnTo>
                <a:lnTo>
                  <a:pt x="70993" y="73914"/>
                </a:lnTo>
                <a:lnTo>
                  <a:pt x="69976" y="87249"/>
                </a:lnTo>
                <a:lnTo>
                  <a:pt x="68834" y="162687"/>
                </a:lnTo>
                <a:lnTo>
                  <a:pt x="0" y="162687"/>
                </a:lnTo>
                <a:lnTo>
                  <a:pt x="123951" y="245110"/>
                </a:lnTo>
                <a:lnTo>
                  <a:pt x="262889" y="162687"/>
                </a:lnTo>
                <a:lnTo>
                  <a:pt x="190754" y="162687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6" name="object 396"/>
          <p:cNvSpPr/>
          <p:nvPr/>
        </p:nvSpPr>
        <p:spPr>
          <a:xfrm>
            <a:off x="6315965" y="3608831"/>
            <a:ext cx="314833" cy="245110"/>
          </a:xfrm>
          <a:custGeom>
            <a:avLst/>
            <a:gdLst/>
            <a:ahLst/>
            <a:cxnLst/>
            <a:rect l="l" t="t" r="r" b="b"/>
            <a:pathLst>
              <a:path w="314833" h="245110">
                <a:moveTo>
                  <a:pt x="0" y="162687"/>
                </a:moveTo>
                <a:lnTo>
                  <a:pt x="123951" y="245110"/>
                </a:lnTo>
                <a:lnTo>
                  <a:pt x="262889" y="162687"/>
                </a:lnTo>
                <a:lnTo>
                  <a:pt x="190754" y="162687"/>
                </a:lnTo>
                <a:lnTo>
                  <a:pt x="191896" y="87249"/>
                </a:lnTo>
                <a:lnTo>
                  <a:pt x="200279" y="74676"/>
                </a:lnTo>
                <a:lnTo>
                  <a:pt x="217296" y="65278"/>
                </a:lnTo>
                <a:lnTo>
                  <a:pt x="241681" y="59817"/>
                </a:lnTo>
                <a:lnTo>
                  <a:pt x="276606" y="58166"/>
                </a:lnTo>
                <a:lnTo>
                  <a:pt x="314833" y="58166"/>
                </a:lnTo>
                <a:lnTo>
                  <a:pt x="314833" y="0"/>
                </a:lnTo>
                <a:lnTo>
                  <a:pt x="255396" y="0"/>
                </a:lnTo>
                <a:lnTo>
                  <a:pt x="228981" y="1651"/>
                </a:lnTo>
                <a:lnTo>
                  <a:pt x="200279" y="3937"/>
                </a:lnTo>
                <a:lnTo>
                  <a:pt x="180212" y="7874"/>
                </a:lnTo>
                <a:lnTo>
                  <a:pt x="159003" y="12573"/>
                </a:lnTo>
                <a:lnTo>
                  <a:pt x="140970" y="18161"/>
                </a:lnTo>
                <a:lnTo>
                  <a:pt x="119761" y="27559"/>
                </a:lnTo>
                <a:lnTo>
                  <a:pt x="102743" y="36957"/>
                </a:lnTo>
                <a:lnTo>
                  <a:pt x="91186" y="48006"/>
                </a:lnTo>
                <a:lnTo>
                  <a:pt x="78359" y="58928"/>
                </a:lnTo>
                <a:lnTo>
                  <a:pt x="70993" y="73914"/>
                </a:lnTo>
                <a:lnTo>
                  <a:pt x="69976" y="87249"/>
                </a:lnTo>
                <a:lnTo>
                  <a:pt x="68834" y="162687"/>
                </a:lnTo>
                <a:lnTo>
                  <a:pt x="0" y="1626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7" name="object 397"/>
          <p:cNvSpPr/>
          <p:nvPr/>
        </p:nvSpPr>
        <p:spPr>
          <a:xfrm>
            <a:off x="6150610" y="3872865"/>
            <a:ext cx="139826" cy="235712"/>
          </a:xfrm>
          <a:custGeom>
            <a:avLst/>
            <a:gdLst/>
            <a:ahLst/>
            <a:cxnLst/>
            <a:rect l="l" t="t" r="r" b="b"/>
            <a:pathLst>
              <a:path w="139826" h="235712">
                <a:moveTo>
                  <a:pt x="0" y="117856"/>
                </a:moveTo>
                <a:lnTo>
                  <a:pt x="490" y="131884"/>
                </a:lnTo>
                <a:lnTo>
                  <a:pt x="2464" y="148989"/>
                </a:lnTo>
                <a:lnTo>
                  <a:pt x="5845" y="165118"/>
                </a:lnTo>
                <a:lnTo>
                  <a:pt x="10520" y="180077"/>
                </a:lnTo>
                <a:lnTo>
                  <a:pt x="16372" y="193672"/>
                </a:lnTo>
                <a:lnTo>
                  <a:pt x="23290" y="205708"/>
                </a:lnTo>
                <a:lnTo>
                  <a:pt x="31157" y="215991"/>
                </a:lnTo>
                <a:lnTo>
                  <a:pt x="39861" y="224327"/>
                </a:lnTo>
                <a:lnTo>
                  <a:pt x="49287" y="230522"/>
                </a:lnTo>
                <a:lnTo>
                  <a:pt x="59321" y="234382"/>
                </a:lnTo>
                <a:lnTo>
                  <a:pt x="69850" y="235712"/>
                </a:lnTo>
                <a:lnTo>
                  <a:pt x="78252" y="234873"/>
                </a:lnTo>
                <a:lnTo>
                  <a:pt x="88421" y="231525"/>
                </a:lnTo>
                <a:lnTo>
                  <a:pt x="98001" y="225804"/>
                </a:lnTo>
                <a:lnTo>
                  <a:pt x="106878" y="217903"/>
                </a:lnTo>
                <a:lnTo>
                  <a:pt x="114939" y="208016"/>
                </a:lnTo>
                <a:lnTo>
                  <a:pt x="122071" y="196338"/>
                </a:lnTo>
                <a:lnTo>
                  <a:pt x="128161" y="183061"/>
                </a:lnTo>
                <a:lnTo>
                  <a:pt x="133095" y="168381"/>
                </a:lnTo>
                <a:lnTo>
                  <a:pt x="136759" y="152490"/>
                </a:lnTo>
                <a:lnTo>
                  <a:pt x="139041" y="135584"/>
                </a:lnTo>
                <a:lnTo>
                  <a:pt x="139826" y="117856"/>
                </a:lnTo>
                <a:lnTo>
                  <a:pt x="139331" y="103720"/>
                </a:lnTo>
                <a:lnTo>
                  <a:pt x="137350" y="86607"/>
                </a:lnTo>
                <a:lnTo>
                  <a:pt x="133963" y="70480"/>
                </a:lnTo>
                <a:lnTo>
                  <a:pt x="129283" y="55530"/>
                </a:lnTo>
                <a:lnTo>
                  <a:pt x="123424" y="41951"/>
                </a:lnTo>
                <a:lnTo>
                  <a:pt x="116499" y="29933"/>
                </a:lnTo>
                <a:lnTo>
                  <a:pt x="108621" y="19669"/>
                </a:lnTo>
                <a:lnTo>
                  <a:pt x="99904" y="11352"/>
                </a:lnTo>
                <a:lnTo>
                  <a:pt x="90461" y="5173"/>
                </a:lnTo>
                <a:lnTo>
                  <a:pt x="80405" y="1325"/>
                </a:lnTo>
                <a:lnTo>
                  <a:pt x="69850" y="0"/>
                </a:lnTo>
                <a:lnTo>
                  <a:pt x="61522" y="826"/>
                </a:lnTo>
                <a:lnTo>
                  <a:pt x="51373" y="4157"/>
                </a:lnTo>
                <a:lnTo>
                  <a:pt x="41808" y="9862"/>
                </a:lnTo>
                <a:lnTo>
                  <a:pt x="32941" y="17748"/>
                </a:lnTo>
                <a:lnTo>
                  <a:pt x="24886" y="27622"/>
                </a:lnTo>
                <a:lnTo>
                  <a:pt x="17758" y="39293"/>
                </a:lnTo>
                <a:lnTo>
                  <a:pt x="11669" y="52567"/>
                </a:lnTo>
                <a:lnTo>
                  <a:pt x="6735" y="67253"/>
                </a:lnTo>
                <a:lnTo>
                  <a:pt x="3069" y="83158"/>
                </a:lnTo>
                <a:lnTo>
                  <a:pt x="786" y="100090"/>
                </a:lnTo>
                <a:lnTo>
                  <a:pt x="0" y="117856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8" name="object 398"/>
          <p:cNvSpPr/>
          <p:nvPr/>
        </p:nvSpPr>
        <p:spPr>
          <a:xfrm>
            <a:off x="6608573" y="3872865"/>
            <a:ext cx="139826" cy="235712"/>
          </a:xfrm>
          <a:custGeom>
            <a:avLst/>
            <a:gdLst/>
            <a:ahLst/>
            <a:cxnLst/>
            <a:rect l="l" t="t" r="r" b="b"/>
            <a:pathLst>
              <a:path w="139826" h="235712">
                <a:moveTo>
                  <a:pt x="0" y="117856"/>
                </a:moveTo>
                <a:lnTo>
                  <a:pt x="490" y="131884"/>
                </a:lnTo>
                <a:lnTo>
                  <a:pt x="2464" y="148989"/>
                </a:lnTo>
                <a:lnTo>
                  <a:pt x="5845" y="165118"/>
                </a:lnTo>
                <a:lnTo>
                  <a:pt x="10520" y="180077"/>
                </a:lnTo>
                <a:lnTo>
                  <a:pt x="16372" y="193672"/>
                </a:lnTo>
                <a:lnTo>
                  <a:pt x="23290" y="205708"/>
                </a:lnTo>
                <a:lnTo>
                  <a:pt x="31157" y="215991"/>
                </a:lnTo>
                <a:lnTo>
                  <a:pt x="39861" y="224327"/>
                </a:lnTo>
                <a:lnTo>
                  <a:pt x="49287" y="230522"/>
                </a:lnTo>
                <a:lnTo>
                  <a:pt x="59321" y="234382"/>
                </a:lnTo>
                <a:lnTo>
                  <a:pt x="69850" y="235712"/>
                </a:lnTo>
                <a:lnTo>
                  <a:pt x="78252" y="234873"/>
                </a:lnTo>
                <a:lnTo>
                  <a:pt x="88421" y="231525"/>
                </a:lnTo>
                <a:lnTo>
                  <a:pt x="98001" y="225804"/>
                </a:lnTo>
                <a:lnTo>
                  <a:pt x="106878" y="217903"/>
                </a:lnTo>
                <a:lnTo>
                  <a:pt x="114939" y="208016"/>
                </a:lnTo>
                <a:lnTo>
                  <a:pt x="122071" y="196338"/>
                </a:lnTo>
                <a:lnTo>
                  <a:pt x="128161" y="183061"/>
                </a:lnTo>
                <a:lnTo>
                  <a:pt x="133095" y="168381"/>
                </a:lnTo>
                <a:lnTo>
                  <a:pt x="136759" y="152490"/>
                </a:lnTo>
                <a:lnTo>
                  <a:pt x="139041" y="135584"/>
                </a:lnTo>
                <a:lnTo>
                  <a:pt x="139826" y="117856"/>
                </a:lnTo>
                <a:lnTo>
                  <a:pt x="139331" y="103720"/>
                </a:lnTo>
                <a:lnTo>
                  <a:pt x="137350" y="86607"/>
                </a:lnTo>
                <a:lnTo>
                  <a:pt x="133963" y="70480"/>
                </a:lnTo>
                <a:lnTo>
                  <a:pt x="129283" y="55530"/>
                </a:lnTo>
                <a:lnTo>
                  <a:pt x="123424" y="41951"/>
                </a:lnTo>
                <a:lnTo>
                  <a:pt x="116499" y="29933"/>
                </a:lnTo>
                <a:lnTo>
                  <a:pt x="108621" y="19669"/>
                </a:lnTo>
                <a:lnTo>
                  <a:pt x="99904" y="11352"/>
                </a:lnTo>
                <a:lnTo>
                  <a:pt x="90461" y="5173"/>
                </a:lnTo>
                <a:lnTo>
                  <a:pt x="80405" y="1325"/>
                </a:lnTo>
                <a:lnTo>
                  <a:pt x="69850" y="0"/>
                </a:lnTo>
                <a:lnTo>
                  <a:pt x="61522" y="826"/>
                </a:lnTo>
                <a:lnTo>
                  <a:pt x="51373" y="4157"/>
                </a:lnTo>
                <a:lnTo>
                  <a:pt x="41808" y="9862"/>
                </a:lnTo>
                <a:lnTo>
                  <a:pt x="32941" y="17748"/>
                </a:lnTo>
                <a:lnTo>
                  <a:pt x="24886" y="27622"/>
                </a:lnTo>
                <a:lnTo>
                  <a:pt x="17758" y="39293"/>
                </a:lnTo>
                <a:lnTo>
                  <a:pt x="11669" y="52567"/>
                </a:lnTo>
                <a:lnTo>
                  <a:pt x="6735" y="67253"/>
                </a:lnTo>
                <a:lnTo>
                  <a:pt x="3069" y="83158"/>
                </a:lnTo>
                <a:lnTo>
                  <a:pt x="786" y="100090"/>
                </a:lnTo>
                <a:lnTo>
                  <a:pt x="0" y="117856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9" name="object 399"/>
          <p:cNvSpPr/>
          <p:nvPr/>
        </p:nvSpPr>
        <p:spPr>
          <a:xfrm>
            <a:off x="6199379" y="4066044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44"/>
                </a:lnTo>
                <a:lnTo>
                  <a:pt x="4595" y="34740"/>
                </a:lnTo>
                <a:lnTo>
                  <a:pt x="23108" y="41478"/>
                </a:lnTo>
                <a:lnTo>
                  <a:pt x="42478" y="45512"/>
                </a:lnTo>
                <a:lnTo>
                  <a:pt x="66822" y="49104"/>
                </a:lnTo>
                <a:lnTo>
                  <a:pt x="95586" y="52189"/>
                </a:lnTo>
                <a:lnTo>
                  <a:pt x="128212" y="54701"/>
                </a:lnTo>
                <a:lnTo>
                  <a:pt x="145800" y="55723"/>
                </a:lnTo>
                <a:lnTo>
                  <a:pt x="164146" y="56576"/>
                </a:lnTo>
                <a:lnTo>
                  <a:pt x="183179" y="57255"/>
                </a:lnTo>
                <a:lnTo>
                  <a:pt x="202831" y="57749"/>
                </a:lnTo>
                <a:lnTo>
                  <a:pt x="223032" y="58052"/>
                </a:lnTo>
                <a:lnTo>
                  <a:pt x="250715" y="58143"/>
                </a:lnTo>
                <a:lnTo>
                  <a:pt x="271250" y="57972"/>
                </a:lnTo>
                <a:lnTo>
                  <a:pt x="291280" y="57604"/>
                </a:lnTo>
                <a:lnTo>
                  <a:pt x="310737" y="57048"/>
                </a:lnTo>
                <a:lnTo>
                  <a:pt x="329552" y="56310"/>
                </a:lnTo>
                <a:lnTo>
                  <a:pt x="347654" y="55400"/>
                </a:lnTo>
                <a:lnTo>
                  <a:pt x="364975" y="54326"/>
                </a:lnTo>
                <a:lnTo>
                  <a:pt x="381446" y="53094"/>
                </a:lnTo>
                <a:lnTo>
                  <a:pt x="411559" y="50195"/>
                </a:lnTo>
                <a:lnTo>
                  <a:pt x="437439" y="46768"/>
                </a:lnTo>
                <a:lnTo>
                  <a:pt x="458533" y="42877"/>
                </a:lnTo>
                <a:lnTo>
                  <a:pt x="474286" y="38587"/>
                </a:lnTo>
                <a:lnTo>
                  <a:pt x="487552" y="29071"/>
                </a:lnTo>
                <a:lnTo>
                  <a:pt x="486017" y="25799"/>
                </a:lnTo>
                <a:lnTo>
                  <a:pt x="464382" y="16704"/>
                </a:lnTo>
                <a:lnTo>
                  <a:pt x="445000" y="12674"/>
                </a:lnTo>
                <a:lnTo>
                  <a:pt x="420647" y="9079"/>
                </a:lnTo>
                <a:lnTo>
                  <a:pt x="391878" y="5986"/>
                </a:lnTo>
                <a:lnTo>
                  <a:pt x="359245" y="3463"/>
                </a:lnTo>
                <a:lnTo>
                  <a:pt x="341654" y="2437"/>
                </a:lnTo>
                <a:lnTo>
                  <a:pt x="323305" y="1578"/>
                </a:lnTo>
                <a:lnTo>
                  <a:pt x="304266" y="895"/>
                </a:lnTo>
                <a:lnTo>
                  <a:pt x="284609" y="397"/>
                </a:lnTo>
                <a:lnTo>
                  <a:pt x="264401" y="92"/>
                </a:lnTo>
                <a:lnTo>
                  <a:pt x="236919" y="0"/>
                </a:lnTo>
                <a:lnTo>
                  <a:pt x="216387" y="170"/>
                </a:lnTo>
                <a:lnTo>
                  <a:pt x="196358" y="539"/>
                </a:lnTo>
                <a:lnTo>
                  <a:pt x="176900" y="1099"/>
                </a:lnTo>
                <a:lnTo>
                  <a:pt x="158083" y="1841"/>
                </a:lnTo>
                <a:lnTo>
                  <a:pt x="139977" y="2756"/>
                </a:lnTo>
                <a:lnTo>
                  <a:pt x="122651" y="3837"/>
                </a:lnTo>
                <a:lnTo>
                  <a:pt x="106174" y="5074"/>
                </a:lnTo>
                <a:lnTo>
                  <a:pt x="76047" y="7985"/>
                </a:lnTo>
                <a:lnTo>
                  <a:pt x="50152" y="11422"/>
                </a:lnTo>
                <a:lnTo>
                  <a:pt x="29044" y="15316"/>
                </a:lnTo>
                <a:lnTo>
                  <a:pt x="13279" y="19601"/>
                </a:lnTo>
                <a:lnTo>
                  <a:pt x="864" y="26612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0" name="object 400"/>
          <p:cNvSpPr/>
          <p:nvPr/>
        </p:nvSpPr>
        <p:spPr>
          <a:xfrm>
            <a:off x="6199379" y="4066031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3"/>
                </a:moveTo>
                <a:lnTo>
                  <a:pt x="7573" y="21880"/>
                </a:lnTo>
                <a:lnTo>
                  <a:pt x="20459" y="17425"/>
                </a:lnTo>
                <a:lnTo>
                  <a:pt x="29044" y="15327"/>
                </a:lnTo>
                <a:lnTo>
                  <a:pt x="38965" y="13327"/>
                </a:lnTo>
                <a:lnTo>
                  <a:pt x="50152" y="11433"/>
                </a:lnTo>
                <a:lnTo>
                  <a:pt x="62536" y="9653"/>
                </a:lnTo>
                <a:lnTo>
                  <a:pt x="76047" y="7996"/>
                </a:lnTo>
                <a:lnTo>
                  <a:pt x="90617" y="6471"/>
                </a:lnTo>
                <a:lnTo>
                  <a:pt x="106174" y="5085"/>
                </a:lnTo>
                <a:lnTo>
                  <a:pt x="122651" y="3848"/>
                </a:lnTo>
                <a:lnTo>
                  <a:pt x="139977" y="2767"/>
                </a:lnTo>
                <a:lnTo>
                  <a:pt x="158083" y="1852"/>
                </a:lnTo>
                <a:lnTo>
                  <a:pt x="176900" y="1110"/>
                </a:lnTo>
                <a:lnTo>
                  <a:pt x="196358" y="550"/>
                </a:lnTo>
                <a:lnTo>
                  <a:pt x="216387" y="181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3"/>
                </a:lnTo>
                <a:lnTo>
                  <a:pt x="284609" y="408"/>
                </a:lnTo>
                <a:lnTo>
                  <a:pt x="304266" y="906"/>
                </a:lnTo>
                <a:lnTo>
                  <a:pt x="323305" y="1589"/>
                </a:lnTo>
                <a:lnTo>
                  <a:pt x="341654" y="2448"/>
                </a:lnTo>
                <a:lnTo>
                  <a:pt x="359245" y="3475"/>
                </a:lnTo>
                <a:lnTo>
                  <a:pt x="376010" y="4661"/>
                </a:lnTo>
                <a:lnTo>
                  <a:pt x="391878" y="5997"/>
                </a:lnTo>
                <a:lnTo>
                  <a:pt x="406780" y="7477"/>
                </a:lnTo>
                <a:lnTo>
                  <a:pt x="420647" y="9090"/>
                </a:lnTo>
                <a:lnTo>
                  <a:pt x="433410" y="10829"/>
                </a:lnTo>
                <a:lnTo>
                  <a:pt x="445000" y="12685"/>
                </a:lnTo>
                <a:lnTo>
                  <a:pt x="455347" y="14650"/>
                </a:lnTo>
                <a:lnTo>
                  <a:pt x="464382" y="16715"/>
                </a:lnTo>
                <a:lnTo>
                  <a:pt x="478239" y="21113"/>
                </a:lnTo>
                <a:lnTo>
                  <a:pt x="486017" y="25811"/>
                </a:lnTo>
                <a:lnTo>
                  <a:pt x="487552" y="29083"/>
                </a:lnTo>
                <a:lnTo>
                  <a:pt x="486689" y="31558"/>
                </a:lnTo>
                <a:lnTo>
                  <a:pt x="484143" y="33975"/>
                </a:lnTo>
                <a:lnTo>
                  <a:pt x="474286" y="38598"/>
                </a:lnTo>
                <a:lnTo>
                  <a:pt x="458533" y="42888"/>
                </a:lnTo>
                <a:lnTo>
                  <a:pt x="448619" y="44887"/>
                </a:lnTo>
                <a:lnTo>
                  <a:pt x="437439" y="46779"/>
                </a:lnTo>
                <a:lnTo>
                  <a:pt x="425063" y="48555"/>
                </a:lnTo>
                <a:lnTo>
                  <a:pt x="411559" y="50206"/>
                </a:lnTo>
                <a:lnTo>
                  <a:pt x="396997" y="51726"/>
                </a:lnTo>
                <a:lnTo>
                  <a:pt x="381446" y="53106"/>
                </a:lnTo>
                <a:lnTo>
                  <a:pt x="364975" y="54337"/>
                </a:lnTo>
                <a:lnTo>
                  <a:pt x="347654" y="55411"/>
                </a:lnTo>
                <a:lnTo>
                  <a:pt x="329552" y="56322"/>
                </a:lnTo>
                <a:lnTo>
                  <a:pt x="310737" y="57059"/>
                </a:lnTo>
                <a:lnTo>
                  <a:pt x="291280" y="57616"/>
                </a:lnTo>
                <a:lnTo>
                  <a:pt x="271250" y="57983"/>
                </a:lnTo>
                <a:lnTo>
                  <a:pt x="250715" y="58154"/>
                </a:lnTo>
                <a:lnTo>
                  <a:pt x="243712" y="58166"/>
                </a:lnTo>
                <a:lnTo>
                  <a:pt x="223032" y="58063"/>
                </a:lnTo>
                <a:lnTo>
                  <a:pt x="202831" y="57760"/>
                </a:lnTo>
                <a:lnTo>
                  <a:pt x="183179" y="57266"/>
                </a:lnTo>
                <a:lnTo>
                  <a:pt x="164146" y="56587"/>
                </a:lnTo>
                <a:lnTo>
                  <a:pt x="145800" y="55734"/>
                </a:lnTo>
                <a:lnTo>
                  <a:pt x="128212" y="54712"/>
                </a:lnTo>
                <a:lnTo>
                  <a:pt x="111451" y="53532"/>
                </a:lnTo>
                <a:lnTo>
                  <a:pt x="95586" y="52200"/>
                </a:lnTo>
                <a:lnTo>
                  <a:pt x="80686" y="50725"/>
                </a:lnTo>
                <a:lnTo>
                  <a:pt x="66822" y="49115"/>
                </a:lnTo>
                <a:lnTo>
                  <a:pt x="54063" y="47379"/>
                </a:lnTo>
                <a:lnTo>
                  <a:pt x="42478" y="45524"/>
                </a:lnTo>
                <a:lnTo>
                  <a:pt x="32136" y="43558"/>
                </a:lnTo>
                <a:lnTo>
                  <a:pt x="23108" y="41489"/>
                </a:lnTo>
                <a:lnTo>
                  <a:pt x="15462" y="39327"/>
                </a:lnTo>
                <a:lnTo>
                  <a:pt x="4595" y="34751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1" name="object 401"/>
          <p:cNvSpPr/>
          <p:nvPr/>
        </p:nvSpPr>
        <p:spPr>
          <a:xfrm>
            <a:off x="6195061" y="3872866"/>
            <a:ext cx="496125" cy="219963"/>
          </a:xfrm>
          <a:custGeom>
            <a:avLst/>
            <a:gdLst/>
            <a:ahLst/>
            <a:cxnLst/>
            <a:rect l="l" t="t" r="r" b="b"/>
            <a:pathLst>
              <a:path w="496125" h="219963">
                <a:moveTo>
                  <a:pt x="0" y="219963"/>
                </a:moveTo>
                <a:lnTo>
                  <a:pt x="496125" y="219963"/>
                </a:lnTo>
                <a:lnTo>
                  <a:pt x="496125" y="0"/>
                </a:lnTo>
                <a:lnTo>
                  <a:pt x="0" y="0"/>
                </a:lnTo>
                <a:lnTo>
                  <a:pt x="0" y="219963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2" name="object 402"/>
          <p:cNvSpPr/>
          <p:nvPr/>
        </p:nvSpPr>
        <p:spPr>
          <a:xfrm>
            <a:off x="6199379" y="3847731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21"/>
                </a:lnTo>
                <a:lnTo>
                  <a:pt x="4595" y="34705"/>
                </a:lnTo>
                <a:lnTo>
                  <a:pt x="23108" y="41423"/>
                </a:lnTo>
                <a:lnTo>
                  <a:pt x="42478" y="45457"/>
                </a:lnTo>
                <a:lnTo>
                  <a:pt x="66822" y="49055"/>
                </a:lnTo>
                <a:lnTo>
                  <a:pt x="95586" y="52151"/>
                </a:lnTo>
                <a:lnTo>
                  <a:pt x="128212" y="54676"/>
                </a:lnTo>
                <a:lnTo>
                  <a:pt x="145800" y="55704"/>
                </a:lnTo>
                <a:lnTo>
                  <a:pt x="164146" y="56563"/>
                </a:lnTo>
                <a:lnTo>
                  <a:pt x="183179" y="57247"/>
                </a:lnTo>
                <a:lnTo>
                  <a:pt x="202831" y="57745"/>
                </a:lnTo>
                <a:lnTo>
                  <a:pt x="223032" y="58051"/>
                </a:lnTo>
                <a:lnTo>
                  <a:pt x="250715" y="58143"/>
                </a:lnTo>
                <a:lnTo>
                  <a:pt x="271250" y="57970"/>
                </a:lnTo>
                <a:lnTo>
                  <a:pt x="291280" y="57600"/>
                </a:lnTo>
                <a:lnTo>
                  <a:pt x="310737" y="57039"/>
                </a:lnTo>
                <a:lnTo>
                  <a:pt x="329552" y="56296"/>
                </a:lnTo>
                <a:lnTo>
                  <a:pt x="347654" y="55379"/>
                </a:lnTo>
                <a:lnTo>
                  <a:pt x="364975" y="54298"/>
                </a:lnTo>
                <a:lnTo>
                  <a:pt x="381446" y="53061"/>
                </a:lnTo>
                <a:lnTo>
                  <a:pt x="411559" y="50150"/>
                </a:lnTo>
                <a:lnTo>
                  <a:pt x="437439" y="46714"/>
                </a:lnTo>
                <a:lnTo>
                  <a:pt x="458533" y="42820"/>
                </a:lnTo>
                <a:lnTo>
                  <a:pt x="474286" y="38537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3" name="object 403"/>
          <p:cNvSpPr/>
          <p:nvPr/>
        </p:nvSpPr>
        <p:spPr>
          <a:xfrm>
            <a:off x="6199379" y="3847719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2"/>
                </a:lnTo>
                <a:lnTo>
                  <a:pt x="486689" y="31540"/>
                </a:lnTo>
                <a:lnTo>
                  <a:pt x="484143" y="33943"/>
                </a:lnTo>
                <a:lnTo>
                  <a:pt x="474286" y="38548"/>
                </a:lnTo>
                <a:lnTo>
                  <a:pt x="458533" y="42831"/>
                </a:lnTo>
                <a:lnTo>
                  <a:pt x="448619" y="44831"/>
                </a:lnTo>
                <a:lnTo>
                  <a:pt x="437439" y="46725"/>
                </a:lnTo>
                <a:lnTo>
                  <a:pt x="425063" y="48504"/>
                </a:lnTo>
                <a:lnTo>
                  <a:pt x="411559" y="50161"/>
                </a:lnTo>
                <a:lnTo>
                  <a:pt x="396997" y="51686"/>
                </a:lnTo>
                <a:lnTo>
                  <a:pt x="381446" y="53072"/>
                </a:lnTo>
                <a:lnTo>
                  <a:pt x="364975" y="54309"/>
                </a:lnTo>
                <a:lnTo>
                  <a:pt x="347654" y="55390"/>
                </a:lnTo>
                <a:lnTo>
                  <a:pt x="329552" y="56307"/>
                </a:lnTo>
                <a:lnTo>
                  <a:pt x="310737" y="57050"/>
                </a:lnTo>
                <a:lnTo>
                  <a:pt x="291280" y="57611"/>
                </a:lnTo>
                <a:lnTo>
                  <a:pt x="271250" y="57981"/>
                </a:lnTo>
                <a:lnTo>
                  <a:pt x="250715" y="58154"/>
                </a:lnTo>
                <a:lnTo>
                  <a:pt x="243712" y="58165"/>
                </a:lnTo>
                <a:lnTo>
                  <a:pt x="223032" y="58062"/>
                </a:lnTo>
                <a:lnTo>
                  <a:pt x="202831" y="57756"/>
                </a:lnTo>
                <a:lnTo>
                  <a:pt x="183179" y="57258"/>
                </a:lnTo>
                <a:lnTo>
                  <a:pt x="164146" y="56574"/>
                </a:lnTo>
                <a:lnTo>
                  <a:pt x="145800" y="55715"/>
                </a:lnTo>
                <a:lnTo>
                  <a:pt x="128212" y="54687"/>
                </a:lnTo>
                <a:lnTo>
                  <a:pt x="111451" y="53500"/>
                </a:lnTo>
                <a:lnTo>
                  <a:pt x="95586" y="52162"/>
                </a:lnTo>
                <a:lnTo>
                  <a:pt x="80686" y="50681"/>
                </a:lnTo>
                <a:lnTo>
                  <a:pt x="66822" y="49066"/>
                </a:lnTo>
                <a:lnTo>
                  <a:pt x="54063" y="47326"/>
                </a:lnTo>
                <a:lnTo>
                  <a:pt x="42478" y="45468"/>
                </a:lnTo>
                <a:lnTo>
                  <a:pt x="32136" y="43501"/>
                </a:lnTo>
                <a:lnTo>
                  <a:pt x="23108" y="41434"/>
                </a:lnTo>
                <a:lnTo>
                  <a:pt x="15462" y="39276"/>
                </a:lnTo>
                <a:lnTo>
                  <a:pt x="4595" y="34716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4751196" y="4758944"/>
            <a:ext cx="0" cy="160274"/>
          </a:xfrm>
          <a:custGeom>
            <a:avLst/>
            <a:gdLst/>
            <a:ahLst/>
            <a:cxnLst/>
            <a:rect l="l" t="t" r="r" b="b"/>
            <a:pathLst>
              <a:path h="160274">
                <a:moveTo>
                  <a:pt x="0" y="0"/>
                </a:moveTo>
                <a:lnTo>
                  <a:pt x="0" y="160273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5374513" y="4749546"/>
            <a:ext cx="0" cy="188468"/>
          </a:xfrm>
          <a:custGeom>
            <a:avLst/>
            <a:gdLst/>
            <a:ahLst/>
            <a:cxnLst/>
            <a:rect l="l" t="t" r="r" b="b"/>
            <a:pathLst>
              <a:path h="188468">
                <a:moveTo>
                  <a:pt x="0" y="0"/>
                </a:moveTo>
                <a:lnTo>
                  <a:pt x="0" y="188467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6012688" y="4758944"/>
            <a:ext cx="0" cy="160274"/>
          </a:xfrm>
          <a:custGeom>
            <a:avLst/>
            <a:gdLst/>
            <a:ahLst/>
            <a:cxnLst/>
            <a:rect l="l" t="t" r="r" b="b"/>
            <a:pathLst>
              <a:path h="160274">
                <a:moveTo>
                  <a:pt x="0" y="0"/>
                </a:moveTo>
                <a:lnTo>
                  <a:pt x="0" y="160273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6621273" y="4758944"/>
            <a:ext cx="0" cy="160274"/>
          </a:xfrm>
          <a:custGeom>
            <a:avLst/>
            <a:gdLst/>
            <a:ahLst/>
            <a:cxnLst/>
            <a:rect l="l" t="t" r="r" b="b"/>
            <a:pathLst>
              <a:path h="160274">
                <a:moveTo>
                  <a:pt x="0" y="0"/>
                </a:moveTo>
                <a:lnTo>
                  <a:pt x="0" y="160273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4127880" y="4749546"/>
            <a:ext cx="0" cy="179070"/>
          </a:xfrm>
          <a:custGeom>
            <a:avLst/>
            <a:gdLst/>
            <a:ahLst/>
            <a:cxnLst/>
            <a:rect l="l" t="t" r="r" b="b"/>
            <a:pathLst>
              <a:path h="179070">
                <a:moveTo>
                  <a:pt x="0" y="0"/>
                </a:moveTo>
                <a:lnTo>
                  <a:pt x="0" y="179069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4127881" y="4749546"/>
            <a:ext cx="2493391" cy="0"/>
          </a:xfrm>
          <a:custGeom>
            <a:avLst/>
            <a:gdLst/>
            <a:ahLst/>
            <a:cxnLst/>
            <a:rect l="l" t="t" r="r" b="b"/>
            <a:pathLst>
              <a:path w="2493391">
                <a:moveTo>
                  <a:pt x="0" y="0"/>
                </a:moveTo>
                <a:lnTo>
                  <a:pt x="2493391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5374513" y="4589273"/>
            <a:ext cx="0" cy="150875"/>
          </a:xfrm>
          <a:custGeom>
            <a:avLst/>
            <a:gdLst/>
            <a:ahLst/>
            <a:cxnLst/>
            <a:rect l="l" t="t" r="r" b="b"/>
            <a:pathLst>
              <a:path h="150875">
                <a:moveTo>
                  <a:pt x="0" y="0"/>
                </a:moveTo>
                <a:lnTo>
                  <a:pt x="0" y="150875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3884041" y="5150243"/>
            <a:ext cx="487680" cy="58015"/>
          </a:xfrm>
          <a:custGeom>
            <a:avLst/>
            <a:gdLst/>
            <a:ahLst/>
            <a:cxnLst/>
            <a:rect l="l" t="t" r="r" b="b"/>
            <a:pathLst>
              <a:path w="487680" h="58015">
                <a:moveTo>
                  <a:pt x="0" y="28944"/>
                </a:moveTo>
                <a:lnTo>
                  <a:pt x="1536" y="32239"/>
                </a:lnTo>
                <a:lnTo>
                  <a:pt x="4634" y="34633"/>
                </a:lnTo>
                <a:lnTo>
                  <a:pt x="23191" y="41366"/>
                </a:lnTo>
                <a:lnTo>
                  <a:pt x="42586" y="45397"/>
                </a:lnTo>
                <a:lnTo>
                  <a:pt x="66951" y="48985"/>
                </a:lnTo>
                <a:lnTo>
                  <a:pt x="95729" y="52067"/>
                </a:lnTo>
                <a:lnTo>
                  <a:pt x="128363" y="54577"/>
                </a:lnTo>
                <a:lnTo>
                  <a:pt x="145952" y="55597"/>
                </a:lnTo>
                <a:lnTo>
                  <a:pt x="164297" y="56450"/>
                </a:lnTo>
                <a:lnTo>
                  <a:pt x="183328" y="57128"/>
                </a:lnTo>
                <a:lnTo>
                  <a:pt x="202975" y="57622"/>
                </a:lnTo>
                <a:lnTo>
                  <a:pt x="223169" y="57924"/>
                </a:lnTo>
                <a:lnTo>
                  <a:pt x="250842" y="58015"/>
                </a:lnTo>
                <a:lnTo>
                  <a:pt x="271377" y="57845"/>
                </a:lnTo>
                <a:lnTo>
                  <a:pt x="291407" y="57477"/>
                </a:lnTo>
                <a:lnTo>
                  <a:pt x="310864" y="56920"/>
                </a:lnTo>
                <a:lnTo>
                  <a:pt x="329679" y="56183"/>
                </a:lnTo>
                <a:lnTo>
                  <a:pt x="347781" y="55273"/>
                </a:lnTo>
                <a:lnTo>
                  <a:pt x="365102" y="54198"/>
                </a:lnTo>
                <a:lnTo>
                  <a:pt x="381573" y="52967"/>
                </a:lnTo>
                <a:lnTo>
                  <a:pt x="411686" y="50068"/>
                </a:lnTo>
                <a:lnTo>
                  <a:pt x="437566" y="46640"/>
                </a:lnTo>
                <a:lnTo>
                  <a:pt x="458660" y="42749"/>
                </a:lnTo>
                <a:lnTo>
                  <a:pt x="474413" y="38459"/>
                </a:lnTo>
                <a:lnTo>
                  <a:pt x="487680" y="28944"/>
                </a:lnTo>
                <a:lnTo>
                  <a:pt x="486147" y="25676"/>
                </a:lnTo>
                <a:lnTo>
                  <a:pt x="464516" y="16602"/>
                </a:lnTo>
                <a:lnTo>
                  <a:pt x="445135" y="12589"/>
                </a:lnTo>
                <a:lnTo>
                  <a:pt x="420782" y="9013"/>
                </a:lnTo>
                <a:lnTo>
                  <a:pt x="392012" y="5939"/>
                </a:lnTo>
                <a:lnTo>
                  <a:pt x="359379" y="3434"/>
                </a:lnTo>
                <a:lnTo>
                  <a:pt x="341786" y="2415"/>
                </a:lnTo>
                <a:lnTo>
                  <a:pt x="323436" y="1563"/>
                </a:lnTo>
                <a:lnTo>
                  <a:pt x="304397" y="886"/>
                </a:lnTo>
                <a:lnTo>
                  <a:pt x="284738" y="393"/>
                </a:lnTo>
                <a:lnTo>
                  <a:pt x="264529" y="90"/>
                </a:lnTo>
                <a:lnTo>
                  <a:pt x="236868" y="0"/>
                </a:lnTo>
                <a:lnTo>
                  <a:pt x="216347" y="170"/>
                </a:lnTo>
                <a:lnTo>
                  <a:pt x="196328" y="537"/>
                </a:lnTo>
                <a:lnTo>
                  <a:pt x="176878" y="1093"/>
                </a:lnTo>
                <a:lnTo>
                  <a:pt x="158069" y="1830"/>
                </a:lnTo>
                <a:lnTo>
                  <a:pt x="139968" y="2738"/>
                </a:lnTo>
                <a:lnTo>
                  <a:pt x="122647" y="3811"/>
                </a:lnTo>
                <a:lnTo>
                  <a:pt x="106173" y="5040"/>
                </a:lnTo>
                <a:lnTo>
                  <a:pt x="76051" y="7932"/>
                </a:lnTo>
                <a:lnTo>
                  <a:pt x="50157" y="11348"/>
                </a:lnTo>
                <a:lnTo>
                  <a:pt x="29048" y="15223"/>
                </a:lnTo>
                <a:lnTo>
                  <a:pt x="13281" y="19491"/>
                </a:lnTo>
                <a:lnTo>
                  <a:pt x="864" y="26487"/>
                </a:lnTo>
                <a:lnTo>
                  <a:pt x="0" y="28944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3884041" y="5150231"/>
            <a:ext cx="487680" cy="58038"/>
          </a:xfrm>
          <a:custGeom>
            <a:avLst/>
            <a:gdLst/>
            <a:ahLst/>
            <a:cxnLst/>
            <a:rect l="l" t="t" r="r" b="b"/>
            <a:pathLst>
              <a:path w="487680" h="58038">
                <a:moveTo>
                  <a:pt x="0" y="28956"/>
                </a:moveTo>
                <a:lnTo>
                  <a:pt x="7575" y="21764"/>
                </a:lnTo>
                <a:lnTo>
                  <a:pt x="20462" y="17324"/>
                </a:lnTo>
                <a:lnTo>
                  <a:pt x="29048" y="15235"/>
                </a:lnTo>
                <a:lnTo>
                  <a:pt x="38969" y="13244"/>
                </a:lnTo>
                <a:lnTo>
                  <a:pt x="50157" y="11360"/>
                </a:lnTo>
                <a:lnTo>
                  <a:pt x="62540" y="9590"/>
                </a:lnTo>
                <a:lnTo>
                  <a:pt x="76051" y="7943"/>
                </a:lnTo>
                <a:lnTo>
                  <a:pt x="90618" y="6428"/>
                </a:lnTo>
                <a:lnTo>
                  <a:pt x="106173" y="5051"/>
                </a:lnTo>
                <a:lnTo>
                  <a:pt x="122647" y="3823"/>
                </a:lnTo>
                <a:lnTo>
                  <a:pt x="139968" y="2750"/>
                </a:lnTo>
                <a:lnTo>
                  <a:pt x="158069" y="1841"/>
                </a:lnTo>
                <a:lnTo>
                  <a:pt x="176878" y="1105"/>
                </a:lnTo>
                <a:lnTo>
                  <a:pt x="196328" y="549"/>
                </a:lnTo>
                <a:lnTo>
                  <a:pt x="216347" y="181"/>
                </a:lnTo>
                <a:lnTo>
                  <a:pt x="236868" y="11"/>
                </a:lnTo>
                <a:lnTo>
                  <a:pt x="243839" y="0"/>
                </a:lnTo>
                <a:lnTo>
                  <a:pt x="264529" y="102"/>
                </a:lnTo>
                <a:lnTo>
                  <a:pt x="284738" y="404"/>
                </a:lnTo>
                <a:lnTo>
                  <a:pt x="304397" y="898"/>
                </a:lnTo>
                <a:lnTo>
                  <a:pt x="323436" y="1575"/>
                </a:lnTo>
                <a:lnTo>
                  <a:pt x="341786" y="2427"/>
                </a:lnTo>
                <a:lnTo>
                  <a:pt x="359379" y="3446"/>
                </a:lnTo>
                <a:lnTo>
                  <a:pt x="376144" y="4623"/>
                </a:lnTo>
                <a:lnTo>
                  <a:pt x="392012" y="5951"/>
                </a:lnTo>
                <a:lnTo>
                  <a:pt x="406915" y="7421"/>
                </a:lnTo>
                <a:lnTo>
                  <a:pt x="420782" y="9024"/>
                </a:lnTo>
                <a:lnTo>
                  <a:pt x="433545" y="10754"/>
                </a:lnTo>
                <a:lnTo>
                  <a:pt x="445135" y="12601"/>
                </a:lnTo>
                <a:lnTo>
                  <a:pt x="455481" y="14557"/>
                </a:lnTo>
                <a:lnTo>
                  <a:pt x="464516" y="16614"/>
                </a:lnTo>
                <a:lnTo>
                  <a:pt x="478371" y="20998"/>
                </a:lnTo>
                <a:lnTo>
                  <a:pt x="486147" y="25688"/>
                </a:lnTo>
                <a:lnTo>
                  <a:pt x="487680" y="28956"/>
                </a:lnTo>
                <a:lnTo>
                  <a:pt x="486816" y="31431"/>
                </a:lnTo>
                <a:lnTo>
                  <a:pt x="484270" y="33848"/>
                </a:lnTo>
                <a:lnTo>
                  <a:pt x="474413" y="38471"/>
                </a:lnTo>
                <a:lnTo>
                  <a:pt x="458660" y="42761"/>
                </a:lnTo>
                <a:lnTo>
                  <a:pt x="448746" y="44760"/>
                </a:lnTo>
                <a:lnTo>
                  <a:pt x="437566" y="46652"/>
                </a:lnTo>
                <a:lnTo>
                  <a:pt x="425190" y="48428"/>
                </a:lnTo>
                <a:lnTo>
                  <a:pt x="411686" y="50079"/>
                </a:lnTo>
                <a:lnTo>
                  <a:pt x="397124" y="51599"/>
                </a:lnTo>
                <a:lnTo>
                  <a:pt x="381573" y="52979"/>
                </a:lnTo>
                <a:lnTo>
                  <a:pt x="365102" y="54210"/>
                </a:lnTo>
                <a:lnTo>
                  <a:pt x="347781" y="55284"/>
                </a:lnTo>
                <a:lnTo>
                  <a:pt x="329679" y="56195"/>
                </a:lnTo>
                <a:lnTo>
                  <a:pt x="310864" y="56932"/>
                </a:lnTo>
                <a:lnTo>
                  <a:pt x="291407" y="57489"/>
                </a:lnTo>
                <a:lnTo>
                  <a:pt x="271377" y="57856"/>
                </a:lnTo>
                <a:lnTo>
                  <a:pt x="250842" y="58027"/>
                </a:lnTo>
                <a:lnTo>
                  <a:pt x="243839" y="58039"/>
                </a:lnTo>
                <a:lnTo>
                  <a:pt x="223169" y="57936"/>
                </a:lnTo>
                <a:lnTo>
                  <a:pt x="202975" y="57634"/>
                </a:lnTo>
                <a:lnTo>
                  <a:pt x="183328" y="57140"/>
                </a:lnTo>
                <a:lnTo>
                  <a:pt x="164297" y="56462"/>
                </a:lnTo>
                <a:lnTo>
                  <a:pt x="145952" y="55609"/>
                </a:lnTo>
                <a:lnTo>
                  <a:pt x="128363" y="54589"/>
                </a:lnTo>
                <a:lnTo>
                  <a:pt x="111598" y="53409"/>
                </a:lnTo>
                <a:lnTo>
                  <a:pt x="95729" y="52079"/>
                </a:lnTo>
                <a:lnTo>
                  <a:pt x="80823" y="50605"/>
                </a:lnTo>
                <a:lnTo>
                  <a:pt x="66951" y="48997"/>
                </a:lnTo>
                <a:lnTo>
                  <a:pt x="54182" y="47262"/>
                </a:lnTo>
                <a:lnTo>
                  <a:pt x="42586" y="45408"/>
                </a:lnTo>
                <a:lnTo>
                  <a:pt x="32233" y="43444"/>
                </a:lnTo>
                <a:lnTo>
                  <a:pt x="23191" y="41378"/>
                </a:lnTo>
                <a:lnTo>
                  <a:pt x="15531" y="39217"/>
                </a:lnTo>
                <a:lnTo>
                  <a:pt x="4634" y="34645"/>
                </a:lnTo>
                <a:lnTo>
                  <a:pt x="0" y="28956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3879852" y="5013503"/>
            <a:ext cx="496125" cy="163398"/>
          </a:xfrm>
          <a:custGeom>
            <a:avLst/>
            <a:gdLst/>
            <a:ahLst/>
            <a:cxnLst/>
            <a:rect l="l" t="t" r="r" b="b"/>
            <a:pathLst>
              <a:path w="496125" h="163398">
                <a:moveTo>
                  <a:pt x="0" y="163398"/>
                </a:moveTo>
                <a:lnTo>
                  <a:pt x="496125" y="163398"/>
                </a:lnTo>
                <a:lnTo>
                  <a:pt x="496125" y="0"/>
                </a:lnTo>
                <a:lnTo>
                  <a:pt x="0" y="0"/>
                </a:lnTo>
                <a:lnTo>
                  <a:pt x="0" y="163398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3884041" y="4999367"/>
            <a:ext cx="487680" cy="58142"/>
          </a:xfrm>
          <a:custGeom>
            <a:avLst/>
            <a:gdLst/>
            <a:ahLst/>
            <a:cxnLst/>
            <a:rect l="l" t="t" r="r" b="b"/>
            <a:pathLst>
              <a:path w="487680" h="58142">
                <a:moveTo>
                  <a:pt x="0" y="29071"/>
                </a:moveTo>
                <a:lnTo>
                  <a:pt x="1536" y="32343"/>
                </a:lnTo>
                <a:lnTo>
                  <a:pt x="4634" y="34725"/>
                </a:lnTo>
                <a:lnTo>
                  <a:pt x="23191" y="41438"/>
                </a:lnTo>
                <a:lnTo>
                  <a:pt x="42586" y="45468"/>
                </a:lnTo>
                <a:lnTo>
                  <a:pt x="66951" y="49063"/>
                </a:lnTo>
                <a:lnTo>
                  <a:pt x="95729" y="52156"/>
                </a:lnTo>
                <a:lnTo>
                  <a:pt x="128363" y="54679"/>
                </a:lnTo>
                <a:lnTo>
                  <a:pt x="145952" y="55705"/>
                </a:lnTo>
                <a:lnTo>
                  <a:pt x="164297" y="56564"/>
                </a:lnTo>
                <a:lnTo>
                  <a:pt x="183328" y="57247"/>
                </a:lnTo>
                <a:lnTo>
                  <a:pt x="202975" y="57745"/>
                </a:lnTo>
                <a:lnTo>
                  <a:pt x="223169" y="58050"/>
                </a:lnTo>
                <a:lnTo>
                  <a:pt x="250842" y="58142"/>
                </a:lnTo>
                <a:lnTo>
                  <a:pt x="271377" y="57970"/>
                </a:lnTo>
                <a:lnTo>
                  <a:pt x="291407" y="57599"/>
                </a:lnTo>
                <a:lnTo>
                  <a:pt x="310864" y="57038"/>
                </a:lnTo>
                <a:lnTo>
                  <a:pt x="329679" y="56295"/>
                </a:lnTo>
                <a:lnTo>
                  <a:pt x="347781" y="55379"/>
                </a:lnTo>
                <a:lnTo>
                  <a:pt x="365102" y="54298"/>
                </a:lnTo>
                <a:lnTo>
                  <a:pt x="381573" y="53060"/>
                </a:lnTo>
                <a:lnTo>
                  <a:pt x="411686" y="50149"/>
                </a:lnTo>
                <a:lnTo>
                  <a:pt x="437566" y="46713"/>
                </a:lnTo>
                <a:lnTo>
                  <a:pt x="458660" y="42820"/>
                </a:lnTo>
                <a:lnTo>
                  <a:pt x="474413" y="38537"/>
                </a:lnTo>
                <a:lnTo>
                  <a:pt x="487680" y="29071"/>
                </a:lnTo>
                <a:lnTo>
                  <a:pt x="486144" y="25776"/>
                </a:lnTo>
                <a:lnTo>
                  <a:pt x="464509" y="16649"/>
                </a:lnTo>
                <a:lnTo>
                  <a:pt x="445127" y="12618"/>
                </a:lnTo>
                <a:lnTo>
                  <a:pt x="420774" y="9029"/>
                </a:lnTo>
                <a:lnTo>
                  <a:pt x="392005" y="5947"/>
                </a:lnTo>
                <a:lnTo>
                  <a:pt x="359372" y="3438"/>
                </a:lnTo>
                <a:lnTo>
                  <a:pt x="341781" y="2417"/>
                </a:lnTo>
                <a:lnTo>
                  <a:pt x="323432" y="1564"/>
                </a:lnTo>
                <a:lnTo>
                  <a:pt x="304393" y="887"/>
                </a:lnTo>
                <a:lnTo>
                  <a:pt x="284736" y="393"/>
                </a:lnTo>
                <a:lnTo>
                  <a:pt x="264528" y="90"/>
                </a:lnTo>
                <a:lnTo>
                  <a:pt x="236843" y="0"/>
                </a:lnTo>
                <a:lnTo>
                  <a:pt x="216325" y="170"/>
                </a:lnTo>
                <a:lnTo>
                  <a:pt x="196307" y="538"/>
                </a:lnTo>
                <a:lnTo>
                  <a:pt x="176860" y="1094"/>
                </a:lnTo>
                <a:lnTo>
                  <a:pt x="158052" y="1832"/>
                </a:lnTo>
                <a:lnTo>
                  <a:pt x="139953" y="2742"/>
                </a:lnTo>
                <a:lnTo>
                  <a:pt x="122633" y="3817"/>
                </a:lnTo>
                <a:lnTo>
                  <a:pt x="106162" y="5048"/>
                </a:lnTo>
                <a:lnTo>
                  <a:pt x="76042" y="7947"/>
                </a:lnTo>
                <a:lnTo>
                  <a:pt x="50151" y="11374"/>
                </a:lnTo>
                <a:lnTo>
                  <a:pt x="29044" y="15266"/>
                </a:lnTo>
                <a:lnTo>
                  <a:pt x="13279" y="19555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3884041" y="4999356"/>
            <a:ext cx="487680" cy="58165"/>
          </a:xfrm>
          <a:custGeom>
            <a:avLst/>
            <a:gdLst/>
            <a:ahLst/>
            <a:cxnLst/>
            <a:rect l="l" t="t" r="r" b="b"/>
            <a:pathLst>
              <a:path w="487680" h="58165">
                <a:moveTo>
                  <a:pt x="0" y="29083"/>
                </a:moveTo>
                <a:lnTo>
                  <a:pt x="7574" y="21841"/>
                </a:lnTo>
                <a:lnTo>
                  <a:pt x="20459" y="17376"/>
                </a:lnTo>
                <a:lnTo>
                  <a:pt x="29044" y="15277"/>
                </a:lnTo>
                <a:lnTo>
                  <a:pt x="38965" y="13278"/>
                </a:lnTo>
                <a:lnTo>
                  <a:pt x="50151" y="11386"/>
                </a:lnTo>
                <a:lnTo>
                  <a:pt x="62533" y="9610"/>
                </a:lnTo>
                <a:lnTo>
                  <a:pt x="76042" y="7959"/>
                </a:lnTo>
                <a:lnTo>
                  <a:pt x="90608" y="6439"/>
                </a:lnTo>
                <a:lnTo>
                  <a:pt x="106162" y="5059"/>
                </a:lnTo>
                <a:lnTo>
                  <a:pt x="122633" y="3828"/>
                </a:lnTo>
                <a:lnTo>
                  <a:pt x="139953" y="2754"/>
                </a:lnTo>
                <a:lnTo>
                  <a:pt x="158052" y="1843"/>
                </a:lnTo>
                <a:lnTo>
                  <a:pt x="176860" y="1106"/>
                </a:lnTo>
                <a:lnTo>
                  <a:pt x="196307" y="549"/>
                </a:lnTo>
                <a:lnTo>
                  <a:pt x="216325" y="182"/>
                </a:lnTo>
                <a:lnTo>
                  <a:pt x="236843" y="11"/>
                </a:lnTo>
                <a:lnTo>
                  <a:pt x="243839" y="0"/>
                </a:lnTo>
                <a:lnTo>
                  <a:pt x="264528" y="102"/>
                </a:lnTo>
                <a:lnTo>
                  <a:pt x="284736" y="404"/>
                </a:lnTo>
                <a:lnTo>
                  <a:pt x="304393" y="898"/>
                </a:lnTo>
                <a:lnTo>
                  <a:pt x="323432" y="1576"/>
                </a:lnTo>
                <a:lnTo>
                  <a:pt x="341781" y="2429"/>
                </a:lnTo>
                <a:lnTo>
                  <a:pt x="359372" y="3449"/>
                </a:lnTo>
                <a:lnTo>
                  <a:pt x="376137" y="4629"/>
                </a:lnTo>
                <a:lnTo>
                  <a:pt x="392005" y="5959"/>
                </a:lnTo>
                <a:lnTo>
                  <a:pt x="406907" y="7433"/>
                </a:lnTo>
                <a:lnTo>
                  <a:pt x="420774" y="9041"/>
                </a:lnTo>
                <a:lnTo>
                  <a:pt x="433537" y="10776"/>
                </a:lnTo>
                <a:lnTo>
                  <a:pt x="445127" y="12630"/>
                </a:lnTo>
                <a:lnTo>
                  <a:pt x="455474" y="14594"/>
                </a:lnTo>
                <a:lnTo>
                  <a:pt x="464509" y="16660"/>
                </a:lnTo>
                <a:lnTo>
                  <a:pt x="478366" y="21068"/>
                </a:lnTo>
                <a:lnTo>
                  <a:pt x="486144" y="25788"/>
                </a:lnTo>
                <a:lnTo>
                  <a:pt x="487680" y="29083"/>
                </a:lnTo>
                <a:lnTo>
                  <a:pt x="486816" y="31540"/>
                </a:lnTo>
                <a:lnTo>
                  <a:pt x="484270" y="33943"/>
                </a:lnTo>
                <a:lnTo>
                  <a:pt x="474413" y="38548"/>
                </a:lnTo>
                <a:lnTo>
                  <a:pt x="458660" y="42831"/>
                </a:lnTo>
                <a:lnTo>
                  <a:pt x="448746" y="44831"/>
                </a:lnTo>
                <a:lnTo>
                  <a:pt x="437566" y="46725"/>
                </a:lnTo>
                <a:lnTo>
                  <a:pt x="425190" y="48504"/>
                </a:lnTo>
                <a:lnTo>
                  <a:pt x="411686" y="50161"/>
                </a:lnTo>
                <a:lnTo>
                  <a:pt x="397124" y="51686"/>
                </a:lnTo>
                <a:lnTo>
                  <a:pt x="381573" y="53072"/>
                </a:lnTo>
                <a:lnTo>
                  <a:pt x="365102" y="54309"/>
                </a:lnTo>
                <a:lnTo>
                  <a:pt x="347781" y="55390"/>
                </a:lnTo>
                <a:lnTo>
                  <a:pt x="329679" y="56307"/>
                </a:lnTo>
                <a:lnTo>
                  <a:pt x="310864" y="57050"/>
                </a:lnTo>
                <a:lnTo>
                  <a:pt x="291407" y="57611"/>
                </a:lnTo>
                <a:lnTo>
                  <a:pt x="271377" y="57981"/>
                </a:lnTo>
                <a:lnTo>
                  <a:pt x="250842" y="58154"/>
                </a:lnTo>
                <a:lnTo>
                  <a:pt x="243839" y="58166"/>
                </a:lnTo>
                <a:lnTo>
                  <a:pt x="223169" y="58062"/>
                </a:lnTo>
                <a:lnTo>
                  <a:pt x="202975" y="57757"/>
                </a:lnTo>
                <a:lnTo>
                  <a:pt x="183328" y="57259"/>
                </a:lnTo>
                <a:lnTo>
                  <a:pt x="164297" y="56576"/>
                </a:lnTo>
                <a:lnTo>
                  <a:pt x="145952" y="55717"/>
                </a:lnTo>
                <a:lnTo>
                  <a:pt x="128363" y="54690"/>
                </a:lnTo>
                <a:lnTo>
                  <a:pt x="111598" y="53504"/>
                </a:lnTo>
                <a:lnTo>
                  <a:pt x="95729" y="52168"/>
                </a:lnTo>
                <a:lnTo>
                  <a:pt x="80823" y="50688"/>
                </a:lnTo>
                <a:lnTo>
                  <a:pt x="66951" y="49075"/>
                </a:lnTo>
                <a:lnTo>
                  <a:pt x="54182" y="47336"/>
                </a:lnTo>
                <a:lnTo>
                  <a:pt x="42586" y="45480"/>
                </a:lnTo>
                <a:lnTo>
                  <a:pt x="32233" y="43515"/>
                </a:lnTo>
                <a:lnTo>
                  <a:pt x="23191" y="41450"/>
                </a:lnTo>
                <a:lnTo>
                  <a:pt x="15531" y="39293"/>
                </a:lnTo>
                <a:lnTo>
                  <a:pt x="4634" y="34737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3879852" y="4958532"/>
            <a:ext cx="496125" cy="73842"/>
          </a:xfrm>
          <a:custGeom>
            <a:avLst/>
            <a:gdLst/>
            <a:ahLst/>
            <a:cxnLst/>
            <a:rect l="l" t="t" r="r" b="b"/>
            <a:pathLst>
              <a:path w="496125" h="73842">
                <a:moveTo>
                  <a:pt x="0" y="73842"/>
                </a:moveTo>
                <a:lnTo>
                  <a:pt x="496125" y="73842"/>
                </a:lnTo>
                <a:lnTo>
                  <a:pt x="496125" y="0"/>
                </a:lnTo>
                <a:lnTo>
                  <a:pt x="0" y="0"/>
                </a:lnTo>
                <a:lnTo>
                  <a:pt x="0" y="73842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3884041" y="4931802"/>
            <a:ext cx="487680" cy="58142"/>
          </a:xfrm>
          <a:custGeom>
            <a:avLst/>
            <a:gdLst/>
            <a:ahLst/>
            <a:cxnLst/>
            <a:rect l="l" t="t" r="r" b="b"/>
            <a:pathLst>
              <a:path w="487680" h="58142">
                <a:moveTo>
                  <a:pt x="0" y="29071"/>
                </a:moveTo>
                <a:lnTo>
                  <a:pt x="1536" y="32343"/>
                </a:lnTo>
                <a:lnTo>
                  <a:pt x="4634" y="34725"/>
                </a:lnTo>
                <a:lnTo>
                  <a:pt x="23191" y="41438"/>
                </a:lnTo>
                <a:lnTo>
                  <a:pt x="42586" y="45468"/>
                </a:lnTo>
                <a:lnTo>
                  <a:pt x="66951" y="49063"/>
                </a:lnTo>
                <a:lnTo>
                  <a:pt x="95729" y="52156"/>
                </a:lnTo>
                <a:lnTo>
                  <a:pt x="128363" y="54679"/>
                </a:lnTo>
                <a:lnTo>
                  <a:pt x="145952" y="55705"/>
                </a:lnTo>
                <a:lnTo>
                  <a:pt x="164297" y="56564"/>
                </a:lnTo>
                <a:lnTo>
                  <a:pt x="183328" y="57247"/>
                </a:lnTo>
                <a:lnTo>
                  <a:pt x="202975" y="57745"/>
                </a:lnTo>
                <a:lnTo>
                  <a:pt x="223169" y="58050"/>
                </a:lnTo>
                <a:lnTo>
                  <a:pt x="250842" y="58142"/>
                </a:lnTo>
                <a:lnTo>
                  <a:pt x="271377" y="57970"/>
                </a:lnTo>
                <a:lnTo>
                  <a:pt x="291407" y="57599"/>
                </a:lnTo>
                <a:lnTo>
                  <a:pt x="310864" y="57038"/>
                </a:lnTo>
                <a:lnTo>
                  <a:pt x="329679" y="56295"/>
                </a:lnTo>
                <a:lnTo>
                  <a:pt x="347781" y="55379"/>
                </a:lnTo>
                <a:lnTo>
                  <a:pt x="365102" y="54298"/>
                </a:lnTo>
                <a:lnTo>
                  <a:pt x="381573" y="53060"/>
                </a:lnTo>
                <a:lnTo>
                  <a:pt x="411686" y="50149"/>
                </a:lnTo>
                <a:lnTo>
                  <a:pt x="437566" y="46713"/>
                </a:lnTo>
                <a:lnTo>
                  <a:pt x="458660" y="42820"/>
                </a:lnTo>
                <a:lnTo>
                  <a:pt x="474413" y="38537"/>
                </a:lnTo>
                <a:lnTo>
                  <a:pt x="487680" y="29071"/>
                </a:lnTo>
                <a:lnTo>
                  <a:pt x="486144" y="25776"/>
                </a:lnTo>
                <a:lnTo>
                  <a:pt x="464509" y="16649"/>
                </a:lnTo>
                <a:lnTo>
                  <a:pt x="445127" y="12618"/>
                </a:lnTo>
                <a:lnTo>
                  <a:pt x="420774" y="9029"/>
                </a:lnTo>
                <a:lnTo>
                  <a:pt x="392005" y="5947"/>
                </a:lnTo>
                <a:lnTo>
                  <a:pt x="359372" y="3438"/>
                </a:lnTo>
                <a:lnTo>
                  <a:pt x="341781" y="2417"/>
                </a:lnTo>
                <a:lnTo>
                  <a:pt x="323432" y="1564"/>
                </a:lnTo>
                <a:lnTo>
                  <a:pt x="304393" y="887"/>
                </a:lnTo>
                <a:lnTo>
                  <a:pt x="284736" y="393"/>
                </a:lnTo>
                <a:lnTo>
                  <a:pt x="264528" y="90"/>
                </a:lnTo>
                <a:lnTo>
                  <a:pt x="236843" y="0"/>
                </a:lnTo>
                <a:lnTo>
                  <a:pt x="216325" y="170"/>
                </a:lnTo>
                <a:lnTo>
                  <a:pt x="196307" y="538"/>
                </a:lnTo>
                <a:lnTo>
                  <a:pt x="176860" y="1094"/>
                </a:lnTo>
                <a:lnTo>
                  <a:pt x="158052" y="1832"/>
                </a:lnTo>
                <a:lnTo>
                  <a:pt x="139953" y="2742"/>
                </a:lnTo>
                <a:lnTo>
                  <a:pt x="122633" y="3817"/>
                </a:lnTo>
                <a:lnTo>
                  <a:pt x="106162" y="5048"/>
                </a:lnTo>
                <a:lnTo>
                  <a:pt x="76042" y="7947"/>
                </a:lnTo>
                <a:lnTo>
                  <a:pt x="50151" y="11374"/>
                </a:lnTo>
                <a:lnTo>
                  <a:pt x="29044" y="15266"/>
                </a:lnTo>
                <a:lnTo>
                  <a:pt x="13279" y="19555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3884041" y="4931791"/>
            <a:ext cx="487680" cy="58165"/>
          </a:xfrm>
          <a:custGeom>
            <a:avLst/>
            <a:gdLst/>
            <a:ahLst/>
            <a:cxnLst/>
            <a:rect l="l" t="t" r="r" b="b"/>
            <a:pathLst>
              <a:path w="487680" h="58165">
                <a:moveTo>
                  <a:pt x="0" y="29082"/>
                </a:moveTo>
                <a:lnTo>
                  <a:pt x="7574" y="21841"/>
                </a:lnTo>
                <a:lnTo>
                  <a:pt x="20459" y="17376"/>
                </a:lnTo>
                <a:lnTo>
                  <a:pt x="29044" y="15277"/>
                </a:lnTo>
                <a:lnTo>
                  <a:pt x="38965" y="13278"/>
                </a:lnTo>
                <a:lnTo>
                  <a:pt x="50151" y="11386"/>
                </a:lnTo>
                <a:lnTo>
                  <a:pt x="62533" y="9610"/>
                </a:lnTo>
                <a:lnTo>
                  <a:pt x="76042" y="7959"/>
                </a:lnTo>
                <a:lnTo>
                  <a:pt x="90608" y="6439"/>
                </a:lnTo>
                <a:lnTo>
                  <a:pt x="106162" y="5059"/>
                </a:lnTo>
                <a:lnTo>
                  <a:pt x="122633" y="3828"/>
                </a:lnTo>
                <a:lnTo>
                  <a:pt x="139953" y="2754"/>
                </a:lnTo>
                <a:lnTo>
                  <a:pt x="158052" y="1843"/>
                </a:lnTo>
                <a:lnTo>
                  <a:pt x="176860" y="1106"/>
                </a:lnTo>
                <a:lnTo>
                  <a:pt x="196307" y="549"/>
                </a:lnTo>
                <a:lnTo>
                  <a:pt x="216325" y="182"/>
                </a:lnTo>
                <a:lnTo>
                  <a:pt x="236843" y="11"/>
                </a:lnTo>
                <a:lnTo>
                  <a:pt x="243839" y="0"/>
                </a:lnTo>
                <a:lnTo>
                  <a:pt x="264528" y="102"/>
                </a:lnTo>
                <a:lnTo>
                  <a:pt x="284736" y="404"/>
                </a:lnTo>
                <a:lnTo>
                  <a:pt x="304393" y="898"/>
                </a:lnTo>
                <a:lnTo>
                  <a:pt x="323432" y="1576"/>
                </a:lnTo>
                <a:lnTo>
                  <a:pt x="341781" y="2429"/>
                </a:lnTo>
                <a:lnTo>
                  <a:pt x="359372" y="3449"/>
                </a:lnTo>
                <a:lnTo>
                  <a:pt x="376137" y="4629"/>
                </a:lnTo>
                <a:lnTo>
                  <a:pt x="392005" y="5959"/>
                </a:lnTo>
                <a:lnTo>
                  <a:pt x="406907" y="7433"/>
                </a:lnTo>
                <a:lnTo>
                  <a:pt x="420774" y="9041"/>
                </a:lnTo>
                <a:lnTo>
                  <a:pt x="433537" y="10776"/>
                </a:lnTo>
                <a:lnTo>
                  <a:pt x="445127" y="12630"/>
                </a:lnTo>
                <a:lnTo>
                  <a:pt x="455474" y="14594"/>
                </a:lnTo>
                <a:lnTo>
                  <a:pt x="464509" y="16660"/>
                </a:lnTo>
                <a:lnTo>
                  <a:pt x="478366" y="21068"/>
                </a:lnTo>
                <a:lnTo>
                  <a:pt x="486144" y="25788"/>
                </a:lnTo>
                <a:lnTo>
                  <a:pt x="487680" y="29082"/>
                </a:lnTo>
                <a:lnTo>
                  <a:pt x="486816" y="31540"/>
                </a:lnTo>
                <a:lnTo>
                  <a:pt x="484270" y="33943"/>
                </a:lnTo>
                <a:lnTo>
                  <a:pt x="474413" y="38548"/>
                </a:lnTo>
                <a:lnTo>
                  <a:pt x="458660" y="42831"/>
                </a:lnTo>
                <a:lnTo>
                  <a:pt x="448746" y="44831"/>
                </a:lnTo>
                <a:lnTo>
                  <a:pt x="437566" y="46725"/>
                </a:lnTo>
                <a:lnTo>
                  <a:pt x="425190" y="48504"/>
                </a:lnTo>
                <a:lnTo>
                  <a:pt x="411686" y="50161"/>
                </a:lnTo>
                <a:lnTo>
                  <a:pt x="397124" y="51686"/>
                </a:lnTo>
                <a:lnTo>
                  <a:pt x="381573" y="53072"/>
                </a:lnTo>
                <a:lnTo>
                  <a:pt x="365102" y="54309"/>
                </a:lnTo>
                <a:lnTo>
                  <a:pt x="347781" y="55390"/>
                </a:lnTo>
                <a:lnTo>
                  <a:pt x="329679" y="56307"/>
                </a:lnTo>
                <a:lnTo>
                  <a:pt x="310864" y="57050"/>
                </a:lnTo>
                <a:lnTo>
                  <a:pt x="291407" y="57611"/>
                </a:lnTo>
                <a:lnTo>
                  <a:pt x="271377" y="57981"/>
                </a:lnTo>
                <a:lnTo>
                  <a:pt x="250842" y="58154"/>
                </a:lnTo>
                <a:lnTo>
                  <a:pt x="243839" y="58165"/>
                </a:lnTo>
                <a:lnTo>
                  <a:pt x="223169" y="58062"/>
                </a:lnTo>
                <a:lnTo>
                  <a:pt x="202975" y="57757"/>
                </a:lnTo>
                <a:lnTo>
                  <a:pt x="183328" y="57259"/>
                </a:lnTo>
                <a:lnTo>
                  <a:pt x="164297" y="56576"/>
                </a:lnTo>
                <a:lnTo>
                  <a:pt x="145952" y="55717"/>
                </a:lnTo>
                <a:lnTo>
                  <a:pt x="128363" y="54690"/>
                </a:lnTo>
                <a:lnTo>
                  <a:pt x="111598" y="53504"/>
                </a:lnTo>
                <a:lnTo>
                  <a:pt x="95729" y="52168"/>
                </a:lnTo>
                <a:lnTo>
                  <a:pt x="80823" y="50688"/>
                </a:lnTo>
                <a:lnTo>
                  <a:pt x="66951" y="49075"/>
                </a:lnTo>
                <a:lnTo>
                  <a:pt x="54182" y="47336"/>
                </a:lnTo>
                <a:lnTo>
                  <a:pt x="42586" y="45480"/>
                </a:lnTo>
                <a:lnTo>
                  <a:pt x="32233" y="43515"/>
                </a:lnTo>
                <a:lnTo>
                  <a:pt x="23191" y="41450"/>
                </a:lnTo>
                <a:lnTo>
                  <a:pt x="15531" y="39293"/>
                </a:lnTo>
                <a:lnTo>
                  <a:pt x="4634" y="34737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5117973" y="5150243"/>
            <a:ext cx="487679" cy="58015"/>
          </a:xfrm>
          <a:custGeom>
            <a:avLst/>
            <a:gdLst/>
            <a:ahLst/>
            <a:cxnLst/>
            <a:rect l="l" t="t" r="r" b="b"/>
            <a:pathLst>
              <a:path w="487679" h="58015">
                <a:moveTo>
                  <a:pt x="0" y="28944"/>
                </a:moveTo>
                <a:lnTo>
                  <a:pt x="1536" y="32239"/>
                </a:lnTo>
                <a:lnTo>
                  <a:pt x="4634" y="34633"/>
                </a:lnTo>
                <a:lnTo>
                  <a:pt x="23191" y="41366"/>
                </a:lnTo>
                <a:lnTo>
                  <a:pt x="42586" y="45397"/>
                </a:lnTo>
                <a:lnTo>
                  <a:pt x="66951" y="48985"/>
                </a:lnTo>
                <a:lnTo>
                  <a:pt x="95729" y="52067"/>
                </a:lnTo>
                <a:lnTo>
                  <a:pt x="128363" y="54577"/>
                </a:lnTo>
                <a:lnTo>
                  <a:pt x="145952" y="55597"/>
                </a:lnTo>
                <a:lnTo>
                  <a:pt x="164297" y="56450"/>
                </a:lnTo>
                <a:lnTo>
                  <a:pt x="183328" y="57128"/>
                </a:lnTo>
                <a:lnTo>
                  <a:pt x="202975" y="57622"/>
                </a:lnTo>
                <a:lnTo>
                  <a:pt x="223169" y="57924"/>
                </a:lnTo>
                <a:lnTo>
                  <a:pt x="250842" y="58015"/>
                </a:lnTo>
                <a:lnTo>
                  <a:pt x="271377" y="57845"/>
                </a:lnTo>
                <a:lnTo>
                  <a:pt x="291407" y="57477"/>
                </a:lnTo>
                <a:lnTo>
                  <a:pt x="310864" y="56920"/>
                </a:lnTo>
                <a:lnTo>
                  <a:pt x="329679" y="56183"/>
                </a:lnTo>
                <a:lnTo>
                  <a:pt x="347781" y="55273"/>
                </a:lnTo>
                <a:lnTo>
                  <a:pt x="365102" y="54198"/>
                </a:lnTo>
                <a:lnTo>
                  <a:pt x="381573" y="52967"/>
                </a:lnTo>
                <a:lnTo>
                  <a:pt x="411686" y="50068"/>
                </a:lnTo>
                <a:lnTo>
                  <a:pt x="437566" y="46640"/>
                </a:lnTo>
                <a:lnTo>
                  <a:pt x="458660" y="42749"/>
                </a:lnTo>
                <a:lnTo>
                  <a:pt x="474413" y="38459"/>
                </a:lnTo>
                <a:lnTo>
                  <a:pt x="487679" y="28944"/>
                </a:lnTo>
                <a:lnTo>
                  <a:pt x="486147" y="25676"/>
                </a:lnTo>
                <a:lnTo>
                  <a:pt x="464516" y="16602"/>
                </a:lnTo>
                <a:lnTo>
                  <a:pt x="445135" y="12589"/>
                </a:lnTo>
                <a:lnTo>
                  <a:pt x="420782" y="9013"/>
                </a:lnTo>
                <a:lnTo>
                  <a:pt x="392012" y="5939"/>
                </a:lnTo>
                <a:lnTo>
                  <a:pt x="359379" y="3434"/>
                </a:lnTo>
                <a:lnTo>
                  <a:pt x="341786" y="2415"/>
                </a:lnTo>
                <a:lnTo>
                  <a:pt x="323436" y="1563"/>
                </a:lnTo>
                <a:lnTo>
                  <a:pt x="304397" y="886"/>
                </a:lnTo>
                <a:lnTo>
                  <a:pt x="284738" y="393"/>
                </a:lnTo>
                <a:lnTo>
                  <a:pt x="264529" y="90"/>
                </a:lnTo>
                <a:lnTo>
                  <a:pt x="236868" y="0"/>
                </a:lnTo>
                <a:lnTo>
                  <a:pt x="216347" y="170"/>
                </a:lnTo>
                <a:lnTo>
                  <a:pt x="196328" y="537"/>
                </a:lnTo>
                <a:lnTo>
                  <a:pt x="176878" y="1093"/>
                </a:lnTo>
                <a:lnTo>
                  <a:pt x="158069" y="1830"/>
                </a:lnTo>
                <a:lnTo>
                  <a:pt x="139968" y="2738"/>
                </a:lnTo>
                <a:lnTo>
                  <a:pt x="122647" y="3811"/>
                </a:lnTo>
                <a:lnTo>
                  <a:pt x="106173" y="5040"/>
                </a:lnTo>
                <a:lnTo>
                  <a:pt x="76051" y="7932"/>
                </a:lnTo>
                <a:lnTo>
                  <a:pt x="50157" y="11348"/>
                </a:lnTo>
                <a:lnTo>
                  <a:pt x="29048" y="15223"/>
                </a:lnTo>
                <a:lnTo>
                  <a:pt x="13281" y="19491"/>
                </a:lnTo>
                <a:lnTo>
                  <a:pt x="864" y="26487"/>
                </a:lnTo>
                <a:lnTo>
                  <a:pt x="0" y="28944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5117973" y="5150231"/>
            <a:ext cx="487679" cy="58038"/>
          </a:xfrm>
          <a:custGeom>
            <a:avLst/>
            <a:gdLst/>
            <a:ahLst/>
            <a:cxnLst/>
            <a:rect l="l" t="t" r="r" b="b"/>
            <a:pathLst>
              <a:path w="487679" h="58038">
                <a:moveTo>
                  <a:pt x="0" y="28956"/>
                </a:moveTo>
                <a:lnTo>
                  <a:pt x="7575" y="21764"/>
                </a:lnTo>
                <a:lnTo>
                  <a:pt x="20462" y="17324"/>
                </a:lnTo>
                <a:lnTo>
                  <a:pt x="29048" y="15235"/>
                </a:lnTo>
                <a:lnTo>
                  <a:pt x="38969" y="13244"/>
                </a:lnTo>
                <a:lnTo>
                  <a:pt x="50157" y="11360"/>
                </a:lnTo>
                <a:lnTo>
                  <a:pt x="62540" y="9590"/>
                </a:lnTo>
                <a:lnTo>
                  <a:pt x="76051" y="7943"/>
                </a:lnTo>
                <a:lnTo>
                  <a:pt x="90618" y="6428"/>
                </a:lnTo>
                <a:lnTo>
                  <a:pt x="106173" y="5051"/>
                </a:lnTo>
                <a:lnTo>
                  <a:pt x="122647" y="3823"/>
                </a:lnTo>
                <a:lnTo>
                  <a:pt x="139968" y="2750"/>
                </a:lnTo>
                <a:lnTo>
                  <a:pt x="158069" y="1841"/>
                </a:lnTo>
                <a:lnTo>
                  <a:pt x="176878" y="1105"/>
                </a:lnTo>
                <a:lnTo>
                  <a:pt x="196328" y="549"/>
                </a:lnTo>
                <a:lnTo>
                  <a:pt x="216347" y="181"/>
                </a:lnTo>
                <a:lnTo>
                  <a:pt x="236868" y="11"/>
                </a:lnTo>
                <a:lnTo>
                  <a:pt x="243839" y="0"/>
                </a:lnTo>
                <a:lnTo>
                  <a:pt x="264529" y="102"/>
                </a:lnTo>
                <a:lnTo>
                  <a:pt x="284738" y="404"/>
                </a:lnTo>
                <a:lnTo>
                  <a:pt x="304397" y="898"/>
                </a:lnTo>
                <a:lnTo>
                  <a:pt x="323436" y="1575"/>
                </a:lnTo>
                <a:lnTo>
                  <a:pt x="341786" y="2427"/>
                </a:lnTo>
                <a:lnTo>
                  <a:pt x="359379" y="3446"/>
                </a:lnTo>
                <a:lnTo>
                  <a:pt x="376144" y="4623"/>
                </a:lnTo>
                <a:lnTo>
                  <a:pt x="392012" y="5951"/>
                </a:lnTo>
                <a:lnTo>
                  <a:pt x="406915" y="7421"/>
                </a:lnTo>
                <a:lnTo>
                  <a:pt x="420782" y="9024"/>
                </a:lnTo>
                <a:lnTo>
                  <a:pt x="433545" y="10754"/>
                </a:lnTo>
                <a:lnTo>
                  <a:pt x="445135" y="12601"/>
                </a:lnTo>
                <a:lnTo>
                  <a:pt x="455481" y="14557"/>
                </a:lnTo>
                <a:lnTo>
                  <a:pt x="464516" y="16614"/>
                </a:lnTo>
                <a:lnTo>
                  <a:pt x="478371" y="20998"/>
                </a:lnTo>
                <a:lnTo>
                  <a:pt x="486147" y="25688"/>
                </a:lnTo>
                <a:lnTo>
                  <a:pt x="487679" y="28956"/>
                </a:lnTo>
                <a:lnTo>
                  <a:pt x="486816" y="31431"/>
                </a:lnTo>
                <a:lnTo>
                  <a:pt x="484270" y="33848"/>
                </a:lnTo>
                <a:lnTo>
                  <a:pt x="474413" y="38471"/>
                </a:lnTo>
                <a:lnTo>
                  <a:pt x="458660" y="42761"/>
                </a:lnTo>
                <a:lnTo>
                  <a:pt x="448746" y="44760"/>
                </a:lnTo>
                <a:lnTo>
                  <a:pt x="437566" y="46652"/>
                </a:lnTo>
                <a:lnTo>
                  <a:pt x="425190" y="48428"/>
                </a:lnTo>
                <a:lnTo>
                  <a:pt x="411686" y="50079"/>
                </a:lnTo>
                <a:lnTo>
                  <a:pt x="397124" y="51599"/>
                </a:lnTo>
                <a:lnTo>
                  <a:pt x="381573" y="52979"/>
                </a:lnTo>
                <a:lnTo>
                  <a:pt x="365102" y="54210"/>
                </a:lnTo>
                <a:lnTo>
                  <a:pt x="347781" y="55284"/>
                </a:lnTo>
                <a:lnTo>
                  <a:pt x="329679" y="56195"/>
                </a:lnTo>
                <a:lnTo>
                  <a:pt x="310864" y="56932"/>
                </a:lnTo>
                <a:lnTo>
                  <a:pt x="291407" y="57489"/>
                </a:lnTo>
                <a:lnTo>
                  <a:pt x="271377" y="57856"/>
                </a:lnTo>
                <a:lnTo>
                  <a:pt x="250842" y="58027"/>
                </a:lnTo>
                <a:lnTo>
                  <a:pt x="243839" y="58039"/>
                </a:lnTo>
                <a:lnTo>
                  <a:pt x="223169" y="57936"/>
                </a:lnTo>
                <a:lnTo>
                  <a:pt x="202975" y="57634"/>
                </a:lnTo>
                <a:lnTo>
                  <a:pt x="183328" y="57140"/>
                </a:lnTo>
                <a:lnTo>
                  <a:pt x="164297" y="56462"/>
                </a:lnTo>
                <a:lnTo>
                  <a:pt x="145952" y="55609"/>
                </a:lnTo>
                <a:lnTo>
                  <a:pt x="128363" y="54589"/>
                </a:lnTo>
                <a:lnTo>
                  <a:pt x="111598" y="53409"/>
                </a:lnTo>
                <a:lnTo>
                  <a:pt x="95729" y="52079"/>
                </a:lnTo>
                <a:lnTo>
                  <a:pt x="80823" y="50605"/>
                </a:lnTo>
                <a:lnTo>
                  <a:pt x="66951" y="48997"/>
                </a:lnTo>
                <a:lnTo>
                  <a:pt x="54182" y="47262"/>
                </a:lnTo>
                <a:lnTo>
                  <a:pt x="42586" y="45408"/>
                </a:lnTo>
                <a:lnTo>
                  <a:pt x="32233" y="43444"/>
                </a:lnTo>
                <a:lnTo>
                  <a:pt x="23191" y="41378"/>
                </a:lnTo>
                <a:lnTo>
                  <a:pt x="15531" y="39217"/>
                </a:lnTo>
                <a:lnTo>
                  <a:pt x="4634" y="34645"/>
                </a:lnTo>
                <a:lnTo>
                  <a:pt x="0" y="28956"/>
                </a:lnTo>
                <a:close/>
              </a:path>
            </a:pathLst>
          </a:custGeom>
          <a:ln w="1269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5113783" y="5013503"/>
            <a:ext cx="496125" cy="163398"/>
          </a:xfrm>
          <a:custGeom>
            <a:avLst/>
            <a:gdLst/>
            <a:ahLst/>
            <a:cxnLst/>
            <a:rect l="l" t="t" r="r" b="b"/>
            <a:pathLst>
              <a:path w="496125" h="163398">
                <a:moveTo>
                  <a:pt x="0" y="163398"/>
                </a:moveTo>
                <a:lnTo>
                  <a:pt x="496125" y="163398"/>
                </a:lnTo>
                <a:lnTo>
                  <a:pt x="496125" y="0"/>
                </a:lnTo>
                <a:lnTo>
                  <a:pt x="0" y="0"/>
                </a:lnTo>
                <a:lnTo>
                  <a:pt x="0" y="163398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5117973" y="4999367"/>
            <a:ext cx="487679" cy="58142"/>
          </a:xfrm>
          <a:custGeom>
            <a:avLst/>
            <a:gdLst/>
            <a:ahLst/>
            <a:cxnLst/>
            <a:rect l="l" t="t" r="r" b="b"/>
            <a:pathLst>
              <a:path w="487679" h="58142">
                <a:moveTo>
                  <a:pt x="0" y="29071"/>
                </a:moveTo>
                <a:lnTo>
                  <a:pt x="1536" y="32343"/>
                </a:lnTo>
                <a:lnTo>
                  <a:pt x="4634" y="34725"/>
                </a:lnTo>
                <a:lnTo>
                  <a:pt x="23191" y="41438"/>
                </a:lnTo>
                <a:lnTo>
                  <a:pt x="42586" y="45468"/>
                </a:lnTo>
                <a:lnTo>
                  <a:pt x="66951" y="49063"/>
                </a:lnTo>
                <a:lnTo>
                  <a:pt x="95729" y="52156"/>
                </a:lnTo>
                <a:lnTo>
                  <a:pt x="128363" y="54679"/>
                </a:lnTo>
                <a:lnTo>
                  <a:pt x="145952" y="55705"/>
                </a:lnTo>
                <a:lnTo>
                  <a:pt x="164297" y="56564"/>
                </a:lnTo>
                <a:lnTo>
                  <a:pt x="183328" y="57247"/>
                </a:lnTo>
                <a:lnTo>
                  <a:pt x="202975" y="57745"/>
                </a:lnTo>
                <a:lnTo>
                  <a:pt x="223169" y="58050"/>
                </a:lnTo>
                <a:lnTo>
                  <a:pt x="250842" y="58142"/>
                </a:lnTo>
                <a:lnTo>
                  <a:pt x="271377" y="57970"/>
                </a:lnTo>
                <a:lnTo>
                  <a:pt x="291407" y="57599"/>
                </a:lnTo>
                <a:lnTo>
                  <a:pt x="310864" y="57038"/>
                </a:lnTo>
                <a:lnTo>
                  <a:pt x="329679" y="56295"/>
                </a:lnTo>
                <a:lnTo>
                  <a:pt x="347781" y="55379"/>
                </a:lnTo>
                <a:lnTo>
                  <a:pt x="365102" y="54298"/>
                </a:lnTo>
                <a:lnTo>
                  <a:pt x="381573" y="53060"/>
                </a:lnTo>
                <a:lnTo>
                  <a:pt x="411686" y="50149"/>
                </a:lnTo>
                <a:lnTo>
                  <a:pt x="437566" y="46713"/>
                </a:lnTo>
                <a:lnTo>
                  <a:pt x="458660" y="42820"/>
                </a:lnTo>
                <a:lnTo>
                  <a:pt x="474413" y="38537"/>
                </a:lnTo>
                <a:lnTo>
                  <a:pt x="487679" y="29071"/>
                </a:lnTo>
                <a:lnTo>
                  <a:pt x="486144" y="25776"/>
                </a:lnTo>
                <a:lnTo>
                  <a:pt x="464509" y="16649"/>
                </a:lnTo>
                <a:lnTo>
                  <a:pt x="445127" y="12618"/>
                </a:lnTo>
                <a:lnTo>
                  <a:pt x="420774" y="9029"/>
                </a:lnTo>
                <a:lnTo>
                  <a:pt x="392005" y="5947"/>
                </a:lnTo>
                <a:lnTo>
                  <a:pt x="359372" y="3438"/>
                </a:lnTo>
                <a:lnTo>
                  <a:pt x="341781" y="2417"/>
                </a:lnTo>
                <a:lnTo>
                  <a:pt x="323432" y="1564"/>
                </a:lnTo>
                <a:lnTo>
                  <a:pt x="304393" y="887"/>
                </a:lnTo>
                <a:lnTo>
                  <a:pt x="284736" y="393"/>
                </a:lnTo>
                <a:lnTo>
                  <a:pt x="264528" y="90"/>
                </a:lnTo>
                <a:lnTo>
                  <a:pt x="236843" y="0"/>
                </a:lnTo>
                <a:lnTo>
                  <a:pt x="216325" y="170"/>
                </a:lnTo>
                <a:lnTo>
                  <a:pt x="196307" y="538"/>
                </a:lnTo>
                <a:lnTo>
                  <a:pt x="176860" y="1094"/>
                </a:lnTo>
                <a:lnTo>
                  <a:pt x="158052" y="1832"/>
                </a:lnTo>
                <a:lnTo>
                  <a:pt x="139953" y="2742"/>
                </a:lnTo>
                <a:lnTo>
                  <a:pt x="122633" y="3817"/>
                </a:lnTo>
                <a:lnTo>
                  <a:pt x="106162" y="5048"/>
                </a:lnTo>
                <a:lnTo>
                  <a:pt x="76042" y="7947"/>
                </a:lnTo>
                <a:lnTo>
                  <a:pt x="50151" y="11374"/>
                </a:lnTo>
                <a:lnTo>
                  <a:pt x="29044" y="15266"/>
                </a:lnTo>
                <a:lnTo>
                  <a:pt x="13279" y="19555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5117973" y="4999356"/>
            <a:ext cx="487679" cy="58165"/>
          </a:xfrm>
          <a:custGeom>
            <a:avLst/>
            <a:gdLst/>
            <a:ahLst/>
            <a:cxnLst/>
            <a:rect l="l" t="t" r="r" b="b"/>
            <a:pathLst>
              <a:path w="487679" h="58165">
                <a:moveTo>
                  <a:pt x="0" y="29083"/>
                </a:moveTo>
                <a:lnTo>
                  <a:pt x="7574" y="21841"/>
                </a:lnTo>
                <a:lnTo>
                  <a:pt x="20459" y="17376"/>
                </a:lnTo>
                <a:lnTo>
                  <a:pt x="29044" y="15277"/>
                </a:lnTo>
                <a:lnTo>
                  <a:pt x="38965" y="13278"/>
                </a:lnTo>
                <a:lnTo>
                  <a:pt x="50151" y="11386"/>
                </a:lnTo>
                <a:lnTo>
                  <a:pt x="62533" y="9610"/>
                </a:lnTo>
                <a:lnTo>
                  <a:pt x="76042" y="7959"/>
                </a:lnTo>
                <a:lnTo>
                  <a:pt x="90608" y="6439"/>
                </a:lnTo>
                <a:lnTo>
                  <a:pt x="106162" y="5059"/>
                </a:lnTo>
                <a:lnTo>
                  <a:pt x="122633" y="3828"/>
                </a:lnTo>
                <a:lnTo>
                  <a:pt x="139953" y="2754"/>
                </a:lnTo>
                <a:lnTo>
                  <a:pt x="158052" y="1843"/>
                </a:lnTo>
                <a:lnTo>
                  <a:pt x="176860" y="1106"/>
                </a:lnTo>
                <a:lnTo>
                  <a:pt x="196307" y="549"/>
                </a:lnTo>
                <a:lnTo>
                  <a:pt x="216325" y="182"/>
                </a:lnTo>
                <a:lnTo>
                  <a:pt x="236843" y="11"/>
                </a:lnTo>
                <a:lnTo>
                  <a:pt x="243839" y="0"/>
                </a:lnTo>
                <a:lnTo>
                  <a:pt x="264528" y="102"/>
                </a:lnTo>
                <a:lnTo>
                  <a:pt x="284736" y="404"/>
                </a:lnTo>
                <a:lnTo>
                  <a:pt x="304393" y="898"/>
                </a:lnTo>
                <a:lnTo>
                  <a:pt x="323432" y="1576"/>
                </a:lnTo>
                <a:lnTo>
                  <a:pt x="341781" y="2429"/>
                </a:lnTo>
                <a:lnTo>
                  <a:pt x="359372" y="3449"/>
                </a:lnTo>
                <a:lnTo>
                  <a:pt x="376137" y="4629"/>
                </a:lnTo>
                <a:lnTo>
                  <a:pt x="392005" y="5959"/>
                </a:lnTo>
                <a:lnTo>
                  <a:pt x="406907" y="7433"/>
                </a:lnTo>
                <a:lnTo>
                  <a:pt x="420774" y="9041"/>
                </a:lnTo>
                <a:lnTo>
                  <a:pt x="433537" y="10776"/>
                </a:lnTo>
                <a:lnTo>
                  <a:pt x="445127" y="12630"/>
                </a:lnTo>
                <a:lnTo>
                  <a:pt x="455474" y="14594"/>
                </a:lnTo>
                <a:lnTo>
                  <a:pt x="464509" y="16660"/>
                </a:lnTo>
                <a:lnTo>
                  <a:pt x="478366" y="21068"/>
                </a:lnTo>
                <a:lnTo>
                  <a:pt x="486144" y="25788"/>
                </a:lnTo>
                <a:lnTo>
                  <a:pt x="487679" y="29083"/>
                </a:lnTo>
                <a:lnTo>
                  <a:pt x="486816" y="31540"/>
                </a:lnTo>
                <a:lnTo>
                  <a:pt x="484270" y="33943"/>
                </a:lnTo>
                <a:lnTo>
                  <a:pt x="474413" y="38548"/>
                </a:lnTo>
                <a:lnTo>
                  <a:pt x="458660" y="42831"/>
                </a:lnTo>
                <a:lnTo>
                  <a:pt x="448746" y="44831"/>
                </a:lnTo>
                <a:lnTo>
                  <a:pt x="437566" y="46725"/>
                </a:lnTo>
                <a:lnTo>
                  <a:pt x="425190" y="48504"/>
                </a:lnTo>
                <a:lnTo>
                  <a:pt x="411686" y="50161"/>
                </a:lnTo>
                <a:lnTo>
                  <a:pt x="397124" y="51686"/>
                </a:lnTo>
                <a:lnTo>
                  <a:pt x="381573" y="53072"/>
                </a:lnTo>
                <a:lnTo>
                  <a:pt x="365102" y="54309"/>
                </a:lnTo>
                <a:lnTo>
                  <a:pt x="347781" y="55390"/>
                </a:lnTo>
                <a:lnTo>
                  <a:pt x="329679" y="56307"/>
                </a:lnTo>
                <a:lnTo>
                  <a:pt x="310864" y="57050"/>
                </a:lnTo>
                <a:lnTo>
                  <a:pt x="291407" y="57611"/>
                </a:lnTo>
                <a:lnTo>
                  <a:pt x="271377" y="57981"/>
                </a:lnTo>
                <a:lnTo>
                  <a:pt x="250842" y="58154"/>
                </a:lnTo>
                <a:lnTo>
                  <a:pt x="243839" y="58166"/>
                </a:lnTo>
                <a:lnTo>
                  <a:pt x="223169" y="58062"/>
                </a:lnTo>
                <a:lnTo>
                  <a:pt x="202975" y="57757"/>
                </a:lnTo>
                <a:lnTo>
                  <a:pt x="183328" y="57259"/>
                </a:lnTo>
                <a:lnTo>
                  <a:pt x="164297" y="56576"/>
                </a:lnTo>
                <a:lnTo>
                  <a:pt x="145952" y="55717"/>
                </a:lnTo>
                <a:lnTo>
                  <a:pt x="128363" y="54690"/>
                </a:lnTo>
                <a:lnTo>
                  <a:pt x="111598" y="53504"/>
                </a:lnTo>
                <a:lnTo>
                  <a:pt x="95729" y="52168"/>
                </a:lnTo>
                <a:lnTo>
                  <a:pt x="80823" y="50688"/>
                </a:lnTo>
                <a:lnTo>
                  <a:pt x="66951" y="49075"/>
                </a:lnTo>
                <a:lnTo>
                  <a:pt x="54182" y="47336"/>
                </a:lnTo>
                <a:lnTo>
                  <a:pt x="42586" y="45480"/>
                </a:lnTo>
                <a:lnTo>
                  <a:pt x="32233" y="43515"/>
                </a:lnTo>
                <a:lnTo>
                  <a:pt x="23191" y="41450"/>
                </a:lnTo>
                <a:lnTo>
                  <a:pt x="15531" y="39293"/>
                </a:lnTo>
                <a:lnTo>
                  <a:pt x="4634" y="34737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5113783" y="4958532"/>
            <a:ext cx="496125" cy="73842"/>
          </a:xfrm>
          <a:custGeom>
            <a:avLst/>
            <a:gdLst/>
            <a:ahLst/>
            <a:cxnLst/>
            <a:rect l="l" t="t" r="r" b="b"/>
            <a:pathLst>
              <a:path w="496125" h="73842">
                <a:moveTo>
                  <a:pt x="0" y="73842"/>
                </a:moveTo>
                <a:lnTo>
                  <a:pt x="496125" y="73842"/>
                </a:lnTo>
                <a:lnTo>
                  <a:pt x="496125" y="0"/>
                </a:lnTo>
                <a:lnTo>
                  <a:pt x="0" y="0"/>
                </a:lnTo>
                <a:lnTo>
                  <a:pt x="0" y="73842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5117973" y="4931802"/>
            <a:ext cx="487679" cy="58142"/>
          </a:xfrm>
          <a:custGeom>
            <a:avLst/>
            <a:gdLst/>
            <a:ahLst/>
            <a:cxnLst/>
            <a:rect l="l" t="t" r="r" b="b"/>
            <a:pathLst>
              <a:path w="487679" h="58142">
                <a:moveTo>
                  <a:pt x="0" y="29071"/>
                </a:moveTo>
                <a:lnTo>
                  <a:pt x="1536" y="32343"/>
                </a:lnTo>
                <a:lnTo>
                  <a:pt x="4634" y="34725"/>
                </a:lnTo>
                <a:lnTo>
                  <a:pt x="23191" y="41438"/>
                </a:lnTo>
                <a:lnTo>
                  <a:pt x="42586" y="45468"/>
                </a:lnTo>
                <a:lnTo>
                  <a:pt x="66951" y="49063"/>
                </a:lnTo>
                <a:lnTo>
                  <a:pt x="95729" y="52156"/>
                </a:lnTo>
                <a:lnTo>
                  <a:pt x="128363" y="54679"/>
                </a:lnTo>
                <a:lnTo>
                  <a:pt x="145952" y="55705"/>
                </a:lnTo>
                <a:lnTo>
                  <a:pt x="164297" y="56564"/>
                </a:lnTo>
                <a:lnTo>
                  <a:pt x="183328" y="57247"/>
                </a:lnTo>
                <a:lnTo>
                  <a:pt x="202975" y="57745"/>
                </a:lnTo>
                <a:lnTo>
                  <a:pt x="223169" y="58050"/>
                </a:lnTo>
                <a:lnTo>
                  <a:pt x="250842" y="58142"/>
                </a:lnTo>
                <a:lnTo>
                  <a:pt x="271377" y="57970"/>
                </a:lnTo>
                <a:lnTo>
                  <a:pt x="291407" y="57599"/>
                </a:lnTo>
                <a:lnTo>
                  <a:pt x="310864" y="57038"/>
                </a:lnTo>
                <a:lnTo>
                  <a:pt x="329679" y="56295"/>
                </a:lnTo>
                <a:lnTo>
                  <a:pt x="347781" y="55379"/>
                </a:lnTo>
                <a:lnTo>
                  <a:pt x="365102" y="54298"/>
                </a:lnTo>
                <a:lnTo>
                  <a:pt x="381573" y="53060"/>
                </a:lnTo>
                <a:lnTo>
                  <a:pt x="411686" y="50149"/>
                </a:lnTo>
                <a:lnTo>
                  <a:pt x="437566" y="46713"/>
                </a:lnTo>
                <a:lnTo>
                  <a:pt x="458660" y="42820"/>
                </a:lnTo>
                <a:lnTo>
                  <a:pt x="474413" y="38537"/>
                </a:lnTo>
                <a:lnTo>
                  <a:pt x="487679" y="29071"/>
                </a:lnTo>
                <a:lnTo>
                  <a:pt x="486144" y="25776"/>
                </a:lnTo>
                <a:lnTo>
                  <a:pt x="464509" y="16649"/>
                </a:lnTo>
                <a:lnTo>
                  <a:pt x="445127" y="12618"/>
                </a:lnTo>
                <a:lnTo>
                  <a:pt x="420774" y="9029"/>
                </a:lnTo>
                <a:lnTo>
                  <a:pt x="392005" y="5947"/>
                </a:lnTo>
                <a:lnTo>
                  <a:pt x="359372" y="3438"/>
                </a:lnTo>
                <a:lnTo>
                  <a:pt x="341781" y="2417"/>
                </a:lnTo>
                <a:lnTo>
                  <a:pt x="323432" y="1564"/>
                </a:lnTo>
                <a:lnTo>
                  <a:pt x="304393" y="887"/>
                </a:lnTo>
                <a:lnTo>
                  <a:pt x="284736" y="393"/>
                </a:lnTo>
                <a:lnTo>
                  <a:pt x="264528" y="90"/>
                </a:lnTo>
                <a:lnTo>
                  <a:pt x="236843" y="0"/>
                </a:lnTo>
                <a:lnTo>
                  <a:pt x="216325" y="170"/>
                </a:lnTo>
                <a:lnTo>
                  <a:pt x="196307" y="538"/>
                </a:lnTo>
                <a:lnTo>
                  <a:pt x="176860" y="1094"/>
                </a:lnTo>
                <a:lnTo>
                  <a:pt x="158052" y="1832"/>
                </a:lnTo>
                <a:lnTo>
                  <a:pt x="139953" y="2742"/>
                </a:lnTo>
                <a:lnTo>
                  <a:pt x="122633" y="3817"/>
                </a:lnTo>
                <a:lnTo>
                  <a:pt x="106162" y="5048"/>
                </a:lnTo>
                <a:lnTo>
                  <a:pt x="76042" y="7947"/>
                </a:lnTo>
                <a:lnTo>
                  <a:pt x="50151" y="11374"/>
                </a:lnTo>
                <a:lnTo>
                  <a:pt x="29044" y="15266"/>
                </a:lnTo>
                <a:lnTo>
                  <a:pt x="13279" y="19555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5117973" y="4931791"/>
            <a:ext cx="487679" cy="58165"/>
          </a:xfrm>
          <a:custGeom>
            <a:avLst/>
            <a:gdLst/>
            <a:ahLst/>
            <a:cxnLst/>
            <a:rect l="l" t="t" r="r" b="b"/>
            <a:pathLst>
              <a:path w="487679" h="58165">
                <a:moveTo>
                  <a:pt x="0" y="29082"/>
                </a:moveTo>
                <a:lnTo>
                  <a:pt x="7574" y="21841"/>
                </a:lnTo>
                <a:lnTo>
                  <a:pt x="20459" y="17376"/>
                </a:lnTo>
                <a:lnTo>
                  <a:pt x="29044" y="15277"/>
                </a:lnTo>
                <a:lnTo>
                  <a:pt x="38965" y="13278"/>
                </a:lnTo>
                <a:lnTo>
                  <a:pt x="50151" y="11386"/>
                </a:lnTo>
                <a:lnTo>
                  <a:pt x="62533" y="9610"/>
                </a:lnTo>
                <a:lnTo>
                  <a:pt x="76042" y="7959"/>
                </a:lnTo>
                <a:lnTo>
                  <a:pt x="90608" y="6439"/>
                </a:lnTo>
                <a:lnTo>
                  <a:pt x="106162" y="5059"/>
                </a:lnTo>
                <a:lnTo>
                  <a:pt x="122633" y="3828"/>
                </a:lnTo>
                <a:lnTo>
                  <a:pt x="139953" y="2754"/>
                </a:lnTo>
                <a:lnTo>
                  <a:pt x="158052" y="1843"/>
                </a:lnTo>
                <a:lnTo>
                  <a:pt x="176860" y="1106"/>
                </a:lnTo>
                <a:lnTo>
                  <a:pt x="196307" y="549"/>
                </a:lnTo>
                <a:lnTo>
                  <a:pt x="216325" y="182"/>
                </a:lnTo>
                <a:lnTo>
                  <a:pt x="236843" y="11"/>
                </a:lnTo>
                <a:lnTo>
                  <a:pt x="243839" y="0"/>
                </a:lnTo>
                <a:lnTo>
                  <a:pt x="264528" y="102"/>
                </a:lnTo>
                <a:lnTo>
                  <a:pt x="284736" y="404"/>
                </a:lnTo>
                <a:lnTo>
                  <a:pt x="304393" y="898"/>
                </a:lnTo>
                <a:lnTo>
                  <a:pt x="323432" y="1576"/>
                </a:lnTo>
                <a:lnTo>
                  <a:pt x="341781" y="2429"/>
                </a:lnTo>
                <a:lnTo>
                  <a:pt x="359372" y="3449"/>
                </a:lnTo>
                <a:lnTo>
                  <a:pt x="376137" y="4629"/>
                </a:lnTo>
                <a:lnTo>
                  <a:pt x="392005" y="5959"/>
                </a:lnTo>
                <a:lnTo>
                  <a:pt x="406907" y="7433"/>
                </a:lnTo>
                <a:lnTo>
                  <a:pt x="420774" y="9041"/>
                </a:lnTo>
                <a:lnTo>
                  <a:pt x="433537" y="10776"/>
                </a:lnTo>
                <a:lnTo>
                  <a:pt x="445127" y="12630"/>
                </a:lnTo>
                <a:lnTo>
                  <a:pt x="455474" y="14594"/>
                </a:lnTo>
                <a:lnTo>
                  <a:pt x="464509" y="16660"/>
                </a:lnTo>
                <a:lnTo>
                  <a:pt x="478366" y="21068"/>
                </a:lnTo>
                <a:lnTo>
                  <a:pt x="486144" y="25788"/>
                </a:lnTo>
                <a:lnTo>
                  <a:pt x="487679" y="29082"/>
                </a:lnTo>
                <a:lnTo>
                  <a:pt x="486816" y="31540"/>
                </a:lnTo>
                <a:lnTo>
                  <a:pt x="484270" y="33943"/>
                </a:lnTo>
                <a:lnTo>
                  <a:pt x="474413" y="38548"/>
                </a:lnTo>
                <a:lnTo>
                  <a:pt x="458660" y="42831"/>
                </a:lnTo>
                <a:lnTo>
                  <a:pt x="448746" y="44831"/>
                </a:lnTo>
                <a:lnTo>
                  <a:pt x="437566" y="46725"/>
                </a:lnTo>
                <a:lnTo>
                  <a:pt x="425190" y="48504"/>
                </a:lnTo>
                <a:lnTo>
                  <a:pt x="411686" y="50161"/>
                </a:lnTo>
                <a:lnTo>
                  <a:pt x="397124" y="51686"/>
                </a:lnTo>
                <a:lnTo>
                  <a:pt x="381573" y="53072"/>
                </a:lnTo>
                <a:lnTo>
                  <a:pt x="365102" y="54309"/>
                </a:lnTo>
                <a:lnTo>
                  <a:pt x="347781" y="55390"/>
                </a:lnTo>
                <a:lnTo>
                  <a:pt x="329679" y="56307"/>
                </a:lnTo>
                <a:lnTo>
                  <a:pt x="310864" y="57050"/>
                </a:lnTo>
                <a:lnTo>
                  <a:pt x="291407" y="57611"/>
                </a:lnTo>
                <a:lnTo>
                  <a:pt x="271377" y="57981"/>
                </a:lnTo>
                <a:lnTo>
                  <a:pt x="250842" y="58154"/>
                </a:lnTo>
                <a:lnTo>
                  <a:pt x="243839" y="58165"/>
                </a:lnTo>
                <a:lnTo>
                  <a:pt x="223169" y="58062"/>
                </a:lnTo>
                <a:lnTo>
                  <a:pt x="202975" y="57757"/>
                </a:lnTo>
                <a:lnTo>
                  <a:pt x="183328" y="57259"/>
                </a:lnTo>
                <a:lnTo>
                  <a:pt x="164297" y="56576"/>
                </a:lnTo>
                <a:lnTo>
                  <a:pt x="145952" y="55717"/>
                </a:lnTo>
                <a:lnTo>
                  <a:pt x="128363" y="54690"/>
                </a:lnTo>
                <a:lnTo>
                  <a:pt x="111598" y="53504"/>
                </a:lnTo>
                <a:lnTo>
                  <a:pt x="95729" y="52168"/>
                </a:lnTo>
                <a:lnTo>
                  <a:pt x="80823" y="50688"/>
                </a:lnTo>
                <a:lnTo>
                  <a:pt x="66951" y="49075"/>
                </a:lnTo>
                <a:lnTo>
                  <a:pt x="54182" y="47336"/>
                </a:lnTo>
                <a:lnTo>
                  <a:pt x="42586" y="45480"/>
                </a:lnTo>
                <a:lnTo>
                  <a:pt x="32233" y="43515"/>
                </a:lnTo>
                <a:lnTo>
                  <a:pt x="23191" y="41450"/>
                </a:lnTo>
                <a:lnTo>
                  <a:pt x="15531" y="39293"/>
                </a:lnTo>
                <a:lnTo>
                  <a:pt x="4634" y="34737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5741418" y="5150241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3" h="58016">
                <a:moveTo>
                  <a:pt x="0" y="28945"/>
                </a:moveTo>
                <a:lnTo>
                  <a:pt x="1514" y="32217"/>
                </a:lnTo>
                <a:lnTo>
                  <a:pt x="4595" y="34614"/>
                </a:lnTo>
                <a:lnTo>
                  <a:pt x="23108" y="41352"/>
                </a:lnTo>
                <a:lnTo>
                  <a:pt x="42478" y="45386"/>
                </a:lnTo>
                <a:lnTo>
                  <a:pt x="66822" y="48977"/>
                </a:lnTo>
                <a:lnTo>
                  <a:pt x="95586" y="52062"/>
                </a:lnTo>
                <a:lnTo>
                  <a:pt x="128212" y="54574"/>
                </a:lnTo>
                <a:lnTo>
                  <a:pt x="145800" y="55596"/>
                </a:lnTo>
                <a:lnTo>
                  <a:pt x="164146" y="56449"/>
                </a:lnTo>
                <a:lnTo>
                  <a:pt x="183179" y="57128"/>
                </a:lnTo>
                <a:lnTo>
                  <a:pt x="202831" y="57622"/>
                </a:lnTo>
                <a:lnTo>
                  <a:pt x="223032" y="57925"/>
                </a:lnTo>
                <a:lnTo>
                  <a:pt x="250715" y="58016"/>
                </a:lnTo>
                <a:lnTo>
                  <a:pt x="271250" y="57845"/>
                </a:lnTo>
                <a:lnTo>
                  <a:pt x="291280" y="57478"/>
                </a:lnTo>
                <a:lnTo>
                  <a:pt x="310737" y="56921"/>
                </a:lnTo>
                <a:lnTo>
                  <a:pt x="329552" y="56184"/>
                </a:lnTo>
                <a:lnTo>
                  <a:pt x="347654" y="55273"/>
                </a:lnTo>
                <a:lnTo>
                  <a:pt x="364975" y="54199"/>
                </a:lnTo>
                <a:lnTo>
                  <a:pt x="381446" y="52968"/>
                </a:lnTo>
                <a:lnTo>
                  <a:pt x="411559" y="50069"/>
                </a:lnTo>
                <a:lnTo>
                  <a:pt x="437439" y="46641"/>
                </a:lnTo>
                <a:lnTo>
                  <a:pt x="458533" y="42750"/>
                </a:lnTo>
                <a:lnTo>
                  <a:pt x="474286" y="38460"/>
                </a:lnTo>
                <a:lnTo>
                  <a:pt x="487553" y="28945"/>
                </a:lnTo>
                <a:lnTo>
                  <a:pt x="486020" y="25677"/>
                </a:lnTo>
                <a:lnTo>
                  <a:pt x="464389" y="16603"/>
                </a:lnTo>
                <a:lnTo>
                  <a:pt x="445008" y="12590"/>
                </a:lnTo>
                <a:lnTo>
                  <a:pt x="420655" y="9013"/>
                </a:lnTo>
                <a:lnTo>
                  <a:pt x="391885" y="5940"/>
                </a:lnTo>
                <a:lnTo>
                  <a:pt x="359252" y="3435"/>
                </a:lnTo>
                <a:lnTo>
                  <a:pt x="341659" y="2416"/>
                </a:lnTo>
                <a:lnTo>
                  <a:pt x="323309" y="1564"/>
                </a:lnTo>
                <a:lnTo>
                  <a:pt x="304270" y="887"/>
                </a:lnTo>
                <a:lnTo>
                  <a:pt x="284611" y="393"/>
                </a:lnTo>
                <a:lnTo>
                  <a:pt x="264402" y="91"/>
                </a:lnTo>
                <a:lnTo>
                  <a:pt x="236943" y="0"/>
                </a:lnTo>
                <a:lnTo>
                  <a:pt x="216410" y="168"/>
                </a:lnTo>
                <a:lnTo>
                  <a:pt x="196378" y="534"/>
                </a:lnTo>
                <a:lnTo>
                  <a:pt x="176919" y="1089"/>
                </a:lnTo>
                <a:lnTo>
                  <a:pt x="158100" y="1824"/>
                </a:lnTo>
                <a:lnTo>
                  <a:pt x="139992" y="2732"/>
                </a:lnTo>
                <a:lnTo>
                  <a:pt x="122664" y="3804"/>
                </a:lnTo>
                <a:lnTo>
                  <a:pt x="106186" y="5033"/>
                </a:lnTo>
                <a:lnTo>
                  <a:pt x="76056" y="7924"/>
                </a:lnTo>
                <a:lnTo>
                  <a:pt x="50158" y="11341"/>
                </a:lnTo>
                <a:lnTo>
                  <a:pt x="29047" y="15218"/>
                </a:lnTo>
                <a:lnTo>
                  <a:pt x="13280" y="19488"/>
                </a:lnTo>
                <a:lnTo>
                  <a:pt x="864" y="26486"/>
                </a:lnTo>
                <a:lnTo>
                  <a:pt x="0" y="28945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5741418" y="5150231"/>
            <a:ext cx="487552" cy="58038"/>
          </a:xfrm>
          <a:custGeom>
            <a:avLst/>
            <a:gdLst/>
            <a:ahLst/>
            <a:cxnLst/>
            <a:rect l="l" t="t" r="r" b="b"/>
            <a:pathLst>
              <a:path w="487553" h="58038">
                <a:moveTo>
                  <a:pt x="0" y="28956"/>
                </a:moveTo>
                <a:lnTo>
                  <a:pt x="7574" y="21760"/>
                </a:lnTo>
                <a:lnTo>
                  <a:pt x="20461" y="17318"/>
                </a:lnTo>
                <a:lnTo>
                  <a:pt x="29047" y="15229"/>
                </a:lnTo>
                <a:lnTo>
                  <a:pt x="38969" y="13237"/>
                </a:lnTo>
                <a:lnTo>
                  <a:pt x="50158" y="11352"/>
                </a:lnTo>
                <a:lnTo>
                  <a:pt x="62543" y="9582"/>
                </a:lnTo>
                <a:lnTo>
                  <a:pt x="76056" y="7935"/>
                </a:lnTo>
                <a:lnTo>
                  <a:pt x="90627" y="6420"/>
                </a:lnTo>
                <a:lnTo>
                  <a:pt x="106186" y="5043"/>
                </a:lnTo>
                <a:lnTo>
                  <a:pt x="122664" y="3815"/>
                </a:lnTo>
                <a:lnTo>
                  <a:pt x="139992" y="2743"/>
                </a:lnTo>
                <a:lnTo>
                  <a:pt x="158100" y="1835"/>
                </a:lnTo>
                <a:lnTo>
                  <a:pt x="176919" y="1099"/>
                </a:lnTo>
                <a:lnTo>
                  <a:pt x="196378" y="545"/>
                </a:lnTo>
                <a:lnTo>
                  <a:pt x="216410" y="179"/>
                </a:lnTo>
                <a:lnTo>
                  <a:pt x="236943" y="10"/>
                </a:lnTo>
                <a:lnTo>
                  <a:pt x="243712" y="0"/>
                </a:lnTo>
                <a:lnTo>
                  <a:pt x="264402" y="102"/>
                </a:lnTo>
                <a:lnTo>
                  <a:pt x="284611" y="404"/>
                </a:lnTo>
                <a:lnTo>
                  <a:pt x="304270" y="898"/>
                </a:lnTo>
                <a:lnTo>
                  <a:pt x="323309" y="1575"/>
                </a:lnTo>
                <a:lnTo>
                  <a:pt x="341659" y="2427"/>
                </a:lnTo>
                <a:lnTo>
                  <a:pt x="359252" y="3446"/>
                </a:lnTo>
                <a:lnTo>
                  <a:pt x="376017" y="4623"/>
                </a:lnTo>
                <a:lnTo>
                  <a:pt x="391885" y="5951"/>
                </a:lnTo>
                <a:lnTo>
                  <a:pt x="406788" y="7421"/>
                </a:lnTo>
                <a:lnTo>
                  <a:pt x="420655" y="9024"/>
                </a:lnTo>
                <a:lnTo>
                  <a:pt x="433418" y="10754"/>
                </a:lnTo>
                <a:lnTo>
                  <a:pt x="445008" y="12601"/>
                </a:lnTo>
                <a:lnTo>
                  <a:pt x="455354" y="14557"/>
                </a:lnTo>
                <a:lnTo>
                  <a:pt x="464389" y="16614"/>
                </a:lnTo>
                <a:lnTo>
                  <a:pt x="478244" y="20998"/>
                </a:lnTo>
                <a:lnTo>
                  <a:pt x="486020" y="25688"/>
                </a:lnTo>
                <a:lnTo>
                  <a:pt x="487553" y="28956"/>
                </a:lnTo>
                <a:lnTo>
                  <a:pt x="486689" y="31431"/>
                </a:lnTo>
                <a:lnTo>
                  <a:pt x="484143" y="33848"/>
                </a:lnTo>
                <a:lnTo>
                  <a:pt x="474286" y="38471"/>
                </a:lnTo>
                <a:lnTo>
                  <a:pt x="458533" y="42761"/>
                </a:lnTo>
                <a:lnTo>
                  <a:pt x="448619" y="44760"/>
                </a:lnTo>
                <a:lnTo>
                  <a:pt x="437439" y="46652"/>
                </a:lnTo>
                <a:lnTo>
                  <a:pt x="425063" y="48428"/>
                </a:lnTo>
                <a:lnTo>
                  <a:pt x="411559" y="50079"/>
                </a:lnTo>
                <a:lnTo>
                  <a:pt x="396997" y="51599"/>
                </a:lnTo>
                <a:lnTo>
                  <a:pt x="381446" y="52979"/>
                </a:lnTo>
                <a:lnTo>
                  <a:pt x="364975" y="54210"/>
                </a:lnTo>
                <a:lnTo>
                  <a:pt x="347654" y="55284"/>
                </a:lnTo>
                <a:lnTo>
                  <a:pt x="329552" y="56195"/>
                </a:lnTo>
                <a:lnTo>
                  <a:pt x="310737" y="56932"/>
                </a:lnTo>
                <a:lnTo>
                  <a:pt x="291280" y="57489"/>
                </a:lnTo>
                <a:lnTo>
                  <a:pt x="271250" y="57856"/>
                </a:lnTo>
                <a:lnTo>
                  <a:pt x="250715" y="58027"/>
                </a:lnTo>
                <a:lnTo>
                  <a:pt x="243712" y="58039"/>
                </a:lnTo>
                <a:lnTo>
                  <a:pt x="223032" y="57936"/>
                </a:lnTo>
                <a:lnTo>
                  <a:pt x="202831" y="57633"/>
                </a:lnTo>
                <a:lnTo>
                  <a:pt x="183179" y="57139"/>
                </a:lnTo>
                <a:lnTo>
                  <a:pt x="164146" y="56460"/>
                </a:lnTo>
                <a:lnTo>
                  <a:pt x="145800" y="55607"/>
                </a:lnTo>
                <a:lnTo>
                  <a:pt x="128212" y="54585"/>
                </a:lnTo>
                <a:lnTo>
                  <a:pt x="111451" y="53405"/>
                </a:lnTo>
                <a:lnTo>
                  <a:pt x="95586" y="52073"/>
                </a:lnTo>
                <a:lnTo>
                  <a:pt x="80686" y="50598"/>
                </a:lnTo>
                <a:lnTo>
                  <a:pt x="66822" y="48988"/>
                </a:lnTo>
                <a:lnTo>
                  <a:pt x="54063" y="47252"/>
                </a:lnTo>
                <a:lnTo>
                  <a:pt x="42478" y="45397"/>
                </a:lnTo>
                <a:lnTo>
                  <a:pt x="32136" y="43431"/>
                </a:lnTo>
                <a:lnTo>
                  <a:pt x="23108" y="41362"/>
                </a:lnTo>
                <a:lnTo>
                  <a:pt x="15462" y="39200"/>
                </a:lnTo>
                <a:lnTo>
                  <a:pt x="4595" y="34624"/>
                </a:lnTo>
                <a:lnTo>
                  <a:pt x="0" y="28956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5737099" y="5013503"/>
            <a:ext cx="496125" cy="163398"/>
          </a:xfrm>
          <a:custGeom>
            <a:avLst/>
            <a:gdLst/>
            <a:ahLst/>
            <a:cxnLst/>
            <a:rect l="l" t="t" r="r" b="b"/>
            <a:pathLst>
              <a:path w="496125" h="163398">
                <a:moveTo>
                  <a:pt x="0" y="163398"/>
                </a:moveTo>
                <a:lnTo>
                  <a:pt x="496125" y="163398"/>
                </a:lnTo>
                <a:lnTo>
                  <a:pt x="496125" y="0"/>
                </a:lnTo>
                <a:lnTo>
                  <a:pt x="0" y="0"/>
                </a:lnTo>
                <a:lnTo>
                  <a:pt x="0" y="163398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5741418" y="4999367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3" h="58143">
                <a:moveTo>
                  <a:pt x="0" y="29071"/>
                </a:moveTo>
                <a:lnTo>
                  <a:pt x="1514" y="32321"/>
                </a:lnTo>
                <a:lnTo>
                  <a:pt x="4595" y="34705"/>
                </a:lnTo>
                <a:lnTo>
                  <a:pt x="23108" y="41423"/>
                </a:lnTo>
                <a:lnTo>
                  <a:pt x="42478" y="45457"/>
                </a:lnTo>
                <a:lnTo>
                  <a:pt x="66822" y="49055"/>
                </a:lnTo>
                <a:lnTo>
                  <a:pt x="95586" y="52151"/>
                </a:lnTo>
                <a:lnTo>
                  <a:pt x="128212" y="54676"/>
                </a:lnTo>
                <a:lnTo>
                  <a:pt x="145800" y="55704"/>
                </a:lnTo>
                <a:lnTo>
                  <a:pt x="164146" y="56563"/>
                </a:lnTo>
                <a:lnTo>
                  <a:pt x="183179" y="57247"/>
                </a:lnTo>
                <a:lnTo>
                  <a:pt x="202831" y="57745"/>
                </a:lnTo>
                <a:lnTo>
                  <a:pt x="223032" y="58051"/>
                </a:lnTo>
                <a:lnTo>
                  <a:pt x="250715" y="58143"/>
                </a:lnTo>
                <a:lnTo>
                  <a:pt x="271250" y="57970"/>
                </a:lnTo>
                <a:lnTo>
                  <a:pt x="291280" y="57600"/>
                </a:lnTo>
                <a:lnTo>
                  <a:pt x="310737" y="57039"/>
                </a:lnTo>
                <a:lnTo>
                  <a:pt x="329552" y="56296"/>
                </a:lnTo>
                <a:lnTo>
                  <a:pt x="347654" y="55379"/>
                </a:lnTo>
                <a:lnTo>
                  <a:pt x="364975" y="54298"/>
                </a:lnTo>
                <a:lnTo>
                  <a:pt x="381446" y="53061"/>
                </a:lnTo>
                <a:lnTo>
                  <a:pt x="411559" y="50150"/>
                </a:lnTo>
                <a:lnTo>
                  <a:pt x="437439" y="46714"/>
                </a:lnTo>
                <a:lnTo>
                  <a:pt x="458533" y="42820"/>
                </a:lnTo>
                <a:lnTo>
                  <a:pt x="474286" y="38537"/>
                </a:lnTo>
                <a:lnTo>
                  <a:pt x="487553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5741418" y="4999356"/>
            <a:ext cx="487552" cy="58165"/>
          </a:xfrm>
          <a:custGeom>
            <a:avLst/>
            <a:gdLst/>
            <a:ahLst/>
            <a:cxnLst/>
            <a:rect l="l" t="t" r="r" b="b"/>
            <a:pathLst>
              <a:path w="487553" h="58165">
                <a:moveTo>
                  <a:pt x="0" y="29083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3" y="29083"/>
                </a:lnTo>
                <a:lnTo>
                  <a:pt x="486689" y="31540"/>
                </a:lnTo>
                <a:lnTo>
                  <a:pt x="484143" y="33943"/>
                </a:lnTo>
                <a:lnTo>
                  <a:pt x="474286" y="38548"/>
                </a:lnTo>
                <a:lnTo>
                  <a:pt x="458533" y="42831"/>
                </a:lnTo>
                <a:lnTo>
                  <a:pt x="448619" y="44831"/>
                </a:lnTo>
                <a:lnTo>
                  <a:pt x="437439" y="46725"/>
                </a:lnTo>
                <a:lnTo>
                  <a:pt x="425063" y="48504"/>
                </a:lnTo>
                <a:lnTo>
                  <a:pt x="411559" y="50161"/>
                </a:lnTo>
                <a:lnTo>
                  <a:pt x="396997" y="51686"/>
                </a:lnTo>
                <a:lnTo>
                  <a:pt x="381446" y="53072"/>
                </a:lnTo>
                <a:lnTo>
                  <a:pt x="364975" y="54309"/>
                </a:lnTo>
                <a:lnTo>
                  <a:pt x="347654" y="55390"/>
                </a:lnTo>
                <a:lnTo>
                  <a:pt x="329552" y="56307"/>
                </a:lnTo>
                <a:lnTo>
                  <a:pt x="310737" y="57050"/>
                </a:lnTo>
                <a:lnTo>
                  <a:pt x="291280" y="57611"/>
                </a:lnTo>
                <a:lnTo>
                  <a:pt x="271250" y="57981"/>
                </a:lnTo>
                <a:lnTo>
                  <a:pt x="250715" y="58154"/>
                </a:lnTo>
                <a:lnTo>
                  <a:pt x="243712" y="58166"/>
                </a:lnTo>
                <a:lnTo>
                  <a:pt x="223032" y="58062"/>
                </a:lnTo>
                <a:lnTo>
                  <a:pt x="202831" y="57756"/>
                </a:lnTo>
                <a:lnTo>
                  <a:pt x="183179" y="57258"/>
                </a:lnTo>
                <a:lnTo>
                  <a:pt x="164146" y="56574"/>
                </a:lnTo>
                <a:lnTo>
                  <a:pt x="145800" y="55715"/>
                </a:lnTo>
                <a:lnTo>
                  <a:pt x="128212" y="54687"/>
                </a:lnTo>
                <a:lnTo>
                  <a:pt x="111451" y="53500"/>
                </a:lnTo>
                <a:lnTo>
                  <a:pt x="95586" y="52162"/>
                </a:lnTo>
                <a:lnTo>
                  <a:pt x="80686" y="50681"/>
                </a:lnTo>
                <a:lnTo>
                  <a:pt x="66822" y="49066"/>
                </a:lnTo>
                <a:lnTo>
                  <a:pt x="54063" y="47326"/>
                </a:lnTo>
                <a:lnTo>
                  <a:pt x="42478" y="45468"/>
                </a:lnTo>
                <a:lnTo>
                  <a:pt x="32136" y="43501"/>
                </a:lnTo>
                <a:lnTo>
                  <a:pt x="23108" y="41434"/>
                </a:lnTo>
                <a:lnTo>
                  <a:pt x="15462" y="39276"/>
                </a:lnTo>
                <a:lnTo>
                  <a:pt x="4595" y="34716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5737099" y="4958532"/>
            <a:ext cx="496125" cy="73842"/>
          </a:xfrm>
          <a:custGeom>
            <a:avLst/>
            <a:gdLst/>
            <a:ahLst/>
            <a:cxnLst/>
            <a:rect l="l" t="t" r="r" b="b"/>
            <a:pathLst>
              <a:path w="496125" h="73842">
                <a:moveTo>
                  <a:pt x="0" y="73842"/>
                </a:moveTo>
                <a:lnTo>
                  <a:pt x="496125" y="73842"/>
                </a:lnTo>
                <a:lnTo>
                  <a:pt x="496125" y="0"/>
                </a:lnTo>
                <a:lnTo>
                  <a:pt x="0" y="0"/>
                </a:lnTo>
                <a:lnTo>
                  <a:pt x="0" y="73842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5741418" y="4931803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3" h="58143">
                <a:moveTo>
                  <a:pt x="0" y="29071"/>
                </a:moveTo>
                <a:lnTo>
                  <a:pt x="1514" y="32321"/>
                </a:lnTo>
                <a:lnTo>
                  <a:pt x="4595" y="34705"/>
                </a:lnTo>
                <a:lnTo>
                  <a:pt x="23108" y="41423"/>
                </a:lnTo>
                <a:lnTo>
                  <a:pt x="42478" y="45457"/>
                </a:lnTo>
                <a:lnTo>
                  <a:pt x="66822" y="49055"/>
                </a:lnTo>
                <a:lnTo>
                  <a:pt x="95586" y="52151"/>
                </a:lnTo>
                <a:lnTo>
                  <a:pt x="128212" y="54676"/>
                </a:lnTo>
                <a:lnTo>
                  <a:pt x="145800" y="55704"/>
                </a:lnTo>
                <a:lnTo>
                  <a:pt x="164146" y="56563"/>
                </a:lnTo>
                <a:lnTo>
                  <a:pt x="183179" y="57247"/>
                </a:lnTo>
                <a:lnTo>
                  <a:pt x="202831" y="57745"/>
                </a:lnTo>
                <a:lnTo>
                  <a:pt x="223032" y="58051"/>
                </a:lnTo>
                <a:lnTo>
                  <a:pt x="250715" y="58143"/>
                </a:lnTo>
                <a:lnTo>
                  <a:pt x="271250" y="57970"/>
                </a:lnTo>
                <a:lnTo>
                  <a:pt x="291280" y="57600"/>
                </a:lnTo>
                <a:lnTo>
                  <a:pt x="310737" y="57039"/>
                </a:lnTo>
                <a:lnTo>
                  <a:pt x="329552" y="56296"/>
                </a:lnTo>
                <a:lnTo>
                  <a:pt x="347654" y="55379"/>
                </a:lnTo>
                <a:lnTo>
                  <a:pt x="364975" y="54298"/>
                </a:lnTo>
                <a:lnTo>
                  <a:pt x="381446" y="53061"/>
                </a:lnTo>
                <a:lnTo>
                  <a:pt x="411559" y="50150"/>
                </a:lnTo>
                <a:lnTo>
                  <a:pt x="437439" y="46714"/>
                </a:lnTo>
                <a:lnTo>
                  <a:pt x="458533" y="42820"/>
                </a:lnTo>
                <a:lnTo>
                  <a:pt x="474286" y="38537"/>
                </a:lnTo>
                <a:lnTo>
                  <a:pt x="487553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5741418" y="4931791"/>
            <a:ext cx="487552" cy="58165"/>
          </a:xfrm>
          <a:custGeom>
            <a:avLst/>
            <a:gdLst/>
            <a:ahLst/>
            <a:cxnLst/>
            <a:rect l="l" t="t" r="r" b="b"/>
            <a:pathLst>
              <a:path w="487553" h="58165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3" y="29082"/>
                </a:lnTo>
                <a:lnTo>
                  <a:pt x="486689" y="31540"/>
                </a:lnTo>
                <a:lnTo>
                  <a:pt x="484143" y="33943"/>
                </a:lnTo>
                <a:lnTo>
                  <a:pt x="474286" y="38548"/>
                </a:lnTo>
                <a:lnTo>
                  <a:pt x="458533" y="42831"/>
                </a:lnTo>
                <a:lnTo>
                  <a:pt x="448619" y="44831"/>
                </a:lnTo>
                <a:lnTo>
                  <a:pt x="437439" y="46725"/>
                </a:lnTo>
                <a:lnTo>
                  <a:pt x="425063" y="48504"/>
                </a:lnTo>
                <a:lnTo>
                  <a:pt x="411559" y="50161"/>
                </a:lnTo>
                <a:lnTo>
                  <a:pt x="396997" y="51686"/>
                </a:lnTo>
                <a:lnTo>
                  <a:pt x="381446" y="53072"/>
                </a:lnTo>
                <a:lnTo>
                  <a:pt x="364975" y="54309"/>
                </a:lnTo>
                <a:lnTo>
                  <a:pt x="347654" y="55390"/>
                </a:lnTo>
                <a:lnTo>
                  <a:pt x="329552" y="56307"/>
                </a:lnTo>
                <a:lnTo>
                  <a:pt x="310737" y="57050"/>
                </a:lnTo>
                <a:lnTo>
                  <a:pt x="291280" y="57611"/>
                </a:lnTo>
                <a:lnTo>
                  <a:pt x="271250" y="57981"/>
                </a:lnTo>
                <a:lnTo>
                  <a:pt x="250715" y="58154"/>
                </a:lnTo>
                <a:lnTo>
                  <a:pt x="243712" y="58165"/>
                </a:lnTo>
                <a:lnTo>
                  <a:pt x="223032" y="58062"/>
                </a:lnTo>
                <a:lnTo>
                  <a:pt x="202831" y="57756"/>
                </a:lnTo>
                <a:lnTo>
                  <a:pt x="183179" y="57258"/>
                </a:lnTo>
                <a:lnTo>
                  <a:pt x="164146" y="56574"/>
                </a:lnTo>
                <a:lnTo>
                  <a:pt x="145800" y="55715"/>
                </a:lnTo>
                <a:lnTo>
                  <a:pt x="128212" y="54687"/>
                </a:lnTo>
                <a:lnTo>
                  <a:pt x="111451" y="53500"/>
                </a:lnTo>
                <a:lnTo>
                  <a:pt x="95586" y="52162"/>
                </a:lnTo>
                <a:lnTo>
                  <a:pt x="80686" y="50681"/>
                </a:lnTo>
                <a:lnTo>
                  <a:pt x="66822" y="49066"/>
                </a:lnTo>
                <a:lnTo>
                  <a:pt x="54063" y="47326"/>
                </a:lnTo>
                <a:lnTo>
                  <a:pt x="42478" y="45468"/>
                </a:lnTo>
                <a:lnTo>
                  <a:pt x="32136" y="43501"/>
                </a:lnTo>
                <a:lnTo>
                  <a:pt x="23108" y="41434"/>
                </a:lnTo>
                <a:lnTo>
                  <a:pt x="15462" y="39276"/>
                </a:lnTo>
                <a:lnTo>
                  <a:pt x="4595" y="34716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6364733" y="5150242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2" h="58016">
                <a:moveTo>
                  <a:pt x="0" y="28944"/>
                </a:moveTo>
                <a:lnTo>
                  <a:pt x="1535" y="32239"/>
                </a:lnTo>
                <a:lnTo>
                  <a:pt x="4629" y="34633"/>
                </a:lnTo>
                <a:lnTo>
                  <a:pt x="23170" y="41366"/>
                </a:lnTo>
                <a:lnTo>
                  <a:pt x="42552" y="45397"/>
                </a:lnTo>
                <a:lnTo>
                  <a:pt x="66905" y="48985"/>
                </a:lnTo>
                <a:lnTo>
                  <a:pt x="95674" y="52067"/>
                </a:lnTo>
                <a:lnTo>
                  <a:pt x="128307" y="54577"/>
                </a:lnTo>
                <a:lnTo>
                  <a:pt x="145898" y="55597"/>
                </a:lnTo>
                <a:lnTo>
                  <a:pt x="164247" y="56450"/>
                </a:lnTo>
                <a:lnTo>
                  <a:pt x="183286" y="57128"/>
                </a:lnTo>
                <a:lnTo>
                  <a:pt x="202943" y="57622"/>
                </a:lnTo>
                <a:lnTo>
                  <a:pt x="223151" y="57924"/>
                </a:lnTo>
                <a:lnTo>
                  <a:pt x="250633" y="58016"/>
                </a:lnTo>
                <a:lnTo>
                  <a:pt x="271165" y="57847"/>
                </a:lnTo>
                <a:lnTo>
                  <a:pt x="291194" y="57481"/>
                </a:lnTo>
                <a:lnTo>
                  <a:pt x="310652" y="56926"/>
                </a:lnTo>
                <a:lnTo>
                  <a:pt x="329469" y="56189"/>
                </a:lnTo>
                <a:lnTo>
                  <a:pt x="347575" y="55280"/>
                </a:lnTo>
                <a:lnTo>
                  <a:pt x="364901" y="54206"/>
                </a:lnTo>
                <a:lnTo>
                  <a:pt x="381378" y="52975"/>
                </a:lnTo>
                <a:lnTo>
                  <a:pt x="411505" y="50076"/>
                </a:lnTo>
                <a:lnTo>
                  <a:pt x="437400" y="46648"/>
                </a:lnTo>
                <a:lnTo>
                  <a:pt x="458508" y="42755"/>
                </a:lnTo>
                <a:lnTo>
                  <a:pt x="474273" y="38464"/>
                </a:lnTo>
                <a:lnTo>
                  <a:pt x="487552" y="28944"/>
                </a:lnTo>
                <a:lnTo>
                  <a:pt x="486041" y="25699"/>
                </a:lnTo>
                <a:lnTo>
                  <a:pt x="464451" y="16617"/>
                </a:lnTo>
                <a:lnTo>
                  <a:pt x="445082" y="12601"/>
                </a:lnTo>
                <a:lnTo>
                  <a:pt x="420738" y="9021"/>
                </a:lnTo>
                <a:lnTo>
                  <a:pt x="391974" y="5945"/>
                </a:lnTo>
                <a:lnTo>
                  <a:pt x="359346" y="3438"/>
                </a:lnTo>
                <a:lnTo>
                  <a:pt x="341757" y="2418"/>
                </a:lnTo>
                <a:lnTo>
                  <a:pt x="323411" y="1565"/>
                </a:lnTo>
                <a:lnTo>
                  <a:pt x="304376" y="887"/>
                </a:lnTo>
                <a:lnTo>
                  <a:pt x="284723" y="393"/>
                </a:lnTo>
                <a:lnTo>
                  <a:pt x="264521" y="91"/>
                </a:lnTo>
                <a:lnTo>
                  <a:pt x="236861" y="0"/>
                </a:lnTo>
                <a:lnTo>
                  <a:pt x="216325" y="170"/>
                </a:lnTo>
                <a:lnTo>
                  <a:pt x="196292" y="537"/>
                </a:lnTo>
                <a:lnTo>
                  <a:pt x="176833" y="1093"/>
                </a:lnTo>
                <a:lnTo>
                  <a:pt x="158017" y="1830"/>
                </a:lnTo>
                <a:lnTo>
                  <a:pt x="139913" y="2738"/>
                </a:lnTo>
                <a:lnTo>
                  <a:pt x="122590" y="3811"/>
                </a:lnTo>
                <a:lnTo>
                  <a:pt x="106118" y="5040"/>
                </a:lnTo>
                <a:lnTo>
                  <a:pt x="76001" y="7932"/>
                </a:lnTo>
                <a:lnTo>
                  <a:pt x="50118" y="11348"/>
                </a:lnTo>
                <a:lnTo>
                  <a:pt x="29022" y="15223"/>
                </a:lnTo>
                <a:lnTo>
                  <a:pt x="13268" y="19491"/>
                </a:lnTo>
                <a:lnTo>
                  <a:pt x="863" y="26487"/>
                </a:lnTo>
                <a:lnTo>
                  <a:pt x="0" y="28944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6364733" y="5150231"/>
            <a:ext cx="487552" cy="58038"/>
          </a:xfrm>
          <a:custGeom>
            <a:avLst/>
            <a:gdLst/>
            <a:ahLst/>
            <a:cxnLst/>
            <a:rect l="l" t="t" r="r" b="b"/>
            <a:pathLst>
              <a:path w="487552" h="58038">
                <a:moveTo>
                  <a:pt x="0" y="28956"/>
                </a:moveTo>
                <a:lnTo>
                  <a:pt x="7567" y="21764"/>
                </a:lnTo>
                <a:lnTo>
                  <a:pt x="20443" y="17324"/>
                </a:lnTo>
                <a:lnTo>
                  <a:pt x="29022" y="15235"/>
                </a:lnTo>
                <a:lnTo>
                  <a:pt x="38937" y="13244"/>
                </a:lnTo>
                <a:lnTo>
                  <a:pt x="50118" y="11360"/>
                </a:lnTo>
                <a:lnTo>
                  <a:pt x="62496" y="9590"/>
                </a:lnTo>
                <a:lnTo>
                  <a:pt x="76001" y="7943"/>
                </a:lnTo>
                <a:lnTo>
                  <a:pt x="90565" y="6428"/>
                </a:lnTo>
                <a:lnTo>
                  <a:pt x="106118" y="5051"/>
                </a:lnTo>
                <a:lnTo>
                  <a:pt x="122590" y="3823"/>
                </a:lnTo>
                <a:lnTo>
                  <a:pt x="139913" y="2750"/>
                </a:lnTo>
                <a:lnTo>
                  <a:pt x="158017" y="1841"/>
                </a:lnTo>
                <a:lnTo>
                  <a:pt x="176833" y="1105"/>
                </a:lnTo>
                <a:lnTo>
                  <a:pt x="196292" y="549"/>
                </a:lnTo>
                <a:lnTo>
                  <a:pt x="216325" y="181"/>
                </a:lnTo>
                <a:lnTo>
                  <a:pt x="236861" y="11"/>
                </a:lnTo>
                <a:lnTo>
                  <a:pt x="243839" y="0"/>
                </a:lnTo>
                <a:lnTo>
                  <a:pt x="264521" y="102"/>
                </a:lnTo>
                <a:lnTo>
                  <a:pt x="284723" y="405"/>
                </a:lnTo>
                <a:lnTo>
                  <a:pt x="304376" y="899"/>
                </a:lnTo>
                <a:lnTo>
                  <a:pt x="323411" y="1577"/>
                </a:lnTo>
                <a:lnTo>
                  <a:pt x="341757" y="2429"/>
                </a:lnTo>
                <a:lnTo>
                  <a:pt x="359346" y="3449"/>
                </a:lnTo>
                <a:lnTo>
                  <a:pt x="376108" y="4628"/>
                </a:lnTo>
                <a:lnTo>
                  <a:pt x="391974" y="5957"/>
                </a:lnTo>
                <a:lnTo>
                  <a:pt x="406874" y="7428"/>
                </a:lnTo>
                <a:lnTo>
                  <a:pt x="420738" y="9033"/>
                </a:lnTo>
                <a:lnTo>
                  <a:pt x="433497" y="10764"/>
                </a:lnTo>
                <a:lnTo>
                  <a:pt x="445082" y="12612"/>
                </a:lnTo>
                <a:lnTo>
                  <a:pt x="455424" y="14570"/>
                </a:lnTo>
                <a:lnTo>
                  <a:pt x="464451" y="16629"/>
                </a:lnTo>
                <a:lnTo>
                  <a:pt x="478290" y="21017"/>
                </a:lnTo>
                <a:lnTo>
                  <a:pt x="486041" y="25710"/>
                </a:lnTo>
                <a:lnTo>
                  <a:pt x="487552" y="28956"/>
                </a:lnTo>
                <a:lnTo>
                  <a:pt x="486688" y="31432"/>
                </a:lnTo>
                <a:lnTo>
                  <a:pt x="484140" y="33850"/>
                </a:lnTo>
                <a:lnTo>
                  <a:pt x="474273" y="38476"/>
                </a:lnTo>
                <a:lnTo>
                  <a:pt x="458508" y="42767"/>
                </a:lnTo>
                <a:lnTo>
                  <a:pt x="448587" y="44767"/>
                </a:lnTo>
                <a:lnTo>
                  <a:pt x="437400" y="46659"/>
                </a:lnTo>
                <a:lnTo>
                  <a:pt x="425016" y="48436"/>
                </a:lnTo>
                <a:lnTo>
                  <a:pt x="411505" y="50088"/>
                </a:lnTo>
                <a:lnTo>
                  <a:pt x="396935" y="51607"/>
                </a:lnTo>
                <a:lnTo>
                  <a:pt x="381378" y="52987"/>
                </a:lnTo>
                <a:lnTo>
                  <a:pt x="364901" y="54217"/>
                </a:lnTo>
                <a:lnTo>
                  <a:pt x="347575" y="55292"/>
                </a:lnTo>
                <a:lnTo>
                  <a:pt x="329469" y="56201"/>
                </a:lnTo>
                <a:lnTo>
                  <a:pt x="310652" y="56937"/>
                </a:lnTo>
                <a:lnTo>
                  <a:pt x="291194" y="57493"/>
                </a:lnTo>
                <a:lnTo>
                  <a:pt x="271165" y="57859"/>
                </a:lnTo>
                <a:lnTo>
                  <a:pt x="250633" y="58027"/>
                </a:lnTo>
                <a:lnTo>
                  <a:pt x="243839" y="58039"/>
                </a:lnTo>
                <a:lnTo>
                  <a:pt x="223151" y="57936"/>
                </a:lnTo>
                <a:lnTo>
                  <a:pt x="202943" y="57634"/>
                </a:lnTo>
                <a:lnTo>
                  <a:pt x="183286" y="57140"/>
                </a:lnTo>
                <a:lnTo>
                  <a:pt x="164247" y="56462"/>
                </a:lnTo>
                <a:lnTo>
                  <a:pt x="145898" y="55609"/>
                </a:lnTo>
                <a:lnTo>
                  <a:pt x="128307" y="54589"/>
                </a:lnTo>
                <a:lnTo>
                  <a:pt x="111542" y="53409"/>
                </a:lnTo>
                <a:lnTo>
                  <a:pt x="95674" y="52079"/>
                </a:lnTo>
                <a:lnTo>
                  <a:pt x="80772" y="50605"/>
                </a:lnTo>
                <a:lnTo>
                  <a:pt x="66905" y="48997"/>
                </a:lnTo>
                <a:lnTo>
                  <a:pt x="54142" y="47262"/>
                </a:lnTo>
                <a:lnTo>
                  <a:pt x="42552" y="45408"/>
                </a:lnTo>
                <a:lnTo>
                  <a:pt x="32205" y="43444"/>
                </a:lnTo>
                <a:lnTo>
                  <a:pt x="23170" y="41378"/>
                </a:lnTo>
                <a:lnTo>
                  <a:pt x="15517" y="39217"/>
                </a:lnTo>
                <a:lnTo>
                  <a:pt x="4629" y="34645"/>
                </a:lnTo>
                <a:lnTo>
                  <a:pt x="0" y="28956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6360415" y="5013503"/>
            <a:ext cx="496125" cy="163398"/>
          </a:xfrm>
          <a:custGeom>
            <a:avLst/>
            <a:gdLst/>
            <a:ahLst/>
            <a:cxnLst/>
            <a:rect l="l" t="t" r="r" b="b"/>
            <a:pathLst>
              <a:path w="496125" h="163398">
                <a:moveTo>
                  <a:pt x="0" y="163398"/>
                </a:moveTo>
                <a:lnTo>
                  <a:pt x="496125" y="163398"/>
                </a:lnTo>
                <a:lnTo>
                  <a:pt x="496125" y="0"/>
                </a:lnTo>
                <a:lnTo>
                  <a:pt x="0" y="0"/>
                </a:lnTo>
                <a:lnTo>
                  <a:pt x="0" y="163398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6364733" y="4999367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35" y="32343"/>
                </a:lnTo>
                <a:lnTo>
                  <a:pt x="4629" y="34725"/>
                </a:lnTo>
                <a:lnTo>
                  <a:pt x="23170" y="41438"/>
                </a:lnTo>
                <a:lnTo>
                  <a:pt x="42552" y="45468"/>
                </a:lnTo>
                <a:lnTo>
                  <a:pt x="66905" y="49063"/>
                </a:lnTo>
                <a:lnTo>
                  <a:pt x="95674" y="52156"/>
                </a:lnTo>
                <a:lnTo>
                  <a:pt x="128307" y="54679"/>
                </a:lnTo>
                <a:lnTo>
                  <a:pt x="145898" y="55705"/>
                </a:lnTo>
                <a:lnTo>
                  <a:pt x="164247" y="56564"/>
                </a:lnTo>
                <a:lnTo>
                  <a:pt x="183286" y="57247"/>
                </a:lnTo>
                <a:lnTo>
                  <a:pt x="202943" y="57745"/>
                </a:lnTo>
                <a:lnTo>
                  <a:pt x="223151" y="58050"/>
                </a:lnTo>
                <a:lnTo>
                  <a:pt x="250633" y="58143"/>
                </a:lnTo>
                <a:lnTo>
                  <a:pt x="271165" y="57972"/>
                </a:lnTo>
                <a:lnTo>
                  <a:pt x="291194" y="57603"/>
                </a:lnTo>
                <a:lnTo>
                  <a:pt x="310652" y="57043"/>
                </a:lnTo>
                <a:lnTo>
                  <a:pt x="329469" y="56301"/>
                </a:lnTo>
                <a:lnTo>
                  <a:pt x="347575" y="55386"/>
                </a:lnTo>
                <a:lnTo>
                  <a:pt x="364901" y="54305"/>
                </a:lnTo>
                <a:lnTo>
                  <a:pt x="381378" y="53068"/>
                </a:lnTo>
                <a:lnTo>
                  <a:pt x="411505" y="50157"/>
                </a:lnTo>
                <a:lnTo>
                  <a:pt x="437400" y="46721"/>
                </a:lnTo>
                <a:lnTo>
                  <a:pt x="458508" y="42826"/>
                </a:lnTo>
                <a:lnTo>
                  <a:pt x="474273" y="38541"/>
                </a:lnTo>
                <a:lnTo>
                  <a:pt x="487552" y="29071"/>
                </a:lnTo>
                <a:lnTo>
                  <a:pt x="486038" y="25799"/>
                </a:lnTo>
                <a:lnTo>
                  <a:pt x="464444" y="16664"/>
                </a:lnTo>
                <a:lnTo>
                  <a:pt x="445074" y="12630"/>
                </a:lnTo>
                <a:lnTo>
                  <a:pt x="420730" y="9038"/>
                </a:lnTo>
                <a:lnTo>
                  <a:pt x="391966" y="5953"/>
                </a:lnTo>
                <a:lnTo>
                  <a:pt x="359340" y="3441"/>
                </a:lnTo>
                <a:lnTo>
                  <a:pt x="341752" y="2420"/>
                </a:lnTo>
                <a:lnTo>
                  <a:pt x="323406" y="1566"/>
                </a:lnTo>
                <a:lnTo>
                  <a:pt x="304373" y="888"/>
                </a:lnTo>
                <a:lnTo>
                  <a:pt x="284721" y="393"/>
                </a:lnTo>
                <a:lnTo>
                  <a:pt x="264520" y="91"/>
                </a:lnTo>
                <a:lnTo>
                  <a:pt x="236837" y="0"/>
                </a:lnTo>
                <a:lnTo>
                  <a:pt x="216302" y="170"/>
                </a:lnTo>
                <a:lnTo>
                  <a:pt x="196272" y="538"/>
                </a:lnTo>
                <a:lnTo>
                  <a:pt x="176815" y="1094"/>
                </a:lnTo>
                <a:lnTo>
                  <a:pt x="158000" y="1832"/>
                </a:lnTo>
                <a:lnTo>
                  <a:pt x="139898" y="2742"/>
                </a:lnTo>
                <a:lnTo>
                  <a:pt x="122577" y="3817"/>
                </a:lnTo>
                <a:lnTo>
                  <a:pt x="106106" y="5048"/>
                </a:lnTo>
                <a:lnTo>
                  <a:pt x="75993" y="7947"/>
                </a:lnTo>
                <a:lnTo>
                  <a:pt x="50113" y="11374"/>
                </a:lnTo>
                <a:lnTo>
                  <a:pt x="29019" y="15266"/>
                </a:lnTo>
                <a:lnTo>
                  <a:pt x="13266" y="19555"/>
                </a:lnTo>
                <a:lnTo>
                  <a:pt x="863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6364733" y="4999356"/>
            <a:ext cx="487552" cy="58165"/>
          </a:xfrm>
          <a:custGeom>
            <a:avLst/>
            <a:gdLst/>
            <a:ahLst/>
            <a:cxnLst/>
            <a:rect l="l" t="t" r="r" b="b"/>
            <a:pathLst>
              <a:path w="487552" h="58165">
                <a:moveTo>
                  <a:pt x="0" y="29083"/>
                </a:moveTo>
                <a:lnTo>
                  <a:pt x="7566" y="21841"/>
                </a:lnTo>
                <a:lnTo>
                  <a:pt x="20441" y="17376"/>
                </a:lnTo>
                <a:lnTo>
                  <a:pt x="29019" y="15277"/>
                </a:lnTo>
                <a:lnTo>
                  <a:pt x="38933" y="13278"/>
                </a:lnTo>
                <a:lnTo>
                  <a:pt x="50113" y="11386"/>
                </a:lnTo>
                <a:lnTo>
                  <a:pt x="62489" y="9610"/>
                </a:lnTo>
                <a:lnTo>
                  <a:pt x="75993" y="7959"/>
                </a:lnTo>
                <a:lnTo>
                  <a:pt x="90555" y="6439"/>
                </a:lnTo>
                <a:lnTo>
                  <a:pt x="106106" y="5059"/>
                </a:lnTo>
                <a:lnTo>
                  <a:pt x="122577" y="3828"/>
                </a:lnTo>
                <a:lnTo>
                  <a:pt x="139898" y="2754"/>
                </a:lnTo>
                <a:lnTo>
                  <a:pt x="158000" y="1843"/>
                </a:lnTo>
                <a:lnTo>
                  <a:pt x="176815" y="1106"/>
                </a:lnTo>
                <a:lnTo>
                  <a:pt x="196272" y="549"/>
                </a:lnTo>
                <a:lnTo>
                  <a:pt x="216302" y="182"/>
                </a:lnTo>
                <a:lnTo>
                  <a:pt x="236837" y="11"/>
                </a:lnTo>
                <a:lnTo>
                  <a:pt x="243839" y="0"/>
                </a:lnTo>
                <a:lnTo>
                  <a:pt x="264520" y="102"/>
                </a:lnTo>
                <a:lnTo>
                  <a:pt x="284721" y="405"/>
                </a:lnTo>
                <a:lnTo>
                  <a:pt x="304373" y="899"/>
                </a:lnTo>
                <a:lnTo>
                  <a:pt x="323406" y="1578"/>
                </a:lnTo>
                <a:lnTo>
                  <a:pt x="341752" y="2431"/>
                </a:lnTo>
                <a:lnTo>
                  <a:pt x="359340" y="3453"/>
                </a:lnTo>
                <a:lnTo>
                  <a:pt x="376101" y="4633"/>
                </a:lnTo>
                <a:lnTo>
                  <a:pt x="391966" y="5965"/>
                </a:lnTo>
                <a:lnTo>
                  <a:pt x="406866" y="7440"/>
                </a:lnTo>
                <a:lnTo>
                  <a:pt x="420730" y="9050"/>
                </a:lnTo>
                <a:lnTo>
                  <a:pt x="433489" y="10786"/>
                </a:lnTo>
                <a:lnTo>
                  <a:pt x="445074" y="12641"/>
                </a:lnTo>
                <a:lnTo>
                  <a:pt x="455416" y="14607"/>
                </a:lnTo>
                <a:lnTo>
                  <a:pt x="464444" y="16676"/>
                </a:lnTo>
                <a:lnTo>
                  <a:pt x="478284" y="21087"/>
                </a:lnTo>
                <a:lnTo>
                  <a:pt x="486038" y="25810"/>
                </a:lnTo>
                <a:lnTo>
                  <a:pt x="487552" y="29083"/>
                </a:lnTo>
                <a:lnTo>
                  <a:pt x="486688" y="31542"/>
                </a:lnTo>
                <a:lnTo>
                  <a:pt x="484140" y="33945"/>
                </a:lnTo>
                <a:lnTo>
                  <a:pt x="474273" y="38553"/>
                </a:lnTo>
                <a:lnTo>
                  <a:pt x="458508" y="42838"/>
                </a:lnTo>
                <a:lnTo>
                  <a:pt x="448587" y="44838"/>
                </a:lnTo>
                <a:lnTo>
                  <a:pt x="437400" y="46732"/>
                </a:lnTo>
                <a:lnTo>
                  <a:pt x="425016" y="48512"/>
                </a:lnTo>
                <a:lnTo>
                  <a:pt x="411505" y="50169"/>
                </a:lnTo>
                <a:lnTo>
                  <a:pt x="396935" y="51694"/>
                </a:lnTo>
                <a:lnTo>
                  <a:pt x="381378" y="53080"/>
                </a:lnTo>
                <a:lnTo>
                  <a:pt x="364901" y="54317"/>
                </a:lnTo>
                <a:lnTo>
                  <a:pt x="347575" y="55398"/>
                </a:lnTo>
                <a:lnTo>
                  <a:pt x="329469" y="56313"/>
                </a:lnTo>
                <a:lnTo>
                  <a:pt x="310652" y="57055"/>
                </a:lnTo>
                <a:lnTo>
                  <a:pt x="291194" y="57615"/>
                </a:lnTo>
                <a:lnTo>
                  <a:pt x="271165" y="57984"/>
                </a:lnTo>
                <a:lnTo>
                  <a:pt x="250633" y="58154"/>
                </a:lnTo>
                <a:lnTo>
                  <a:pt x="243839" y="58166"/>
                </a:lnTo>
                <a:lnTo>
                  <a:pt x="223151" y="58062"/>
                </a:lnTo>
                <a:lnTo>
                  <a:pt x="202943" y="57757"/>
                </a:lnTo>
                <a:lnTo>
                  <a:pt x="183286" y="57259"/>
                </a:lnTo>
                <a:lnTo>
                  <a:pt x="164247" y="56576"/>
                </a:lnTo>
                <a:lnTo>
                  <a:pt x="145898" y="55717"/>
                </a:lnTo>
                <a:lnTo>
                  <a:pt x="128307" y="54690"/>
                </a:lnTo>
                <a:lnTo>
                  <a:pt x="111542" y="53504"/>
                </a:lnTo>
                <a:lnTo>
                  <a:pt x="95674" y="52168"/>
                </a:lnTo>
                <a:lnTo>
                  <a:pt x="80772" y="50688"/>
                </a:lnTo>
                <a:lnTo>
                  <a:pt x="66905" y="49075"/>
                </a:lnTo>
                <a:lnTo>
                  <a:pt x="54142" y="47336"/>
                </a:lnTo>
                <a:lnTo>
                  <a:pt x="42552" y="45480"/>
                </a:lnTo>
                <a:lnTo>
                  <a:pt x="32205" y="43515"/>
                </a:lnTo>
                <a:lnTo>
                  <a:pt x="23170" y="41450"/>
                </a:lnTo>
                <a:lnTo>
                  <a:pt x="15517" y="39293"/>
                </a:lnTo>
                <a:lnTo>
                  <a:pt x="4629" y="34737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6360415" y="4958532"/>
            <a:ext cx="496125" cy="73842"/>
          </a:xfrm>
          <a:custGeom>
            <a:avLst/>
            <a:gdLst/>
            <a:ahLst/>
            <a:cxnLst/>
            <a:rect l="l" t="t" r="r" b="b"/>
            <a:pathLst>
              <a:path w="496125" h="73842">
                <a:moveTo>
                  <a:pt x="0" y="73842"/>
                </a:moveTo>
                <a:lnTo>
                  <a:pt x="496125" y="73842"/>
                </a:lnTo>
                <a:lnTo>
                  <a:pt x="496125" y="0"/>
                </a:lnTo>
                <a:lnTo>
                  <a:pt x="0" y="0"/>
                </a:lnTo>
                <a:lnTo>
                  <a:pt x="0" y="73842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6364733" y="4931803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35" y="32343"/>
                </a:lnTo>
                <a:lnTo>
                  <a:pt x="4629" y="34725"/>
                </a:lnTo>
                <a:lnTo>
                  <a:pt x="23170" y="41438"/>
                </a:lnTo>
                <a:lnTo>
                  <a:pt x="42552" y="45468"/>
                </a:lnTo>
                <a:lnTo>
                  <a:pt x="66905" y="49063"/>
                </a:lnTo>
                <a:lnTo>
                  <a:pt x="95674" y="52156"/>
                </a:lnTo>
                <a:lnTo>
                  <a:pt x="128307" y="54679"/>
                </a:lnTo>
                <a:lnTo>
                  <a:pt x="145898" y="55705"/>
                </a:lnTo>
                <a:lnTo>
                  <a:pt x="164247" y="56564"/>
                </a:lnTo>
                <a:lnTo>
                  <a:pt x="183286" y="57247"/>
                </a:lnTo>
                <a:lnTo>
                  <a:pt x="202943" y="57745"/>
                </a:lnTo>
                <a:lnTo>
                  <a:pt x="223151" y="58050"/>
                </a:lnTo>
                <a:lnTo>
                  <a:pt x="250633" y="58143"/>
                </a:lnTo>
                <a:lnTo>
                  <a:pt x="271165" y="57972"/>
                </a:lnTo>
                <a:lnTo>
                  <a:pt x="291194" y="57603"/>
                </a:lnTo>
                <a:lnTo>
                  <a:pt x="310652" y="57043"/>
                </a:lnTo>
                <a:lnTo>
                  <a:pt x="329469" y="56301"/>
                </a:lnTo>
                <a:lnTo>
                  <a:pt x="347575" y="55386"/>
                </a:lnTo>
                <a:lnTo>
                  <a:pt x="364901" y="54305"/>
                </a:lnTo>
                <a:lnTo>
                  <a:pt x="381378" y="53068"/>
                </a:lnTo>
                <a:lnTo>
                  <a:pt x="411505" y="50157"/>
                </a:lnTo>
                <a:lnTo>
                  <a:pt x="437400" y="46721"/>
                </a:lnTo>
                <a:lnTo>
                  <a:pt x="458508" y="42826"/>
                </a:lnTo>
                <a:lnTo>
                  <a:pt x="474273" y="38541"/>
                </a:lnTo>
                <a:lnTo>
                  <a:pt x="487552" y="29071"/>
                </a:lnTo>
                <a:lnTo>
                  <a:pt x="486038" y="25799"/>
                </a:lnTo>
                <a:lnTo>
                  <a:pt x="464444" y="16664"/>
                </a:lnTo>
                <a:lnTo>
                  <a:pt x="445074" y="12630"/>
                </a:lnTo>
                <a:lnTo>
                  <a:pt x="420730" y="9038"/>
                </a:lnTo>
                <a:lnTo>
                  <a:pt x="391966" y="5953"/>
                </a:lnTo>
                <a:lnTo>
                  <a:pt x="359340" y="3441"/>
                </a:lnTo>
                <a:lnTo>
                  <a:pt x="341752" y="2420"/>
                </a:lnTo>
                <a:lnTo>
                  <a:pt x="323406" y="1566"/>
                </a:lnTo>
                <a:lnTo>
                  <a:pt x="304373" y="888"/>
                </a:lnTo>
                <a:lnTo>
                  <a:pt x="284721" y="393"/>
                </a:lnTo>
                <a:lnTo>
                  <a:pt x="264520" y="91"/>
                </a:lnTo>
                <a:lnTo>
                  <a:pt x="236837" y="0"/>
                </a:lnTo>
                <a:lnTo>
                  <a:pt x="216302" y="170"/>
                </a:lnTo>
                <a:lnTo>
                  <a:pt x="196272" y="538"/>
                </a:lnTo>
                <a:lnTo>
                  <a:pt x="176815" y="1094"/>
                </a:lnTo>
                <a:lnTo>
                  <a:pt x="158000" y="1832"/>
                </a:lnTo>
                <a:lnTo>
                  <a:pt x="139898" y="2742"/>
                </a:lnTo>
                <a:lnTo>
                  <a:pt x="122577" y="3817"/>
                </a:lnTo>
                <a:lnTo>
                  <a:pt x="106106" y="5048"/>
                </a:lnTo>
                <a:lnTo>
                  <a:pt x="75993" y="7947"/>
                </a:lnTo>
                <a:lnTo>
                  <a:pt x="50113" y="11374"/>
                </a:lnTo>
                <a:lnTo>
                  <a:pt x="29019" y="15266"/>
                </a:lnTo>
                <a:lnTo>
                  <a:pt x="13266" y="19555"/>
                </a:lnTo>
                <a:lnTo>
                  <a:pt x="863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6364733" y="4931791"/>
            <a:ext cx="487552" cy="58165"/>
          </a:xfrm>
          <a:custGeom>
            <a:avLst/>
            <a:gdLst/>
            <a:ahLst/>
            <a:cxnLst/>
            <a:rect l="l" t="t" r="r" b="b"/>
            <a:pathLst>
              <a:path w="487552" h="58165">
                <a:moveTo>
                  <a:pt x="0" y="29082"/>
                </a:moveTo>
                <a:lnTo>
                  <a:pt x="7566" y="21841"/>
                </a:lnTo>
                <a:lnTo>
                  <a:pt x="20441" y="17376"/>
                </a:lnTo>
                <a:lnTo>
                  <a:pt x="29019" y="15277"/>
                </a:lnTo>
                <a:lnTo>
                  <a:pt x="38933" y="13278"/>
                </a:lnTo>
                <a:lnTo>
                  <a:pt x="50113" y="11386"/>
                </a:lnTo>
                <a:lnTo>
                  <a:pt x="62489" y="9610"/>
                </a:lnTo>
                <a:lnTo>
                  <a:pt x="75993" y="7959"/>
                </a:lnTo>
                <a:lnTo>
                  <a:pt x="90555" y="6439"/>
                </a:lnTo>
                <a:lnTo>
                  <a:pt x="106106" y="5059"/>
                </a:lnTo>
                <a:lnTo>
                  <a:pt x="122577" y="3828"/>
                </a:lnTo>
                <a:lnTo>
                  <a:pt x="139898" y="2754"/>
                </a:lnTo>
                <a:lnTo>
                  <a:pt x="158000" y="1843"/>
                </a:lnTo>
                <a:lnTo>
                  <a:pt x="176815" y="1106"/>
                </a:lnTo>
                <a:lnTo>
                  <a:pt x="196272" y="549"/>
                </a:lnTo>
                <a:lnTo>
                  <a:pt x="216302" y="182"/>
                </a:lnTo>
                <a:lnTo>
                  <a:pt x="236837" y="11"/>
                </a:lnTo>
                <a:lnTo>
                  <a:pt x="243839" y="0"/>
                </a:lnTo>
                <a:lnTo>
                  <a:pt x="264520" y="102"/>
                </a:lnTo>
                <a:lnTo>
                  <a:pt x="284721" y="405"/>
                </a:lnTo>
                <a:lnTo>
                  <a:pt x="304373" y="899"/>
                </a:lnTo>
                <a:lnTo>
                  <a:pt x="323406" y="1578"/>
                </a:lnTo>
                <a:lnTo>
                  <a:pt x="341752" y="2431"/>
                </a:lnTo>
                <a:lnTo>
                  <a:pt x="359340" y="3453"/>
                </a:lnTo>
                <a:lnTo>
                  <a:pt x="376101" y="4633"/>
                </a:lnTo>
                <a:lnTo>
                  <a:pt x="391966" y="5965"/>
                </a:lnTo>
                <a:lnTo>
                  <a:pt x="406866" y="7440"/>
                </a:lnTo>
                <a:lnTo>
                  <a:pt x="420730" y="9050"/>
                </a:lnTo>
                <a:lnTo>
                  <a:pt x="433489" y="10786"/>
                </a:lnTo>
                <a:lnTo>
                  <a:pt x="445074" y="12641"/>
                </a:lnTo>
                <a:lnTo>
                  <a:pt x="455416" y="14607"/>
                </a:lnTo>
                <a:lnTo>
                  <a:pt x="464444" y="16676"/>
                </a:lnTo>
                <a:lnTo>
                  <a:pt x="478284" y="21087"/>
                </a:lnTo>
                <a:lnTo>
                  <a:pt x="486038" y="25810"/>
                </a:lnTo>
                <a:lnTo>
                  <a:pt x="487552" y="29082"/>
                </a:lnTo>
                <a:lnTo>
                  <a:pt x="486688" y="31542"/>
                </a:lnTo>
                <a:lnTo>
                  <a:pt x="484140" y="33945"/>
                </a:lnTo>
                <a:lnTo>
                  <a:pt x="474273" y="38553"/>
                </a:lnTo>
                <a:lnTo>
                  <a:pt x="458508" y="42838"/>
                </a:lnTo>
                <a:lnTo>
                  <a:pt x="448587" y="44838"/>
                </a:lnTo>
                <a:lnTo>
                  <a:pt x="437400" y="46732"/>
                </a:lnTo>
                <a:lnTo>
                  <a:pt x="425016" y="48512"/>
                </a:lnTo>
                <a:lnTo>
                  <a:pt x="411505" y="50169"/>
                </a:lnTo>
                <a:lnTo>
                  <a:pt x="396935" y="51694"/>
                </a:lnTo>
                <a:lnTo>
                  <a:pt x="381378" y="53080"/>
                </a:lnTo>
                <a:lnTo>
                  <a:pt x="364901" y="54317"/>
                </a:lnTo>
                <a:lnTo>
                  <a:pt x="347575" y="55398"/>
                </a:lnTo>
                <a:lnTo>
                  <a:pt x="329469" y="56313"/>
                </a:lnTo>
                <a:lnTo>
                  <a:pt x="310652" y="57055"/>
                </a:lnTo>
                <a:lnTo>
                  <a:pt x="291194" y="57615"/>
                </a:lnTo>
                <a:lnTo>
                  <a:pt x="271165" y="57984"/>
                </a:lnTo>
                <a:lnTo>
                  <a:pt x="250633" y="58154"/>
                </a:lnTo>
                <a:lnTo>
                  <a:pt x="243839" y="58165"/>
                </a:lnTo>
                <a:lnTo>
                  <a:pt x="223151" y="58062"/>
                </a:lnTo>
                <a:lnTo>
                  <a:pt x="202943" y="57757"/>
                </a:lnTo>
                <a:lnTo>
                  <a:pt x="183286" y="57259"/>
                </a:lnTo>
                <a:lnTo>
                  <a:pt x="164247" y="56576"/>
                </a:lnTo>
                <a:lnTo>
                  <a:pt x="145898" y="55717"/>
                </a:lnTo>
                <a:lnTo>
                  <a:pt x="128307" y="54690"/>
                </a:lnTo>
                <a:lnTo>
                  <a:pt x="111542" y="53504"/>
                </a:lnTo>
                <a:lnTo>
                  <a:pt x="95674" y="52168"/>
                </a:lnTo>
                <a:lnTo>
                  <a:pt x="80772" y="50688"/>
                </a:lnTo>
                <a:lnTo>
                  <a:pt x="66905" y="49075"/>
                </a:lnTo>
                <a:lnTo>
                  <a:pt x="54142" y="47336"/>
                </a:lnTo>
                <a:lnTo>
                  <a:pt x="42552" y="45480"/>
                </a:lnTo>
                <a:lnTo>
                  <a:pt x="32205" y="43515"/>
                </a:lnTo>
                <a:lnTo>
                  <a:pt x="23170" y="41450"/>
                </a:lnTo>
                <a:lnTo>
                  <a:pt x="15517" y="39293"/>
                </a:lnTo>
                <a:lnTo>
                  <a:pt x="4629" y="34737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4494658" y="5150243"/>
            <a:ext cx="487679" cy="58015"/>
          </a:xfrm>
          <a:custGeom>
            <a:avLst/>
            <a:gdLst/>
            <a:ahLst/>
            <a:cxnLst/>
            <a:rect l="l" t="t" r="r" b="b"/>
            <a:pathLst>
              <a:path w="487679" h="58015">
                <a:moveTo>
                  <a:pt x="0" y="28944"/>
                </a:moveTo>
                <a:lnTo>
                  <a:pt x="1536" y="32239"/>
                </a:lnTo>
                <a:lnTo>
                  <a:pt x="4634" y="34633"/>
                </a:lnTo>
                <a:lnTo>
                  <a:pt x="23191" y="41366"/>
                </a:lnTo>
                <a:lnTo>
                  <a:pt x="42586" y="45397"/>
                </a:lnTo>
                <a:lnTo>
                  <a:pt x="66951" y="48985"/>
                </a:lnTo>
                <a:lnTo>
                  <a:pt x="95729" y="52067"/>
                </a:lnTo>
                <a:lnTo>
                  <a:pt x="128363" y="54577"/>
                </a:lnTo>
                <a:lnTo>
                  <a:pt x="145952" y="55597"/>
                </a:lnTo>
                <a:lnTo>
                  <a:pt x="164297" y="56450"/>
                </a:lnTo>
                <a:lnTo>
                  <a:pt x="183328" y="57128"/>
                </a:lnTo>
                <a:lnTo>
                  <a:pt x="202975" y="57622"/>
                </a:lnTo>
                <a:lnTo>
                  <a:pt x="223169" y="57924"/>
                </a:lnTo>
                <a:lnTo>
                  <a:pt x="250836" y="58015"/>
                </a:lnTo>
                <a:lnTo>
                  <a:pt x="271354" y="57845"/>
                </a:lnTo>
                <a:lnTo>
                  <a:pt x="291372" y="57477"/>
                </a:lnTo>
                <a:lnTo>
                  <a:pt x="310819" y="56920"/>
                </a:lnTo>
                <a:lnTo>
                  <a:pt x="329627" y="56183"/>
                </a:lnTo>
                <a:lnTo>
                  <a:pt x="347726" y="55273"/>
                </a:lnTo>
                <a:lnTo>
                  <a:pt x="365046" y="54198"/>
                </a:lnTo>
                <a:lnTo>
                  <a:pt x="381517" y="52967"/>
                </a:lnTo>
                <a:lnTo>
                  <a:pt x="411637" y="50068"/>
                </a:lnTo>
                <a:lnTo>
                  <a:pt x="437528" y="46640"/>
                </a:lnTo>
                <a:lnTo>
                  <a:pt x="458635" y="42749"/>
                </a:lnTo>
                <a:lnTo>
                  <a:pt x="474400" y="38459"/>
                </a:lnTo>
                <a:lnTo>
                  <a:pt x="487679" y="28944"/>
                </a:lnTo>
                <a:lnTo>
                  <a:pt x="486145" y="25676"/>
                </a:lnTo>
                <a:lnTo>
                  <a:pt x="464495" y="16602"/>
                </a:lnTo>
                <a:lnTo>
                  <a:pt x="445101" y="12589"/>
                </a:lnTo>
                <a:lnTo>
                  <a:pt x="420736" y="9013"/>
                </a:lnTo>
                <a:lnTo>
                  <a:pt x="391958" y="5939"/>
                </a:lnTo>
                <a:lnTo>
                  <a:pt x="359322" y="3434"/>
                </a:lnTo>
                <a:lnTo>
                  <a:pt x="341732" y="2415"/>
                </a:lnTo>
                <a:lnTo>
                  <a:pt x="323386" y="1563"/>
                </a:lnTo>
                <a:lnTo>
                  <a:pt x="304355" y="886"/>
                </a:lnTo>
                <a:lnTo>
                  <a:pt x="284707" y="393"/>
                </a:lnTo>
                <a:lnTo>
                  <a:pt x="264512" y="90"/>
                </a:lnTo>
                <a:lnTo>
                  <a:pt x="236868" y="0"/>
                </a:lnTo>
                <a:lnTo>
                  <a:pt x="216347" y="170"/>
                </a:lnTo>
                <a:lnTo>
                  <a:pt x="196328" y="537"/>
                </a:lnTo>
                <a:lnTo>
                  <a:pt x="176878" y="1093"/>
                </a:lnTo>
                <a:lnTo>
                  <a:pt x="158069" y="1830"/>
                </a:lnTo>
                <a:lnTo>
                  <a:pt x="139968" y="2738"/>
                </a:lnTo>
                <a:lnTo>
                  <a:pt x="122647" y="3811"/>
                </a:lnTo>
                <a:lnTo>
                  <a:pt x="106173" y="5040"/>
                </a:lnTo>
                <a:lnTo>
                  <a:pt x="76051" y="7932"/>
                </a:lnTo>
                <a:lnTo>
                  <a:pt x="50157" y="11348"/>
                </a:lnTo>
                <a:lnTo>
                  <a:pt x="29048" y="15223"/>
                </a:lnTo>
                <a:lnTo>
                  <a:pt x="13281" y="19491"/>
                </a:lnTo>
                <a:lnTo>
                  <a:pt x="864" y="26487"/>
                </a:lnTo>
                <a:lnTo>
                  <a:pt x="0" y="28944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4494658" y="5150231"/>
            <a:ext cx="487679" cy="58038"/>
          </a:xfrm>
          <a:custGeom>
            <a:avLst/>
            <a:gdLst/>
            <a:ahLst/>
            <a:cxnLst/>
            <a:rect l="l" t="t" r="r" b="b"/>
            <a:pathLst>
              <a:path w="487679" h="58038">
                <a:moveTo>
                  <a:pt x="0" y="28956"/>
                </a:moveTo>
                <a:lnTo>
                  <a:pt x="7575" y="21764"/>
                </a:lnTo>
                <a:lnTo>
                  <a:pt x="20462" y="17324"/>
                </a:lnTo>
                <a:lnTo>
                  <a:pt x="29048" y="15235"/>
                </a:lnTo>
                <a:lnTo>
                  <a:pt x="38969" y="13244"/>
                </a:lnTo>
                <a:lnTo>
                  <a:pt x="50157" y="11360"/>
                </a:lnTo>
                <a:lnTo>
                  <a:pt x="62540" y="9590"/>
                </a:lnTo>
                <a:lnTo>
                  <a:pt x="76051" y="7943"/>
                </a:lnTo>
                <a:lnTo>
                  <a:pt x="90618" y="6428"/>
                </a:lnTo>
                <a:lnTo>
                  <a:pt x="106173" y="5051"/>
                </a:lnTo>
                <a:lnTo>
                  <a:pt x="122647" y="3823"/>
                </a:lnTo>
                <a:lnTo>
                  <a:pt x="139968" y="2750"/>
                </a:lnTo>
                <a:lnTo>
                  <a:pt x="158069" y="1841"/>
                </a:lnTo>
                <a:lnTo>
                  <a:pt x="176878" y="1105"/>
                </a:lnTo>
                <a:lnTo>
                  <a:pt x="196328" y="549"/>
                </a:lnTo>
                <a:lnTo>
                  <a:pt x="216347" y="181"/>
                </a:lnTo>
                <a:lnTo>
                  <a:pt x="236868" y="11"/>
                </a:lnTo>
                <a:lnTo>
                  <a:pt x="243839" y="0"/>
                </a:lnTo>
                <a:lnTo>
                  <a:pt x="264512" y="102"/>
                </a:lnTo>
                <a:lnTo>
                  <a:pt x="284707" y="404"/>
                </a:lnTo>
                <a:lnTo>
                  <a:pt x="304355" y="898"/>
                </a:lnTo>
                <a:lnTo>
                  <a:pt x="323386" y="1575"/>
                </a:lnTo>
                <a:lnTo>
                  <a:pt x="341732" y="2427"/>
                </a:lnTo>
                <a:lnTo>
                  <a:pt x="359322" y="3446"/>
                </a:lnTo>
                <a:lnTo>
                  <a:pt x="376088" y="4623"/>
                </a:lnTo>
                <a:lnTo>
                  <a:pt x="391958" y="5951"/>
                </a:lnTo>
                <a:lnTo>
                  <a:pt x="406864" y="7421"/>
                </a:lnTo>
                <a:lnTo>
                  <a:pt x="420736" y="9024"/>
                </a:lnTo>
                <a:lnTo>
                  <a:pt x="433505" y="10754"/>
                </a:lnTo>
                <a:lnTo>
                  <a:pt x="445101" y="12601"/>
                </a:lnTo>
                <a:lnTo>
                  <a:pt x="455454" y="14557"/>
                </a:lnTo>
                <a:lnTo>
                  <a:pt x="464495" y="16614"/>
                </a:lnTo>
                <a:lnTo>
                  <a:pt x="478362" y="20998"/>
                </a:lnTo>
                <a:lnTo>
                  <a:pt x="486145" y="25688"/>
                </a:lnTo>
                <a:lnTo>
                  <a:pt x="487679" y="28956"/>
                </a:lnTo>
                <a:lnTo>
                  <a:pt x="486815" y="31431"/>
                </a:lnTo>
                <a:lnTo>
                  <a:pt x="484267" y="33848"/>
                </a:lnTo>
                <a:lnTo>
                  <a:pt x="474400" y="38471"/>
                </a:lnTo>
                <a:lnTo>
                  <a:pt x="458635" y="42761"/>
                </a:lnTo>
                <a:lnTo>
                  <a:pt x="448714" y="44760"/>
                </a:lnTo>
                <a:lnTo>
                  <a:pt x="437528" y="46652"/>
                </a:lnTo>
                <a:lnTo>
                  <a:pt x="425146" y="48428"/>
                </a:lnTo>
                <a:lnTo>
                  <a:pt x="411637" y="50079"/>
                </a:lnTo>
                <a:lnTo>
                  <a:pt x="397071" y="51599"/>
                </a:lnTo>
                <a:lnTo>
                  <a:pt x="381517" y="52979"/>
                </a:lnTo>
                <a:lnTo>
                  <a:pt x="365046" y="54210"/>
                </a:lnTo>
                <a:lnTo>
                  <a:pt x="347726" y="55284"/>
                </a:lnTo>
                <a:lnTo>
                  <a:pt x="329627" y="56195"/>
                </a:lnTo>
                <a:lnTo>
                  <a:pt x="310819" y="56932"/>
                </a:lnTo>
                <a:lnTo>
                  <a:pt x="291372" y="57489"/>
                </a:lnTo>
                <a:lnTo>
                  <a:pt x="271354" y="57856"/>
                </a:lnTo>
                <a:lnTo>
                  <a:pt x="250836" y="58027"/>
                </a:lnTo>
                <a:lnTo>
                  <a:pt x="243839" y="58039"/>
                </a:lnTo>
                <a:lnTo>
                  <a:pt x="223169" y="57936"/>
                </a:lnTo>
                <a:lnTo>
                  <a:pt x="202975" y="57634"/>
                </a:lnTo>
                <a:lnTo>
                  <a:pt x="183328" y="57140"/>
                </a:lnTo>
                <a:lnTo>
                  <a:pt x="164297" y="56462"/>
                </a:lnTo>
                <a:lnTo>
                  <a:pt x="145952" y="55609"/>
                </a:lnTo>
                <a:lnTo>
                  <a:pt x="128363" y="54589"/>
                </a:lnTo>
                <a:lnTo>
                  <a:pt x="111598" y="53409"/>
                </a:lnTo>
                <a:lnTo>
                  <a:pt x="95729" y="52079"/>
                </a:lnTo>
                <a:lnTo>
                  <a:pt x="80823" y="50605"/>
                </a:lnTo>
                <a:lnTo>
                  <a:pt x="66951" y="48997"/>
                </a:lnTo>
                <a:lnTo>
                  <a:pt x="54182" y="47262"/>
                </a:lnTo>
                <a:lnTo>
                  <a:pt x="42586" y="45408"/>
                </a:lnTo>
                <a:lnTo>
                  <a:pt x="32233" y="43444"/>
                </a:lnTo>
                <a:lnTo>
                  <a:pt x="23191" y="41378"/>
                </a:lnTo>
                <a:lnTo>
                  <a:pt x="15531" y="39217"/>
                </a:lnTo>
                <a:lnTo>
                  <a:pt x="4634" y="34645"/>
                </a:lnTo>
                <a:lnTo>
                  <a:pt x="0" y="28956"/>
                </a:lnTo>
                <a:close/>
              </a:path>
            </a:pathLst>
          </a:custGeom>
          <a:ln w="1269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4490468" y="5013503"/>
            <a:ext cx="496125" cy="163398"/>
          </a:xfrm>
          <a:custGeom>
            <a:avLst/>
            <a:gdLst/>
            <a:ahLst/>
            <a:cxnLst/>
            <a:rect l="l" t="t" r="r" b="b"/>
            <a:pathLst>
              <a:path w="496125" h="163398">
                <a:moveTo>
                  <a:pt x="0" y="163398"/>
                </a:moveTo>
                <a:lnTo>
                  <a:pt x="496125" y="163398"/>
                </a:lnTo>
                <a:lnTo>
                  <a:pt x="496125" y="0"/>
                </a:lnTo>
                <a:lnTo>
                  <a:pt x="0" y="0"/>
                </a:lnTo>
                <a:lnTo>
                  <a:pt x="0" y="163398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127"/>
          <p:cNvSpPr/>
          <p:nvPr/>
        </p:nvSpPr>
        <p:spPr>
          <a:xfrm>
            <a:off x="4494658" y="4999367"/>
            <a:ext cx="487679" cy="58142"/>
          </a:xfrm>
          <a:custGeom>
            <a:avLst/>
            <a:gdLst/>
            <a:ahLst/>
            <a:cxnLst/>
            <a:rect l="l" t="t" r="r" b="b"/>
            <a:pathLst>
              <a:path w="487679" h="58142">
                <a:moveTo>
                  <a:pt x="0" y="29071"/>
                </a:moveTo>
                <a:lnTo>
                  <a:pt x="1536" y="32343"/>
                </a:lnTo>
                <a:lnTo>
                  <a:pt x="4634" y="34725"/>
                </a:lnTo>
                <a:lnTo>
                  <a:pt x="23191" y="41438"/>
                </a:lnTo>
                <a:lnTo>
                  <a:pt x="42586" y="45468"/>
                </a:lnTo>
                <a:lnTo>
                  <a:pt x="66951" y="49063"/>
                </a:lnTo>
                <a:lnTo>
                  <a:pt x="95729" y="52156"/>
                </a:lnTo>
                <a:lnTo>
                  <a:pt x="128363" y="54679"/>
                </a:lnTo>
                <a:lnTo>
                  <a:pt x="145952" y="55705"/>
                </a:lnTo>
                <a:lnTo>
                  <a:pt x="164297" y="56564"/>
                </a:lnTo>
                <a:lnTo>
                  <a:pt x="183328" y="57247"/>
                </a:lnTo>
                <a:lnTo>
                  <a:pt x="202975" y="57745"/>
                </a:lnTo>
                <a:lnTo>
                  <a:pt x="223169" y="58050"/>
                </a:lnTo>
                <a:lnTo>
                  <a:pt x="250836" y="58142"/>
                </a:lnTo>
                <a:lnTo>
                  <a:pt x="271354" y="57970"/>
                </a:lnTo>
                <a:lnTo>
                  <a:pt x="291372" y="57599"/>
                </a:lnTo>
                <a:lnTo>
                  <a:pt x="310819" y="57038"/>
                </a:lnTo>
                <a:lnTo>
                  <a:pt x="329627" y="56295"/>
                </a:lnTo>
                <a:lnTo>
                  <a:pt x="347726" y="55379"/>
                </a:lnTo>
                <a:lnTo>
                  <a:pt x="365046" y="54298"/>
                </a:lnTo>
                <a:lnTo>
                  <a:pt x="381517" y="53060"/>
                </a:lnTo>
                <a:lnTo>
                  <a:pt x="411637" y="50149"/>
                </a:lnTo>
                <a:lnTo>
                  <a:pt x="437528" y="46713"/>
                </a:lnTo>
                <a:lnTo>
                  <a:pt x="458635" y="42820"/>
                </a:lnTo>
                <a:lnTo>
                  <a:pt x="474400" y="38537"/>
                </a:lnTo>
                <a:lnTo>
                  <a:pt x="487679" y="29071"/>
                </a:lnTo>
                <a:lnTo>
                  <a:pt x="486143" y="25776"/>
                </a:lnTo>
                <a:lnTo>
                  <a:pt x="464488" y="16649"/>
                </a:lnTo>
                <a:lnTo>
                  <a:pt x="445093" y="12618"/>
                </a:lnTo>
                <a:lnTo>
                  <a:pt x="420728" y="9029"/>
                </a:lnTo>
                <a:lnTo>
                  <a:pt x="391950" y="5947"/>
                </a:lnTo>
                <a:lnTo>
                  <a:pt x="359316" y="3438"/>
                </a:lnTo>
                <a:lnTo>
                  <a:pt x="341727" y="2417"/>
                </a:lnTo>
                <a:lnTo>
                  <a:pt x="323382" y="1564"/>
                </a:lnTo>
                <a:lnTo>
                  <a:pt x="304351" y="887"/>
                </a:lnTo>
                <a:lnTo>
                  <a:pt x="284704" y="393"/>
                </a:lnTo>
                <a:lnTo>
                  <a:pt x="264510" y="90"/>
                </a:lnTo>
                <a:lnTo>
                  <a:pt x="236843" y="0"/>
                </a:lnTo>
                <a:lnTo>
                  <a:pt x="216325" y="170"/>
                </a:lnTo>
                <a:lnTo>
                  <a:pt x="196307" y="538"/>
                </a:lnTo>
                <a:lnTo>
                  <a:pt x="176860" y="1094"/>
                </a:lnTo>
                <a:lnTo>
                  <a:pt x="158052" y="1832"/>
                </a:lnTo>
                <a:lnTo>
                  <a:pt x="139953" y="2742"/>
                </a:lnTo>
                <a:lnTo>
                  <a:pt x="122633" y="3817"/>
                </a:lnTo>
                <a:lnTo>
                  <a:pt x="106162" y="5048"/>
                </a:lnTo>
                <a:lnTo>
                  <a:pt x="76042" y="7947"/>
                </a:lnTo>
                <a:lnTo>
                  <a:pt x="50151" y="11374"/>
                </a:lnTo>
                <a:lnTo>
                  <a:pt x="29044" y="15266"/>
                </a:lnTo>
                <a:lnTo>
                  <a:pt x="13279" y="19555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128"/>
          <p:cNvSpPr/>
          <p:nvPr/>
        </p:nvSpPr>
        <p:spPr>
          <a:xfrm>
            <a:off x="4494658" y="4999356"/>
            <a:ext cx="487679" cy="58165"/>
          </a:xfrm>
          <a:custGeom>
            <a:avLst/>
            <a:gdLst/>
            <a:ahLst/>
            <a:cxnLst/>
            <a:rect l="l" t="t" r="r" b="b"/>
            <a:pathLst>
              <a:path w="487679" h="58165">
                <a:moveTo>
                  <a:pt x="0" y="29083"/>
                </a:moveTo>
                <a:lnTo>
                  <a:pt x="7574" y="21841"/>
                </a:lnTo>
                <a:lnTo>
                  <a:pt x="20459" y="17376"/>
                </a:lnTo>
                <a:lnTo>
                  <a:pt x="29044" y="15277"/>
                </a:lnTo>
                <a:lnTo>
                  <a:pt x="38965" y="13278"/>
                </a:lnTo>
                <a:lnTo>
                  <a:pt x="50151" y="11386"/>
                </a:lnTo>
                <a:lnTo>
                  <a:pt x="62533" y="9610"/>
                </a:lnTo>
                <a:lnTo>
                  <a:pt x="76042" y="7959"/>
                </a:lnTo>
                <a:lnTo>
                  <a:pt x="90608" y="6439"/>
                </a:lnTo>
                <a:lnTo>
                  <a:pt x="106162" y="5059"/>
                </a:lnTo>
                <a:lnTo>
                  <a:pt x="122633" y="3828"/>
                </a:lnTo>
                <a:lnTo>
                  <a:pt x="139953" y="2754"/>
                </a:lnTo>
                <a:lnTo>
                  <a:pt x="158052" y="1843"/>
                </a:lnTo>
                <a:lnTo>
                  <a:pt x="176860" y="1106"/>
                </a:lnTo>
                <a:lnTo>
                  <a:pt x="196307" y="549"/>
                </a:lnTo>
                <a:lnTo>
                  <a:pt x="216325" y="182"/>
                </a:lnTo>
                <a:lnTo>
                  <a:pt x="236843" y="11"/>
                </a:lnTo>
                <a:lnTo>
                  <a:pt x="243839" y="0"/>
                </a:lnTo>
                <a:lnTo>
                  <a:pt x="264510" y="102"/>
                </a:lnTo>
                <a:lnTo>
                  <a:pt x="284704" y="404"/>
                </a:lnTo>
                <a:lnTo>
                  <a:pt x="304351" y="898"/>
                </a:lnTo>
                <a:lnTo>
                  <a:pt x="323382" y="1576"/>
                </a:lnTo>
                <a:lnTo>
                  <a:pt x="341727" y="2429"/>
                </a:lnTo>
                <a:lnTo>
                  <a:pt x="359316" y="3449"/>
                </a:lnTo>
                <a:lnTo>
                  <a:pt x="376081" y="4629"/>
                </a:lnTo>
                <a:lnTo>
                  <a:pt x="391950" y="5959"/>
                </a:lnTo>
                <a:lnTo>
                  <a:pt x="406856" y="7433"/>
                </a:lnTo>
                <a:lnTo>
                  <a:pt x="420728" y="9041"/>
                </a:lnTo>
                <a:lnTo>
                  <a:pt x="433497" y="10776"/>
                </a:lnTo>
                <a:lnTo>
                  <a:pt x="445093" y="12630"/>
                </a:lnTo>
                <a:lnTo>
                  <a:pt x="455446" y="14594"/>
                </a:lnTo>
                <a:lnTo>
                  <a:pt x="464488" y="16660"/>
                </a:lnTo>
                <a:lnTo>
                  <a:pt x="478356" y="21068"/>
                </a:lnTo>
                <a:lnTo>
                  <a:pt x="486143" y="25788"/>
                </a:lnTo>
                <a:lnTo>
                  <a:pt x="487679" y="29083"/>
                </a:lnTo>
                <a:lnTo>
                  <a:pt x="486815" y="31540"/>
                </a:lnTo>
                <a:lnTo>
                  <a:pt x="484267" y="33943"/>
                </a:lnTo>
                <a:lnTo>
                  <a:pt x="474400" y="38548"/>
                </a:lnTo>
                <a:lnTo>
                  <a:pt x="458635" y="42831"/>
                </a:lnTo>
                <a:lnTo>
                  <a:pt x="448714" y="44831"/>
                </a:lnTo>
                <a:lnTo>
                  <a:pt x="437528" y="46725"/>
                </a:lnTo>
                <a:lnTo>
                  <a:pt x="425146" y="48504"/>
                </a:lnTo>
                <a:lnTo>
                  <a:pt x="411637" y="50161"/>
                </a:lnTo>
                <a:lnTo>
                  <a:pt x="397071" y="51686"/>
                </a:lnTo>
                <a:lnTo>
                  <a:pt x="381517" y="53072"/>
                </a:lnTo>
                <a:lnTo>
                  <a:pt x="365046" y="54309"/>
                </a:lnTo>
                <a:lnTo>
                  <a:pt x="347726" y="55390"/>
                </a:lnTo>
                <a:lnTo>
                  <a:pt x="329627" y="56307"/>
                </a:lnTo>
                <a:lnTo>
                  <a:pt x="310819" y="57050"/>
                </a:lnTo>
                <a:lnTo>
                  <a:pt x="291372" y="57611"/>
                </a:lnTo>
                <a:lnTo>
                  <a:pt x="271354" y="57981"/>
                </a:lnTo>
                <a:lnTo>
                  <a:pt x="250836" y="58154"/>
                </a:lnTo>
                <a:lnTo>
                  <a:pt x="243839" y="58166"/>
                </a:lnTo>
                <a:lnTo>
                  <a:pt x="223169" y="58062"/>
                </a:lnTo>
                <a:lnTo>
                  <a:pt x="202975" y="57757"/>
                </a:lnTo>
                <a:lnTo>
                  <a:pt x="183328" y="57259"/>
                </a:lnTo>
                <a:lnTo>
                  <a:pt x="164297" y="56576"/>
                </a:lnTo>
                <a:lnTo>
                  <a:pt x="145952" y="55717"/>
                </a:lnTo>
                <a:lnTo>
                  <a:pt x="128363" y="54690"/>
                </a:lnTo>
                <a:lnTo>
                  <a:pt x="111598" y="53504"/>
                </a:lnTo>
                <a:lnTo>
                  <a:pt x="95729" y="52168"/>
                </a:lnTo>
                <a:lnTo>
                  <a:pt x="80823" y="50688"/>
                </a:lnTo>
                <a:lnTo>
                  <a:pt x="66951" y="49075"/>
                </a:lnTo>
                <a:lnTo>
                  <a:pt x="54182" y="47336"/>
                </a:lnTo>
                <a:lnTo>
                  <a:pt x="42586" y="45480"/>
                </a:lnTo>
                <a:lnTo>
                  <a:pt x="32233" y="43515"/>
                </a:lnTo>
                <a:lnTo>
                  <a:pt x="23191" y="41450"/>
                </a:lnTo>
                <a:lnTo>
                  <a:pt x="15531" y="39293"/>
                </a:lnTo>
                <a:lnTo>
                  <a:pt x="4634" y="34737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129"/>
          <p:cNvSpPr/>
          <p:nvPr/>
        </p:nvSpPr>
        <p:spPr>
          <a:xfrm>
            <a:off x="4490468" y="4958532"/>
            <a:ext cx="496125" cy="73842"/>
          </a:xfrm>
          <a:custGeom>
            <a:avLst/>
            <a:gdLst/>
            <a:ahLst/>
            <a:cxnLst/>
            <a:rect l="l" t="t" r="r" b="b"/>
            <a:pathLst>
              <a:path w="496125" h="73842">
                <a:moveTo>
                  <a:pt x="0" y="73842"/>
                </a:moveTo>
                <a:lnTo>
                  <a:pt x="496125" y="73842"/>
                </a:lnTo>
                <a:lnTo>
                  <a:pt x="496125" y="0"/>
                </a:lnTo>
                <a:lnTo>
                  <a:pt x="0" y="0"/>
                </a:lnTo>
                <a:lnTo>
                  <a:pt x="0" y="73842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130"/>
          <p:cNvSpPr/>
          <p:nvPr/>
        </p:nvSpPr>
        <p:spPr>
          <a:xfrm>
            <a:off x="4494658" y="4931802"/>
            <a:ext cx="487679" cy="58142"/>
          </a:xfrm>
          <a:custGeom>
            <a:avLst/>
            <a:gdLst/>
            <a:ahLst/>
            <a:cxnLst/>
            <a:rect l="l" t="t" r="r" b="b"/>
            <a:pathLst>
              <a:path w="487679" h="58142">
                <a:moveTo>
                  <a:pt x="0" y="29071"/>
                </a:moveTo>
                <a:lnTo>
                  <a:pt x="1536" y="32343"/>
                </a:lnTo>
                <a:lnTo>
                  <a:pt x="4634" y="34725"/>
                </a:lnTo>
                <a:lnTo>
                  <a:pt x="23191" y="41438"/>
                </a:lnTo>
                <a:lnTo>
                  <a:pt x="42586" y="45468"/>
                </a:lnTo>
                <a:lnTo>
                  <a:pt x="66951" y="49063"/>
                </a:lnTo>
                <a:lnTo>
                  <a:pt x="95729" y="52156"/>
                </a:lnTo>
                <a:lnTo>
                  <a:pt x="128363" y="54679"/>
                </a:lnTo>
                <a:lnTo>
                  <a:pt x="145952" y="55705"/>
                </a:lnTo>
                <a:lnTo>
                  <a:pt x="164297" y="56564"/>
                </a:lnTo>
                <a:lnTo>
                  <a:pt x="183328" y="57247"/>
                </a:lnTo>
                <a:lnTo>
                  <a:pt x="202975" y="57745"/>
                </a:lnTo>
                <a:lnTo>
                  <a:pt x="223169" y="58050"/>
                </a:lnTo>
                <a:lnTo>
                  <a:pt x="250836" y="58142"/>
                </a:lnTo>
                <a:lnTo>
                  <a:pt x="271354" y="57970"/>
                </a:lnTo>
                <a:lnTo>
                  <a:pt x="291372" y="57599"/>
                </a:lnTo>
                <a:lnTo>
                  <a:pt x="310819" y="57038"/>
                </a:lnTo>
                <a:lnTo>
                  <a:pt x="329627" y="56295"/>
                </a:lnTo>
                <a:lnTo>
                  <a:pt x="347726" y="55379"/>
                </a:lnTo>
                <a:lnTo>
                  <a:pt x="365046" y="54298"/>
                </a:lnTo>
                <a:lnTo>
                  <a:pt x="381517" y="53060"/>
                </a:lnTo>
                <a:lnTo>
                  <a:pt x="411637" y="50149"/>
                </a:lnTo>
                <a:lnTo>
                  <a:pt x="437528" y="46713"/>
                </a:lnTo>
                <a:lnTo>
                  <a:pt x="458635" y="42820"/>
                </a:lnTo>
                <a:lnTo>
                  <a:pt x="474400" y="38537"/>
                </a:lnTo>
                <a:lnTo>
                  <a:pt x="487679" y="29071"/>
                </a:lnTo>
                <a:lnTo>
                  <a:pt x="486143" y="25776"/>
                </a:lnTo>
                <a:lnTo>
                  <a:pt x="464488" y="16649"/>
                </a:lnTo>
                <a:lnTo>
                  <a:pt x="445093" y="12618"/>
                </a:lnTo>
                <a:lnTo>
                  <a:pt x="420728" y="9029"/>
                </a:lnTo>
                <a:lnTo>
                  <a:pt x="391950" y="5947"/>
                </a:lnTo>
                <a:lnTo>
                  <a:pt x="359316" y="3438"/>
                </a:lnTo>
                <a:lnTo>
                  <a:pt x="341727" y="2417"/>
                </a:lnTo>
                <a:lnTo>
                  <a:pt x="323382" y="1564"/>
                </a:lnTo>
                <a:lnTo>
                  <a:pt x="304351" y="887"/>
                </a:lnTo>
                <a:lnTo>
                  <a:pt x="284704" y="393"/>
                </a:lnTo>
                <a:lnTo>
                  <a:pt x="264510" y="90"/>
                </a:lnTo>
                <a:lnTo>
                  <a:pt x="236843" y="0"/>
                </a:lnTo>
                <a:lnTo>
                  <a:pt x="216325" y="170"/>
                </a:lnTo>
                <a:lnTo>
                  <a:pt x="196307" y="538"/>
                </a:lnTo>
                <a:lnTo>
                  <a:pt x="176860" y="1094"/>
                </a:lnTo>
                <a:lnTo>
                  <a:pt x="158052" y="1832"/>
                </a:lnTo>
                <a:lnTo>
                  <a:pt x="139953" y="2742"/>
                </a:lnTo>
                <a:lnTo>
                  <a:pt x="122633" y="3817"/>
                </a:lnTo>
                <a:lnTo>
                  <a:pt x="106162" y="5048"/>
                </a:lnTo>
                <a:lnTo>
                  <a:pt x="76042" y="7947"/>
                </a:lnTo>
                <a:lnTo>
                  <a:pt x="50151" y="11374"/>
                </a:lnTo>
                <a:lnTo>
                  <a:pt x="29044" y="15266"/>
                </a:lnTo>
                <a:lnTo>
                  <a:pt x="13279" y="19555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131"/>
          <p:cNvSpPr/>
          <p:nvPr/>
        </p:nvSpPr>
        <p:spPr>
          <a:xfrm>
            <a:off x="4494658" y="4931791"/>
            <a:ext cx="487679" cy="58165"/>
          </a:xfrm>
          <a:custGeom>
            <a:avLst/>
            <a:gdLst/>
            <a:ahLst/>
            <a:cxnLst/>
            <a:rect l="l" t="t" r="r" b="b"/>
            <a:pathLst>
              <a:path w="487679" h="58165">
                <a:moveTo>
                  <a:pt x="0" y="29082"/>
                </a:moveTo>
                <a:lnTo>
                  <a:pt x="7574" y="21841"/>
                </a:lnTo>
                <a:lnTo>
                  <a:pt x="20459" y="17376"/>
                </a:lnTo>
                <a:lnTo>
                  <a:pt x="29044" y="15277"/>
                </a:lnTo>
                <a:lnTo>
                  <a:pt x="38965" y="13278"/>
                </a:lnTo>
                <a:lnTo>
                  <a:pt x="50151" y="11386"/>
                </a:lnTo>
                <a:lnTo>
                  <a:pt x="62533" y="9610"/>
                </a:lnTo>
                <a:lnTo>
                  <a:pt x="76042" y="7959"/>
                </a:lnTo>
                <a:lnTo>
                  <a:pt x="90608" y="6439"/>
                </a:lnTo>
                <a:lnTo>
                  <a:pt x="106162" y="5059"/>
                </a:lnTo>
                <a:lnTo>
                  <a:pt x="122633" y="3828"/>
                </a:lnTo>
                <a:lnTo>
                  <a:pt x="139953" y="2754"/>
                </a:lnTo>
                <a:lnTo>
                  <a:pt x="158052" y="1843"/>
                </a:lnTo>
                <a:lnTo>
                  <a:pt x="176860" y="1106"/>
                </a:lnTo>
                <a:lnTo>
                  <a:pt x="196307" y="549"/>
                </a:lnTo>
                <a:lnTo>
                  <a:pt x="216325" y="182"/>
                </a:lnTo>
                <a:lnTo>
                  <a:pt x="236843" y="11"/>
                </a:lnTo>
                <a:lnTo>
                  <a:pt x="243839" y="0"/>
                </a:lnTo>
                <a:lnTo>
                  <a:pt x="264510" y="102"/>
                </a:lnTo>
                <a:lnTo>
                  <a:pt x="284704" y="404"/>
                </a:lnTo>
                <a:lnTo>
                  <a:pt x="304351" y="898"/>
                </a:lnTo>
                <a:lnTo>
                  <a:pt x="323382" y="1576"/>
                </a:lnTo>
                <a:lnTo>
                  <a:pt x="341727" y="2429"/>
                </a:lnTo>
                <a:lnTo>
                  <a:pt x="359316" y="3449"/>
                </a:lnTo>
                <a:lnTo>
                  <a:pt x="376081" y="4629"/>
                </a:lnTo>
                <a:lnTo>
                  <a:pt x="391950" y="5959"/>
                </a:lnTo>
                <a:lnTo>
                  <a:pt x="406856" y="7433"/>
                </a:lnTo>
                <a:lnTo>
                  <a:pt x="420728" y="9041"/>
                </a:lnTo>
                <a:lnTo>
                  <a:pt x="433497" y="10776"/>
                </a:lnTo>
                <a:lnTo>
                  <a:pt x="445093" y="12630"/>
                </a:lnTo>
                <a:lnTo>
                  <a:pt x="455446" y="14594"/>
                </a:lnTo>
                <a:lnTo>
                  <a:pt x="464488" y="16660"/>
                </a:lnTo>
                <a:lnTo>
                  <a:pt x="478356" y="21068"/>
                </a:lnTo>
                <a:lnTo>
                  <a:pt x="486143" y="25788"/>
                </a:lnTo>
                <a:lnTo>
                  <a:pt x="487679" y="29082"/>
                </a:lnTo>
                <a:lnTo>
                  <a:pt x="486815" y="31540"/>
                </a:lnTo>
                <a:lnTo>
                  <a:pt x="484267" y="33943"/>
                </a:lnTo>
                <a:lnTo>
                  <a:pt x="474400" y="38548"/>
                </a:lnTo>
                <a:lnTo>
                  <a:pt x="458635" y="42831"/>
                </a:lnTo>
                <a:lnTo>
                  <a:pt x="448714" y="44831"/>
                </a:lnTo>
                <a:lnTo>
                  <a:pt x="437528" y="46725"/>
                </a:lnTo>
                <a:lnTo>
                  <a:pt x="425146" y="48504"/>
                </a:lnTo>
                <a:lnTo>
                  <a:pt x="411637" y="50161"/>
                </a:lnTo>
                <a:lnTo>
                  <a:pt x="397071" y="51686"/>
                </a:lnTo>
                <a:lnTo>
                  <a:pt x="381517" y="53072"/>
                </a:lnTo>
                <a:lnTo>
                  <a:pt x="365046" y="54309"/>
                </a:lnTo>
                <a:lnTo>
                  <a:pt x="347726" y="55390"/>
                </a:lnTo>
                <a:lnTo>
                  <a:pt x="329627" y="56307"/>
                </a:lnTo>
                <a:lnTo>
                  <a:pt x="310819" y="57050"/>
                </a:lnTo>
                <a:lnTo>
                  <a:pt x="291372" y="57611"/>
                </a:lnTo>
                <a:lnTo>
                  <a:pt x="271354" y="57981"/>
                </a:lnTo>
                <a:lnTo>
                  <a:pt x="250836" y="58154"/>
                </a:lnTo>
                <a:lnTo>
                  <a:pt x="243839" y="58165"/>
                </a:lnTo>
                <a:lnTo>
                  <a:pt x="223169" y="58062"/>
                </a:lnTo>
                <a:lnTo>
                  <a:pt x="202975" y="57757"/>
                </a:lnTo>
                <a:lnTo>
                  <a:pt x="183328" y="57259"/>
                </a:lnTo>
                <a:lnTo>
                  <a:pt x="164297" y="56576"/>
                </a:lnTo>
                <a:lnTo>
                  <a:pt x="145952" y="55717"/>
                </a:lnTo>
                <a:lnTo>
                  <a:pt x="128363" y="54690"/>
                </a:lnTo>
                <a:lnTo>
                  <a:pt x="111598" y="53504"/>
                </a:lnTo>
                <a:lnTo>
                  <a:pt x="95729" y="52168"/>
                </a:lnTo>
                <a:lnTo>
                  <a:pt x="80823" y="50688"/>
                </a:lnTo>
                <a:lnTo>
                  <a:pt x="66951" y="49075"/>
                </a:lnTo>
                <a:lnTo>
                  <a:pt x="54182" y="47336"/>
                </a:lnTo>
                <a:lnTo>
                  <a:pt x="42586" y="45480"/>
                </a:lnTo>
                <a:lnTo>
                  <a:pt x="32233" y="43515"/>
                </a:lnTo>
                <a:lnTo>
                  <a:pt x="23191" y="41450"/>
                </a:lnTo>
                <a:lnTo>
                  <a:pt x="15531" y="39293"/>
                </a:lnTo>
                <a:lnTo>
                  <a:pt x="4634" y="34737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132"/>
          <p:cNvSpPr/>
          <p:nvPr/>
        </p:nvSpPr>
        <p:spPr>
          <a:xfrm>
            <a:off x="4055873" y="4771518"/>
            <a:ext cx="131444" cy="191643"/>
          </a:xfrm>
          <a:custGeom>
            <a:avLst/>
            <a:gdLst/>
            <a:ahLst/>
            <a:cxnLst/>
            <a:rect l="l" t="t" r="r" b="b"/>
            <a:pathLst>
              <a:path w="131444" h="191643">
                <a:moveTo>
                  <a:pt x="65658" y="0"/>
                </a:moveTo>
                <a:lnTo>
                  <a:pt x="0" y="101599"/>
                </a:lnTo>
                <a:lnTo>
                  <a:pt x="32765" y="101599"/>
                </a:lnTo>
                <a:lnTo>
                  <a:pt x="32765" y="191642"/>
                </a:lnTo>
                <a:lnTo>
                  <a:pt x="98551" y="191642"/>
                </a:lnTo>
                <a:lnTo>
                  <a:pt x="98551" y="101599"/>
                </a:lnTo>
                <a:lnTo>
                  <a:pt x="131444" y="101599"/>
                </a:lnTo>
                <a:lnTo>
                  <a:pt x="65658" y="0"/>
                </a:lnTo>
                <a:close/>
              </a:path>
            </a:pathLst>
          </a:custGeom>
          <a:solidFill>
            <a:srgbClr val="90909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133"/>
          <p:cNvSpPr/>
          <p:nvPr/>
        </p:nvSpPr>
        <p:spPr>
          <a:xfrm>
            <a:off x="4055873" y="4771518"/>
            <a:ext cx="131444" cy="191643"/>
          </a:xfrm>
          <a:custGeom>
            <a:avLst/>
            <a:gdLst/>
            <a:ahLst/>
            <a:cxnLst/>
            <a:rect l="l" t="t" r="r" b="b"/>
            <a:pathLst>
              <a:path w="131444" h="191643">
                <a:moveTo>
                  <a:pt x="0" y="101599"/>
                </a:moveTo>
                <a:lnTo>
                  <a:pt x="65658" y="0"/>
                </a:lnTo>
                <a:lnTo>
                  <a:pt x="131444" y="101599"/>
                </a:lnTo>
                <a:lnTo>
                  <a:pt x="98551" y="101599"/>
                </a:lnTo>
                <a:lnTo>
                  <a:pt x="98551" y="191642"/>
                </a:lnTo>
                <a:lnTo>
                  <a:pt x="32765" y="191642"/>
                </a:lnTo>
                <a:lnTo>
                  <a:pt x="32765" y="101599"/>
                </a:lnTo>
                <a:lnTo>
                  <a:pt x="0" y="10159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134"/>
          <p:cNvSpPr/>
          <p:nvPr/>
        </p:nvSpPr>
        <p:spPr>
          <a:xfrm>
            <a:off x="4691888" y="4771518"/>
            <a:ext cx="131446" cy="191643"/>
          </a:xfrm>
          <a:custGeom>
            <a:avLst/>
            <a:gdLst/>
            <a:ahLst/>
            <a:cxnLst/>
            <a:rect l="l" t="t" r="r" b="b"/>
            <a:pathLst>
              <a:path w="131445" h="191643">
                <a:moveTo>
                  <a:pt x="65659" y="0"/>
                </a:moveTo>
                <a:lnTo>
                  <a:pt x="0" y="101599"/>
                </a:lnTo>
                <a:lnTo>
                  <a:pt x="32892" y="101599"/>
                </a:lnTo>
                <a:lnTo>
                  <a:pt x="32892" y="191642"/>
                </a:lnTo>
                <a:lnTo>
                  <a:pt x="98551" y="191642"/>
                </a:lnTo>
                <a:lnTo>
                  <a:pt x="98551" y="101599"/>
                </a:lnTo>
                <a:lnTo>
                  <a:pt x="131445" y="101599"/>
                </a:lnTo>
                <a:lnTo>
                  <a:pt x="65659" y="0"/>
                </a:lnTo>
                <a:close/>
              </a:path>
            </a:pathLst>
          </a:custGeom>
          <a:solidFill>
            <a:srgbClr val="90909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135"/>
          <p:cNvSpPr/>
          <p:nvPr/>
        </p:nvSpPr>
        <p:spPr>
          <a:xfrm>
            <a:off x="4691888" y="4771518"/>
            <a:ext cx="131446" cy="191643"/>
          </a:xfrm>
          <a:custGeom>
            <a:avLst/>
            <a:gdLst/>
            <a:ahLst/>
            <a:cxnLst/>
            <a:rect l="l" t="t" r="r" b="b"/>
            <a:pathLst>
              <a:path w="131445" h="191643">
                <a:moveTo>
                  <a:pt x="0" y="101599"/>
                </a:moveTo>
                <a:lnTo>
                  <a:pt x="65659" y="0"/>
                </a:lnTo>
                <a:lnTo>
                  <a:pt x="131445" y="101599"/>
                </a:lnTo>
                <a:lnTo>
                  <a:pt x="98551" y="101599"/>
                </a:lnTo>
                <a:lnTo>
                  <a:pt x="98551" y="191642"/>
                </a:lnTo>
                <a:lnTo>
                  <a:pt x="32892" y="191642"/>
                </a:lnTo>
                <a:lnTo>
                  <a:pt x="32892" y="101599"/>
                </a:lnTo>
                <a:lnTo>
                  <a:pt x="0" y="10159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136"/>
          <p:cNvSpPr/>
          <p:nvPr/>
        </p:nvSpPr>
        <p:spPr>
          <a:xfrm>
            <a:off x="5302504" y="4771518"/>
            <a:ext cx="131446" cy="191643"/>
          </a:xfrm>
          <a:custGeom>
            <a:avLst/>
            <a:gdLst/>
            <a:ahLst/>
            <a:cxnLst/>
            <a:rect l="l" t="t" r="r" b="b"/>
            <a:pathLst>
              <a:path w="131445" h="191643">
                <a:moveTo>
                  <a:pt x="65659" y="0"/>
                </a:moveTo>
                <a:lnTo>
                  <a:pt x="0" y="101599"/>
                </a:lnTo>
                <a:lnTo>
                  <a:pt x="32893" y="101599"/>
                </a:lnTo>
                <a:lnTo>
                  <a:pt x="32893" y="191642"/>
                </a:lnTo>
                <a:lnTo>
                  <a:pt x="98551" y="191642"/>
                </a:lnTo>
                <a:lnTo>
                  <a:pt x="98551" y="101599"/>
                </a:lnTo>
                <a:lnTo>
                  <a:pt x="131445" y="101599"/>
                </a:lnTo>
                <a:lnTo>
                  <a:pt x="65659" y="0"/>
                </a:lnTo>
                <a:close/>
              </a:path>
            </a:pathLst>
          </a:custGeom>
          <a:solidFill>
            <a:srgbClr val="90909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5302504" y="4771518"/>
            <a:ext cx="131446" cy="191643"/>
          </a:xfrm>
          <a:custGeom>
            <a:avLst/>
            <a:gdLst/>
            <a:ahLst/>
            <a:cxnLst/>
            <a:rect l="l" t="t" r="r" b="b"/>
            <a:pathLst>
              <a:path w="131445" h="191643">
                <a:moveTo>
                  <a:pt x="0" y="101599"/>
                </a:moveTo>
                <a:lnTo>
                  <a:pt x="65659" y="0"/>
                </a:lnTo>
                <a:lnTo>
                  <a:pt x="131445" y="101599"/>
                </a:lnTo>
                <a:lnTo>
                  <a:pt x="98551" y="101599"/>
                </a:lnTo>
                <a:lnTo>
                  <a:pt x="98551" y="191642"/>
                </a:lnTo>
                <a:lnTo>
                  <a:pt x="32893" y="191642"/>
                </a:lnTo>
                <a:lnTo>
                  <a:pt x="32893" y="101599"/>
                </a:lnTo>
                <a:lnTo>
                  <a:pt x="0" y="10159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138"/>
          <p:cNvSpPr/>
          <p:nvPr/>
        </p:nvSpPr>
        <p:spPr>
          <a:xfrm>
            <a:off x="5951221" y="4771518"/>
            <a:ext cx="131444" cy="191643"/>
          </a:xfrm>
          <a:custGeom>
            <a:avLst/>
            <a:gdLst/>
            <a:ahLst/>
            <a:cxnLst/>
            <a:rect l="l" t="t" r="r" b="b"/>
            <a:pathLst>
              <a:path w="131444" h="191643">
                <a:moveTo>
                  <a:pt x="65785" y="0"/>
                </a:moveTo>
                <a:lnTo>
                  <a:pt x="0" y="101599"/>
                </a:lnTo>
                <a:lnTo>
                  <a:pt x="32892" y="101599"/>
                </a:lnTo>
                <a:lnTo>
                  <a:pt x="32892" y="191642"/>
                </a:lnTo>
                <a:lnTo>
                  <a:pt x="98678" y="191642"/>
                </a:lnTo>
                <a:lnTo>
                  <a:pt x="98678" y="101599"/>
                </a:lnTo>
                <a:lnTo>
                  <a:pt x="131444" y="101599"/>
                </a:lnTo>
                <a:lnTo>
                  <a:pt x="65785" y="0"/>
                </a:lnTo>
                <a:close/>
              </a:path>
            </a:pathLst>
          </a:custGeom>
          <a:solidFill>
            <a:srgbClr val="90909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139"/>
          <p:cNvSpPr/>
          <p:nvPr/>
        </p:nvSpPr>
        <p:spPr>
          <a:xfrm>
            <a:off x="5951221" y="4771518"/>
            <a:ext cx="131444" cy="191643"/>
          </a:xfrm>
          <a:custGeom>
            <a:avLst/>
            <a:gdLst/>
            <a:ahLst/>
            <a:cxnLst/>
            <a:rect l="l" t="t" r="r" b="b"/>
            <a:pathLst>
              <a:path w="131444" h="191643">
                <a:moveTo>
                  <a:pt x="0" y="101599"/>
                </a:moveTo>
                <a:lnTo>
                  <a:pt x="65785" y="0"/>
                </a:lnTo>
                <a:lnTo>
                  <a:pt x="131444" y="101599"/>
                </a:lnTo>
                <a:lnTo>
                  <a:pt x="98678" y="101599"/>
                </a:lnTo>
                <a:lnTo>
                  <a:pt x="98678" y="191642"/>
                </a:lnTo>
                <a:lnTo>
                  <a:pt x="32892" y="191642"/>
                </a:lnTo>
                <a:lnTo>
                  <a:pt x="32892" y="101599"/>
                </a:lnTo>
                <a:lnTo>
                  <a:pt x="0" y="10159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140"/>
          <p:cNvSpPr/>
          <p:nvPr/>
        </p:nvSpPr>
        <p:spPr>
          <a:xfrm>
            <a:off x="6561835" y="4771518"/>
            <a:ext cx="131446" cy="191643"/>
          </a:xfrm>
          <a:custGeom>
            <a:avLst/>
            <a:gdLst/>
            <a:ahLst/>
            <a:cxnLst/>
            <a:rect l="l" t="t" r="r" b="b"/>
            <a:pathLst>
              <a:path w="131445" h="191643">
                <a:moveTo>
                  <a:pt x="65786" y="0"/>
                </a:moveTo>
                <a:lnTo>
                  <a:pt x="0" y="101599"/>
                </a:lnTo>
                <a:lnTo>
                  <a:pt x="32893" y="101599"/>
                </a:lnTo>
                <a:lnTo>
                  <a:pt x="32893" y="191642"/>
                </a:lnTo>
                <a:lnTo>
                  <a:pt x="98679" y="191642"/>
                </a:lnTo>
                <a:lnTo>
                  <a:pt x="98679" y="101599"/>
                </a:lnTo>
                <a:lnTo>
                  <a:pt x="131445" y="101599"/>
                </a:lnTo>
                <a:lnTo>
                  <a:pt x="65786" y="0"/>
                </a:lnTo>
                <a:close/>
              </a:path>
            </a:pathLst>
          </a:custGeom>
          <a:solidFill>
            <a:srgbClr val="90909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141"/>
          <p:cNvSpPr/>
          <p:nvPr/>
        </p:nvSpPr>
        <p:spPr>
          <a:xfrm>
            <a:off x="6561835" y="4771518"/>
            <a:ext cx="131446" cy="191643"/>
          </a:xfrm>
          <a:custGeom>
            <a:avLst/>
            <a:gdLst/>
            <a:ahLst/>
            <a:cxnLst/>
            <a:rect l="l" t="t" r="r" b="b"/>
            <a:pathLst>
              <a:path w="131445" h="191643">
                <a:moveTo>
                  <a:pt x="0" y="101599"/>
                </a:moveTo>
                <a:lnTo>
                  <a:pt x="65786" y="0"/>
                </a:lnTo>
                <a:lnTo>
                  <a:pt x="131445" y="101599"/>
                </a:lnTo>
                <a:lnTo>
                  <a:pt x="98679" y="101599"/>
                </a:lnTo>
                <a:lnTo>
                  <a:pt x="98679" y="191642"/>
                </a:lnTo>
                <a:lnTo>
                  <a:pt x="32893" y="191642"/>
                </a:lnTo>
                <a:lnTo>
                  <a:pt x="32893" y="101599"/>
                </a:lnTo>
                <a:lnTo>
                  <a:pt x="0" y="10159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142"/>
          <p:cNvSpPr/>
          <p:nvPr/>
        </p:nvSpPr>
        <p:spPr>
          <a:xfrm>
            <a:off x="3917953" y="5063703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143"/>
          <p:cNvSpPr/>
          <p:nvPr/>
        </p:nvSpPr>
        <p:spPr>
          <a:xfrm>
            <a:off x="3890391" y="5063703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144"/>
          <p:cNvSpPr/>
          <p:nvPr/>
        </p:nvSpPr>
        <p:spPr>
          <a:xfrm>
            <a:off x="4923031" y="5101421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145"/>
          <p:cNvSpPr/>
          <p:nvPr/>
        </p:nvSpPr>
        <p:spPr>
          <a:xfrm>
            <a:off x="4895470" y="5101421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146"/>
          <p:cNvSpPr/>
          <p:nvPr/>
        </p:nvSpPr>
        <p:spPr>
          <a:xfrm>
            <a:off x="5355466" y="5073228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147"/>
          <p:cNvSpPr/>
          <p:nvPr/>
        </p:nvSpPr>
        <p:spPr>
          <a:xfrm>
            <a:off x="5327904" y="5073228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148"/>
          <p:cNvSpPr/>
          <p:nvPr/>
        </p:nvSpPr>
        <p:spPr>
          <a:xfrm>
            <a:off x="6424044" y="5092024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149"/>
          <p:cNvSpPr/>
          <p:nvPr/>
        </p:nvSpPr>
        <p:spPr>
          <a:xfrm>
            <a:off x="6396483" y="5092024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150"/>
          <p:cNvSpPr/>
          <p:nvPr/>
        </p:nvSpPr>
        <p:spPr>
          <a:xfrm>
            <a:off x="4121534" y="5082625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151"/>
          <p:cNvSpPr/>
          <p:nvPr/>
        </p:nvSpPr>
        <p:spPr>
          <a:xfrm>
            <a:off x="4093972" y="5082625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" name="object 152"/>
          <p:cNvSpPr/>
          <p:nvPr/>
        </p:nvSpPr>
        <p:spPr>
          <a:xfrm>
            <a:off x="5177412" y="5120345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" name="object 153"/>
          <p:cNvSpPr/>
          <p:nvPr/>
        </p:nvSpPr>
        <p:spPr>
          <a:xfrm>
            <a:off x="5149850" y="5120345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" name="object 154"/>
          <p:cNvSpPr/>
          <p:nvPr/>
        </p:nvSpPr>
        <p:spPr>
          <a:xfrm>
            <a:off x="5559047" y="5092024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" name="object 155"/>
          <p:cNvSpPr/>
          <p:nvPr/>
        </p:nvSpPr>
        <p:spPr>
          <a:xfrm>
            <a:off x="5531486" y="5092024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" name="object 156"/>
          <p:cNvSpPr/>
          <p:nvPr/>
        </p:nvSpPr>
        <p:spPr>
          <a:xfrm>
            <a:off x="6627625" y="5110946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157"/>
          <p:cNvSpPr/>
          <p:nvPr/>
        </p:nvSpPr>
        <p:spPr>
          <a:xfrm>
            <a:off x="6600063" y="5110946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" name="object 158"/>
          <p:cNvSpPr/>
          <p:nvPr/>
        </p:nvSpPr>
        <p:spPr>
          <a:xfrm>
            <a:off x="4236088" y="5082625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" name="object 159"/>
          <p:cNvSpPr/>
          <p:nvPr/>
        </p:nvSpPr>
        <p:spPr>
          <a:xfrm>
            <a:off x="4208526" y="5082625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" name="object 160"/>
          <p:cNvSpPr/>
          <p:nvPr/>
        </p:nvSpPr>
        <p:spPr>
          <a:xfrm>
            <a:off x="5291840" y="5120345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" name="object 161"/>
          <p:cNvSpPr/>
          <p:nvPr/>
        </p:nvSpPr>
        <p:spPr>
          <a:xfrm>
            <a:off x="5264277" y="5120345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" name="object 162"/>
          <p:cNvSpPr/>
          <p:nvPr/>
        </p:nvSpPr>
        <p:spPr>
          <a:xfrm>
            <a:off x="5457320" y="5139140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3" name="object 163"/>
          <p:cNvSpPr/>
          <p:nvPr/>
        </p:nvSpPr>
        <p:spPr>
          <a:xfrm>
            <a:off x="5429759" y="5139140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" name="object 164"/>
          <p:cNvSpPr/>
          <p:nvPr/>
        </p:nvSpPr>
        <p:spPr>
          <a:xfrm>
            <a:off x="5927982" y="5073228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" name="object 165"/>
          <p:cNvSpPr/>
          <p:nvPr/>
        </p:nvSpPr>
        <p:spPr>
          <a:xfrm>
            <a:off x="5900421" y="5073228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" name="object 166"/>
          <p:cNvSpPr/>
          <p:nvPr/>
        </p:nvSpPr>
        <p:spPr>
          <a:xfrm>
            <a:off x="5152012" y="5063703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" name="object 167"/>
          <p:cNvSpPr/>
          <p:nvPr/>
        </p:nvSpPr>
        <p:spPr>
          <a:xfrm>
            <a:off x="5124451" y="5063703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" name="object 168"/>
          <p:cNvSpPr/>
          <p:nvPr/>
        </p:nvSpPr>
        <p:spPr>
          <a:xfrm>
            <a:off x="4757550" y="5101421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" name="object 169"/>
          <p:cNvSpPr/>
          <p:nvPr/>
        </p:nvSpPr>
        <p:spPr>
          <a:xfrm>
            <a:off x="4729988" y="5101421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" name="object 170"/>
          <p:cNvSpPr/>
          <p:nvPr/>
        </p:nvSpPr>
        <p:spPr>
          <a:xfrm>
            <a:off x="5800727" y="5092024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" name="object 171"/>
          <p:cNvSpPr/>
          <p:nvPr/>
        </p:nvSpPr>
        <p:spPr>
          <a:xfrm>
            <a:off x="5773166" y="5092024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" name="object 172"/>
          <p:cNvSpPr/>
          <p:nvPr/>
        </p:nvSpPr>
        <p:spPr>
          <a:xfrm>
            <a:off x="6093336" y="5110946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" name="object 173"/>
          <p:cNvSpPr/>
          <p:nvPr/>
        </p:nvSpPr>
        <p:spPr>
          <a:xfrm>
            <a:off x="6065775" y="5110946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" name="object 174"/>
          <p:cNvSpPr/>
          <p:nvPr/>
        </p:nvSpPr>
        <p:spPr>
          <a:xfrm>
            <a:off x="6498210" y="4295522"/>
            <a:ext cx="578865" cy="402971"/>
          </a:xfrm>
          <a:custGeom>
            <a:avLst/>
            <a:gdLst/>
            <a:ahLst/>
            <a:cxnLst/>
            <a:rect l="l" t="t" r="r" b="b"/>
            <a:pathLst>
              <a:path w="578865" h="402971">
                <a:moveTo>
                  <a:pt x="0" y="201421"/>
                </a:moveTo>
                <a:lnTo>
                  <a:pt x="960" y="184900"/>
                </a:lnTo>
                <a:lnTo>
                  <a:pt x="3790" y="168747"/>
                </a:lnTo>
                <a:lnTo>
                  <a:pt x="8416" y="153014"/>
                </a:lnTo>
                <a:lnTo>
                  <a:pt x="14763" y="137753"/>
                </a:lnTo>
                <a:lnTo>
                  <a:pt x="22756" y="123015"/>
                </a:lnTo>
                <a:lnTo>
                  <a:pt x="32321" y="108852"/>
                </a:lnTo>
                <a:lnTo>
                  <a:pt x="43383" y="95317"/>
                </a:lnTo>
                <a:lnTo>
                  <a:pt x="55867" y="82460"/>
                </a:lnTo>
                <a:lnTo>
                  <a:pt x="69699" y="70334"/>
                </a:lnTo>
                <a:lnTo>
                  <a:pt x="84804" y="58991"/>
                </a:lnTo>
                <a:lnTo>
                  <a:pt x="101107" y="48482"/>
                </a:lnTo>
                <a:lnTo>
                  <a:pt x="118533" y="38859"/>
                </a:lnTo>
                <a:lnTo>
                  <a:pt x="137009" y="30175"/>
                </a:lnTo>
                <a:lnTo>
                  <a:pt x="156458" y="22480"/>
                </a:lnTo>
                <a:lnTo>
                  <a:pt x="176807" y="15827"/>
                </a:lnTo>
                <a:lnTo>
                  <a:pt x="197981" y="10267"/>
                </a:lnTo>
                <a:lnTo>
                  <a:pt x="219906" y="5853"/>
                </a:lnTo>
                <a:lnTo>
                  <a:pt x="242505" y="2636"/>
                </a:lnTo>
                <a:lnTo>
                  <a:pt x="265706" y="667"/>
                </a:lnTo>
                <a:lnTo>
                  <a:pt x="289433" y="0"/>
                </a:lnTo>
                <a:lnTo>
                  <a:pt x="313176" y="667"/>
                </a:lnTo>
                <a:lnTo>
                  <a:pt x="336391" y="2636"/>
                </a:lnTo>
                <a:lnTo>
                  <a:pt x="359001" y="5853"/>
                </a:lnTo>
                <a:lnTo>
                  <a:pt x="380932" y="10267"/>
                </a:lnTo>
                <a:lnTo>
                  <a:pt x="402111" y="15827"/>
                </a:lnTo>
                <a:lnTo>
                  <a:pt x="422463" y="22480"/>
                </a:lnTo>
                <a:lnTo>
                  <a:pt x="441913" y="30175"/>
                </a:lnTo>
                <a:lnTo>
                  <a:pt x="460387" y="38859"/>
                </a:lnTo>
                <a:lnTo>
                  <a:pt x="477810" y="48482"/>
                </a:lnTo>
                <a:lnTo>
                  <a:pt x="494109" y="58991"/>
                </a:lnTo>
                <a:lnTo>
                  <a:pt x="509208" y="70334"/>
                </a:lnTo>
                <a:lnTo>
                  <a:pt x="523034" y="82460"/>
                </a:lnTo>
                <a:lnTo>
                  <a:pt x="535512" y="95317"/>
                </a:lnTo>
                <a:lnTo>
                  <a:pt x="546568" y="108852"/>
                </a:lnTo>
                <a:lnTo>
                  <a:pt x="556127" y="123015"/>
                </a:lnTo>
                <a:lnTo>
                  <a:pt x="564114" y="137753"/>
                </a:lnTo>
                <a:lnTo>
                  <a:pt x="570456" y="153014"/>
                </a:lnTo>
                <a:lnTo>
                  <a:pt x="575078" y="168747"/>
                </a:lnTo>
                <a:lnTo>
                  <a:pt x="577906" y="184900"/>
                </a:lnTo>
                <a:lnTo>
                  <a:pt x="578865" y="201421"/>
                </a:lnTo>
                <a:lnTo>
                  <a:pt x="577906" y="217961"/>
                </a:lnTo>
                <a:lnTo>
                  <a:pt x="575078" y="234130"/>
                </a:lnTo>
                <a:lnTo>
                  <a:pt x="570456" y="249878"/>
                </a:lnTo>
                <a:lnTo>
                  <a:pt x="564114" y="265152"/>
                </a:lnTo>
                <a:lnTo>
                  <a:pt x="556127" y="279902"/>
                </a:lnTo>
                <a:lnTo>
                  <a:pt x="546568" y="294074"/>
                </a:lnTo>
                <a:lnTo>
                  <a:pt x="535512" y="307618"/>
                </a:lnTo>
                <a:lnTo>
                  <a:pt x="523034" y="320482"/>
                </a:lnTo>
                <a:lnTo>
                  <a:pt x="509208" y="332615"/>
                </a:lnTo>
                <a:lnTo>
                  <a:pt x="494109" y="343963"/>
                </a:lnTo>
                <a:lnTo>
                  <a:pt x="477810" y="354476"/>
                </a:lnTo>
                <a:lnTo>
                  <a:pt x="460387" y="364102"/>
                </a:lnTo>
                <a:lnTo>
                  <a:pt x="441913" y="372790"/>
                </a:lnTo>
                <a:lnTo>
                  <a:pt x="422463" y="380487"/>
                </a:lnTo>
                <a:lnTo>
                  <a:pt x="402111" y="387141"/>
                </a:lnTo>
                <a:lnTo>
                  <a:pt x="380932" y="392702"/>
                </a:lnTo>
                <a:lnTo>
                  <a:pt x="359001" y="397117"/>
                </a:lnTo>
                <a:lnTo>
                  <a:pt x="336391" y="400334"/>
                </a:lnTo>
                <a:lnTo>
                  <a:pt x="313176" y="402303"/>
                </a:lnTo>
                <a:lnTo>
                  <a:pt x="289433" y="402970"/>
                </a:lnTo>
                <a:lnTo>
                  <a:pt x="265706" y="402303"/>
                </a:lnTo>
                <a:lnTo>
                  <a:pt x="242505" y="400334"/>
                </a:lnTo>
                <a:lnTo>
                  <a:pt x="219906" y="397117"/>
                </a:lnTo>
                <a:lnTo>
                  <a:pt x="197981" y="392702"/>
                </a:lnTo>
                <a:lnTo>
                  <a:pt x="176807" y="387141"/>
                </a:lnTo>
                <a:lnTo>
                  <a:pt x="156458" y="380487"/>
                </a:lnTo>
                <a:lnTo>
                  <a:pt x="137009" y="372790"/>
                </a:lnTo>
                <a:lnTo>
                  <a:pt x="118533" y="364102"/>
                </a:lnTo>
                <a:lnTo>
                  <a:pt x="101107" y="354476"/>
                </a:lnTo>
                <a:lnTo>
                  <a:pt x="84804" y="343963"/>
                </a:lnTo>
                <a:lnTo>
                  <a:pt x="69699" y="332615"/>
                </a:lnTo>
                <a:lnTo>
                  <a:pt x="55867" y="320482"/>
                </a:lnTo>
                <a:lnTo>
                  <a:pt x="43383" y="307618"/>
                </a:lnTo>
                <a:lnTo>
                  <a:pt x="32321" y="294074"/>
                </a:lnTo>
                <a:lnTo>
                  <a:pt x="22756" y="279902"/>
                </a:lnTo>
                <a:lnTo>
                  <a:pt x="14763" y="265152"/>
                </a:lnTo>
                <a:lnTo>
                  <a:pt x="8416" y="249878"/>
                </a:lnTo>
                <a:lnTo>
                  <a:pt x="3790" y="234130"/>
                </a:lnTo>
                <a:lnTo>
                  <a:pt x="960" y="217961"/>
                </a:lnTo>
                <a:lnTo>
                  <a:pt x="0" y="201421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" name="object 175"/>
          <p:cNvSpPr/>
          <p:nvPr/>
        </p:nvSpPr>
        <p:spPr>
          <a:xfrm>
            <a:off x="6812027" y="4234180"/>
            <a:ext cx="593725" cy="512190"/>
          </a:xfrm>
          <a:custGeom>
            <a:avLst/>
            <a:gdLst/>
            <a:ahLst/>
            <a:cxnLst/>
            <a:rect l="l" t="t" r="r" b="b"/>
            <a:pathLst>
              <a:path w="593725" h="512190">
                <a:moveTo>
                  <a:pt x="0" y="256159"/>
                </a:moveTo>
                <a:lnTo>
                  <a:pt x="984" y="277150"/>
                </a:lnTo>
                <a:lnTo>
                  <a:pt x="3886" y="297676"/>
                </a:lnTo>
                <a:lnTo>
                  <a:pt x="8630" y="317669"/>
                </a:lnTo>
                <a:lnTo>
                  <a:pt x="15139" y="337065"/>
                </a:lnTo>
                <a:lnTo>
                  <a:pt x="23336" y="355796"/>
                </a:lnTo>
                <a:lnTo>
                  <a:pt x="33144" y="373797"/>
                </a:lnTo>
                <a:lnTo>
                  <a:pt x="44488" y="391002"/>
                </a:lnTo>
                <a:lnTo>
                  <a:pt x="57290" y="407345"/>
                </a:lnTo>
                <a:lnTo>
                  <a:pt x="71474" y="422760"/>
                </a:lnTo>
                <a:lnTo>
                  <a:pt x="86963" y="437181"/>
                </a:lnTo>
                <a:lnTo>
                  <a:pt x="103681" y="450542"/>
                </a:lnTo>
                <a:lnTo>
                  <a:pt x="121551" y="462776"/>
                </a:lnTo>
                <a:lnTo>
                  <a:pt x="140496" y="473819"/>
                </a:lnTo>
                <a:lnTo>
                  <a:pt x="160441" y="483603"/>
                </a:lnTo>
                <a:lnTo>
                  <a:pt x="181308" y="492063"/>
                </a:lnTo>
                <a:lnTo>
                  <a:pt x="203021" y="499133"/>
                </a:lnTo>
                <a:lnTo>
                  <a:pt x="225503" y="504747"/>
                </a:lnTo>
                <a:lnTo>
                  <a:pt x="248677" y="508838"/>
                </a:lnTo>
                <a:lnTo>
                  <a:pt x="272468" y="511341"/>
                </a:lnTo>
                <a:lnTo>
                  <a:pt x="296799" y="512191"/>
                </a:lnTo>
                <a:lnTo>
                  <a:pt x="321147" y="511341"/>
                </a:lnTo>
                <a:lnTo>
                  <a:pt x="344954" y="508838"/>
                </a:lnTo>
                <a:lnTo>
                  <a:pt x="368143" y="504747"/>
                </a:lnTo>
                <a:lnTo>
                  <a:pt x="390638" y="499133"/>
                </a:lnTo>
                <a:lnTo>
                  <a:pt x="412363" y="492063"/>
                </a:lnTo>
                <a:lnTo>
                  <a:pt x="433240" y="483603"/>
                </a:lnTo>
                <a:lnTo>
                  <a:pt x="453193" y="473819"/>
                </a:lnTo>
                <a:lnTo>
                  <a:pt x="472146" y="462776"/>
                </a:lnTo>
                <a:lnTo>
                  <a:pt x="490022" y="450542"/>
                </a:lnTo>
                <a:lnTo>
                  <a:pt x="506745" y="437181"/>
                </a:lnTo>
                <a:lnTo>
                  <a:pt x="522239" y="422760"/>
                </a:lnTo>
                <a:lnTo>
                  <a:pt x="536426" y="407345"/>
                </a:lnTo>
                <a:lnTo>
                  <a:pt x="549231" y="391002"/>
                </a:lnTo>
                <a:lnTo>
                  <a:pt x="560576" y="373797"/>
                </a:lnTo>
                <a:lnTo>
                  <a:pt x="570386" y="355796"/>
                </a:lnTo>
                <a:lnTo>
                  <a:pt x="578584" y="337065"/>
                </a:lnTo>
                <a:lnTo>
                  <a:pt x="585093" y="317669"/>
                </a:lnTo>
                <a:lnTo>
                  <a:pt x="589837" y="297676"/>
                </a:lnTo>
                <a:lnTo>
                  <a:pt x="592740" y="277150"/>
                </a:lnTo>
                <a:lnTo>
                  <a:pt x="593725" y="256159"/>
                </a:lnTo>
                <a:lnTo>
                  <a:pt x="592740" y="235149"/>
                </a:lnTo>
                <a:lnTo>
                  <a:pt x="589837" y="214607"/>
                </a:lnTo>
                <a:lnTo>
                  <a:pt x="585093" y="194599"/>
                </a:lnTo>
                <a:lnTo>
                  <a:pt x="578584" y="175190"/>
                </a:lnTo>
                <a:lnTo>
                  <a:pt x="570386" y="156448"/>
                </a:lnTo>
                <a:lnTo>
                  <a:pt x="560576" y="138436"/>
                </a:lnTo>
                <a:lnTo>
                  <a:pt x="549231" y="121223"/>
                </a:lnTo>
                <a:lnTo>
                  <a:pt x="536426" y="104872"/>
                </a:lnTo>
                <a:lnTo>
                  <a:pt x="522239" y="89451"/>
                </a:lnTo>
                <a:lnTo>
                  <a:pt x="506745" y="75025"/>
                </a:lnTo>
                <a:lnTo>
                  <a:pt x="490022" y="61660"/>
                </a:lnTo>
                <a:lnTo>
                  <a:pt x="472146" y="49422"/>
                </a:lnTo>
                <a:lnTo>
                  <a:pt x="453193" y="38377"/>
                </a:lnTo>
                <a:lnTo>
                  <a:pt x="433240" y="28591"/>
                </a:lnTo>
                <a:lnTo>
                  <a:pt x="412363" y="20129"/>
                </a:lnTo>
                <a:lnTo>
                  <a:pt x="390638" y="13058"/>
                </a:lnTo>
                <a:lnTo>
                  <a:pt x="368143" y="7444"/>
                </a:lnTo>
                <a:lnTo>
                  <a:pt x="344954" y="3352"/>
                </a:lnTo>
                <a:lnTo>
                  <a:pt x="321147" y="849"/>
                </a:lnTo>
                <a:lnTo>
                  <a:pt x="296799" y="0"/>
                </a:lnTo>
                <a:lnTo>
                  <a:pt x="272468" y="849"/>
                </a:lnTo>
                <a:lnTo>
                  <a:pt x="248677" y="3352"/>
                </a:lnTo>
                <a:lnTo>
                  <a:pt x="225503" y="7444"/>
                </a:lnTo>
                <a:lnTo>
                  <a:pt x="203021" y="13058"/>
                </a:lnTo>
                <a:lnTo>
                  <a:pt x="181308" y="20129"/>
                </a:lnTo>
                <a:lnTo>
                  <a:pt x="160441" y="28591"/>
                </a:lnTo>
                <a:lnTo>
                  <a:pt x="140496" y="38377"/>
                </a:lnTo>
                <a:lnTo>
                  <a:pt x="121551" y="49422"/>
                </a:lnTo>
                <a:lnTo>
                  <a:pt x="103681" y="61660"/>
                </a:lnTo>
                <a:lnTo>
                  <a:pt x="86963" y="75025"/>
                </a:lnTo>
                <a:lnTo>
                  <a:pt x="71474" y="89451"/>
                </a:lnTo>
                <a:lnTo>
                  <a:pt x="57290" y="104872"/>
                </a:lnTo>
                <a:lnTo>
                  <a:pt x="44488" y="121223"/>
                </a:lnTo>
                <a:lnTo>
                  <a:pt x="33144" y="138436"/>
                </a:lnTo>
                <a:lnTo>
                  <a:pt x="23336" y="156448"/>
                </a:lnTo>
                <a:lnTo>
                  <a:pt x="15139" y="175190"/>
                </a:lnTo>
                <a:lnTo>
                  <a:pt x="8630" y="194599"/>
                </a:lnTo>
                <a:lnTo>
                  <a:pt x="3886" y="214607"/>
                </a:lnTo>
                <a:lnTo>
                  <a:pt x="984" y="235149"/>
                </a:lnTo>
                <a:lnTo>
                  <a:pt x="0" y="2561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" name="object 176"/>
          <p:cNvSpPr/>
          <p:nvPr/>
        </p:nvSpPr>
        <p:spPr>
          <a:xfrm>
            <a:off x="6812027" y="4234180"/>
            <a:ext cx="593725" cy="512190"/>
          </a:xfrm>
          <a:custGeom>
            <a:avLst/>
            <a:gdLst/>
            <a:ahLst/>
            <a:cxnLst/>
            <a:rect l="l" t="t" r="r" b="b"/>
            <a:pathLst>
              <a:path w="593725" h="512190">
                <a:moveTo>
                  <a:pt x="0" y="256159"/>
                </a:moveTo>
                <a:lnTo>
                  <a:pt x="984" y="235149"/>
                </a:lnTo>
                <a:lnTo>
                  <a:pt x="3886" y="214607"/>
                </a:lnTo>
                <a:lnTo>
                  <a:pt x="8630" y="194599"/>
                </a:lnTo>
                <a:lnTo>
                  <a:pt x="15139" y="175190"/>
                </a:lnTo>
                <a:lnTo>
                  <a:pt x="23336" y="156448"/>
                </a:lnTo>
                <a:lnTo>
                  <a:pt x="33144" y="138436"/>
                </a:lnTo>
                <a:lnTo>
                  <a:pt x="44488" y="121223"/>
                </a:lnTo>
                <a:lnTo>
                  <a:pt x="57290" y="104872"/>
                </a:lnTo>
                <a:lnTo>
                  <a:pt x="71474" y="89451"/>
                </a:lnTo>
                <a:lnTo>
                  <a:pt x="86963" y="75025"/>
                </a:lnTo>
                <a:lnTo>
                  <a:pt x="103681" y="61660"/>
                </a:lnTo>
                <a:lnTo>
                  <a:pt x="121551" y="49422"/>
                </a:lnTo>
                <a:lnTo>
                  <a:pt x="140496" y="38377"/>
                </a:lnTo>
                <a:lnTo>
                  <a:pt x="160441" y="28591"/>
                </a:lnTo>
                <a:lnTo>
                  <a:pt x="181308" y="20129"/>
                </a:lnTo>
                <a:lnTo>
                  <a:pt x="203021" y="13058"/>
                </a:lnTo>
                <a:lnTo>
                  <a:pt x="225503" y="7444"/>
                </a:lnTo>
                <a:lnTo>
                  <a:pt x="248677" y="3352"/>
                </a:lnTo>
                <a:lnTo>
                  <a:pt x="272468" y="849"/>
                </a:lnTo>
                <a:lnTo>
                  <a:pt x="296799" y="0"/>
                </a:lnTo>
                <a:lnTo>
                  <a:pt x="321147" y="849"/>
                </a:lnTo>
                <a:lnTo>
                  <a:pt x="344954" y="3352"/>
                </a:lnTo>
                <a:lnTo>
                  <a:pt x="368143" y="7444"/>
                </a:lnTo>
                <a:lnTo>
                  <a:pt x="390638" y="13058"/>
                </a:lnTo>
                <a:lnTo>
                  <a:pt x="412363" y="20129"/>
                </a:lnTo>
                <a:lnTo>
                  <a:pt x="433240" y="28591"/>
                </a:lnTo>
                <a:lnTo>
                  <a:pt x="453193" y="38377"/>
                </a:lnTo>
                <a:lnTo>
                  <a:pt x="472146" y="49422"/>
                </a:lnTo>
                <a:lnTo>
                  <a:pt x="490022" y="61660"/>
                </a:lnTo>
                <a:lnTo>
                  <a:pt x="506745" y="75025"/>
                </a:lnTo>
                <a:lnTo>
                  <a:pt x="522239" y="89451"/>
                </a:lnTo>
                <a:lnTo>
                  <a:pt x="536426" y="104872"/>
                </a:lnTo>
                <a:lnTo>
                  <a:pt x="549231" y="121223"/>
                </a:lnTo>
                <a:lnTo>
                  <a:pt x="560576" y="138436"/>
                </a:lnTo>
                <a:lnTo>
                  <a:pt x="570386" y="156448"/>
                </a:lnTo>
                <a:lnTo>
                  <a:pt x="578584" y="175190"/>
                </a:lnTo>
                <a:lnTo>
                  <a:pt x="585093" y="194599"/>
                </a:lnTo>
                <a:lnTo>
                  <a:pt x="589837" y="214607"/>
                </a:lnTo>
                <a:lnTo>
                  <a:pt x="592740" y="235149"/>
                </a:lnTo>
                <a:lnTo>
                  <a:pt x="593725" y="256159"/>
                </a:lnTo>
                <a:lnTo>
                  <a:pt x="592740" y="277150"/>
                </a:lnTo>
                <a:lnTo>
                  <a:pt x="589837" y="297676"/>
                </a:lnTo>
                <a:lnTo>
                  <a:pt x="585093" y="317669"/>
                </a:lnTo>
                <a:lnTo>
                  <a:pt x="578584" y="337065"/>
                </a:lnTo>
                <a:lnTo>
                  <a:pt x="570386" y="355796"/>
                </a:lnTo>
                <a:lnTo>
                  <a:pt x="560576" y="373797"/>
                </a:lnTo>
                <a:lnTo>
                  <a:pt x="549231" y="391002"/>
                </a:lnTo>
                <a:lnTo>
                  <a:pt x="536426" y="407345"/>
                </a:lnTo>
                <a:lnTo>
                  <a:pt x="522239" y="422760"/>
                </a:lnTo>
                <a:lnTo>
                  <a:pt x="506745" y="437181"/>
                </a:lnTo>
                <a:lnTo>
                  <a:pt x="490022" y="450542"/>
                </a:lnTo>
                <a:lnTo>
                  <a:pt x="472146" y="462776"/>
                </a:lnTo>
                <a:lnTo>
                  <a:pt x="453193" y="473819"/>
                </a:lnTo>
                <a:lnTo>
                  <a:pt x="433240" y="483603"/>
                </a:lnTo>
                <a:lnTo>
                  <a:pt x="412363" y="492063"/>
                </a:lnTo>
                <a:lnTo>
                  <a:pt x="390638" y="499133"/>
                </a:lnTo>
                <a:lnTo>
                  <a:pt x="368143" y="504747"/>
                </a:lnTo>
                <a:lnTo>
                  <a:pt x="344954" y="508838"/>
                </a:lnTo>
                <a:lnTo>
                  <a:pt x="321147" y="511341"/>
                </a:lnTo>
                <a:lnTo>
                  <a:pt x="296799" y="512191"/>
                </a:lnTo>
                <a:lnTo>
                  <a:pt x="272468" y="511341"/>
                </a:lnTo>
                <a:lnTo>
                  <a:pt x="248677" y="508838"/>
                </a:lnTo>
                <a:lnTo>
                  <a:pt x="225503" y="504747"/>
                </a:lnTo>
                <a:lnTo>
                  <a:pt x="203021" y="499133"/>
                </a:lnTo>
                <a:lnTo>
                  <a:pt x="181308" y="492063"/>
                </a:lnTo>
                <a:lnTo>
                  <a:pt x="160441" y="483603"/>
                </a:lnTo>
                <a:lnTo>
                  <a:pt x="140496" y="473819"/>
                </a:lnTo>
                <a:lnTo>
                  <a:pt x="121551" y="462776"/>
                </a:lnTo>
                <a:lnTo>
                  <a:pt x="103681" y="450542"/>
                </a:lnTo>
                <a:lnTo>
                  <a:pt x="86963" y="437181"/>
                </a:lnTo>
                <a:lnTo>
                  <a:pt x="71474" y="422760"/>
                </a:lnTo>
                <a:lnTo>
                  <a:pt x="57290" y="407345"/>
                </a:lnTo>
                <a:lnTo>
                  <a:pt x="44488" y="391002"/>
                </a:lnTo>
                <a:lnTo>
                  <a:pt x="33144" y="373797"/>
                </a:lnTo>
                <a:lnTo>
                  <a:pt x="23336" y="355796"/>
                </a:lnTo>
                <a:lnTo>
                  <a:pt x="15139" y="337065"/>
                </a:lnTo>
                <a:lnTo>
                  <a:pt x="8630" y="317669"/>
                </a:lnTo>
                <a:lnTo>
                  <a:pt x="3886" y="297676"/>
                </a:lnTo>
                <a:lnTo>
                  <a:pt x="984" y="277150"/>
                </a:lnTo>
                <a:lnTo>
                  <a:pt x="0" y="256159"/>
                </a:lnTo>
                <a:close/>
              </a:path>
            </a:pathLst>
          </a:custGeom>
          <a:ln w="1269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" name="object 177"/>
          <p:cNvSpPr/>
          <p:nvPr/>
        </p:nvSpPr>
        <p:spPr>
          <a:xfrm>
            <a:off x="7208521" y="4282186"/>
            <a:ext cx="578865" cy="402970"/>
          </a:xfrm>
          <a:custGeom>
            <a:avLst/>
            <a:gdLst/>
            <a:ahLst/>
            <a:cxnLst/>
            <a:rect l="l" t="t" r="r" b="b"/>
            <a:pathLst>
              <a:path w="578865" h="402970">
                <a:moveTo>
                  <a:pt x="0" y="201421"/>
                </a:moveTo>
                <a:lnTo>
                  <a:pt x="959" y="217943"/>
                </a:lnTo>
                <a:lnTo>
                  <a:pt x="3787" y="234099"/>
                </a:lnTo>
                <a:lnTo>
                  <a:pt x="8409" y="249836"/>
                </a:lnTo>
                <a:lnTo>
                  <a:pt x="14751" y="265103"/>
                </a:lnTo>
                <a:lnTo>
                  <a:pt x="22738" y="279848"/>
                </a:lnTo>
                <a:lnTo>
                  <a:pt x="32297" y="294018"/>
                </a:lnTo>
                <a:lnTo>
                  <a:pt x="43353" y="307562"/>
                </a:lnTo>
                <a:lnTo>
                  <a:pt x="55831" y="320428"/>
                </a:lnTo>
                <a:lnTo>
                  <a:pt x="69657" y="332563"/>
                </a:lnTo>
                <a:lnTo>
                  <a:pt x="84756" y="343916"/>
                </a:lnTo>
                <a:lnTo>
                  <a:pt x="101055" y="354434"/>
                </a:lnTo>
                <a:lnTo>
                  <a:pt x="118478" y="364066"/>
                </a:lnTo>
                <a:lnTo>
                  <a:pt x="136952" y="372759"/>
                </a:lnTo>
                <a:lnTo>
                  <a:pt x="156402" y="380463"/>
                </a:lnTo>
                <a:lnTo>
                  <a:pt x="176754" y="387123"/>
                </a:lnTo>
                <a:lnTo>
                  <a:pt x="197933" y="392690"/>
                </a:lnTo>
                <a:lnTo>
                  <a:pt x="219864" y="397109"/>
                </a:lnTo>
                <a:lnTo>
                  <a:pt x="242474" y="400331"/>
                </a:lnTo>
                <a:lnTo>
                  <a:pt x="265689" y="402302"/>
                </a:lnTo>
                <a:lnTo>
                  <a:pt x="289432" y="402970"/>
                </a:lnTo>
                <a:lnTo>
                  <a:pt x="313159" y="402302"/>
                </a:lnTo>
                <a:lnTo>
                  <a:pt x="336360" y="400331"/>
                </a:lnTo>
                <a:lnTo>
                  <a:pt x="358959" y="397109"/>
                </a:lnTo>
                <a:lnTo>
                  <a:pt x="380884" y="392690"/>
                </a:lnTo>
                <a:lnTo>
                  <a:pt x="402058" y="387123"/>
                </a:lnTo>
                <a:lnTo>
                  <a:pt x="422407" y="380463"/>
                </a:lnTo>
                <a:lnTo>
                  <a:pt x="441856" y="372759"/>
                </a:lnTo>
                <a:lnTo>
                  <a:pt x="460332" y="364066"/>
                </a:lnTo>
                <a:lnTo>
                  <a:pt x="477758" y="354434"/>
                </a:lnTo>
                <a:lnTo>
                  <a:pt x="494061" y="343916"/>
                </a:lnTo>
                <a:lnTo>
                  <a:pt x="509166" y="332563"/>
                </a:lnTo>
                <a:lnTo>
                  <a:pt x="522998" y="320428"/>
                </a:lnTo>
                <a:lnTo>
                  <a:pt x="535482" y="307562"/>
                </a:lnTo>
                <a:lnTo>
                  <a:pt x="546544" y="294018"/>
                </a:lnTo>
                <a:lnTo>
                  <a:pt x="556109" y="279848"/>
                </a:lnTo>
                <a:lnTo>
                  <a:pt x="564102" y="265103"/>
                </a:lnTo>
                <a:lnTo>
                  <a:pt x="570449" y="249836"/>
                </a:lnTo>
                <a:lnTo>
                  <a:pt x="575075" y="234099"/>
                </a:lnTo>
                <a:lnTo>
                  <a:pt x="577905" y="217943"/>
                </a:lnTo>
                <a:lnTo>
                  <a:pt x="578865" y="201421"/>
                </a:lnTo>
                <a:lnTo>
                  <a:pt x="577905" y="184900"/>
                </a:lnTo>
                <a:lnTo>
                  <a:pt x="575075" y="168747"/>
                </a:lnTo>
                <a:lnTo>
                  <a:pt x="570449" y="153014"/>
                </a:lnTo>
                <a:lnTo>
                  <a:pt x="564102" y="137753"/>
                </a:lnTo>
                <a:lnTo>
                  <a:pt x="556109" y="123015"/>
                </a:lnTo>
                <a:lnTo>
                  <a:pt x="546544" y="108852"/>
                </a:lnTo>
                <a:lnTo>
                  <a:pt x="535482" y="95317"/>
                </a:lnTo>
                <a:lnTo>
                  <a:pt x="522998" y="82460"/>
                </a:lnTo>
                <a:lnTo>
                  <a:pt x="509166" y="70334"/>
                </a:lnTo>
                <a:lnTo>
                  <a:pt x="494061" y="58991"/>
                </a:lnTo>
                <a:lnTo>
                  <a:pt x="477758" y="48482"/>
                </a:lnTo>
                <a:lnTo>
                  <a:pt x="460332" y="38859"/>
                </a:lnTo>
                <a:lnTo>
                  <a:pt x="441856" y="30175"/>
                </a:lnTo>
                <a:lnTo>
                  <a:pt x="422407" y="22480"/>
                </a:lnTo>
                <a:lnTo>
                  <a:pt x="402058" y="15827"/>
                </a:lnTo>
                <a:lnTo>
                  <a:pt x="380884" y="10267"/>
                </a:lnTo>
                <a:lnTo>
                  <a:pt x="358959" y="5853"/>
                </a:lnTo>
                <a:lnTo>
                  <a:pt x="336360" y="2636"/>
                </a:lnTo>
                <a:lnTo>
                  <a:pt x="313159" y="667"/>
                </a:lnTo>
                <a:lnTo>
                  <a:pt x="289432" y="0"/>
                </a:lnTo>
                <a:lnTo>
                  <a:pt x="265689" y="667"/>
                </a:lnTo>
                <a:lnTo>
                  <a:pt x="242474" y="2636"/>
                </a:lnTo>
                <a:lnTo>
                  <a:pt x="219864" y="5853"/>
                </a:lnTo>
                <a:lnTo>
                  <a:pt x="197933" y="10267"/>
                </a:lnTo>
                <a:lnTo>
                  <a:pt x="176754" y="15827"/>
                </a:lnTo>
                <a:lnTo>
                  <a:pt x="156402" y="22480"/>
                </a:lnTo>
                <a:lnTo>
                  <a:pt x="136952" y="30175"/>
                </a:lnTo>
                <a:lnTo>
                  <a:pt x="118478" y="38859"/>
                </a:lnTo>
                <a:lnTo>
                  <a:pt x="101055" y="48482"/>
                </a:lnTo>
                <a:lnTo>
                  <a:pt x="84756" y="58991"/>
                </a:lnTo>
                <a:lnTo>
                  <a:pt x="69657" y="70334"/>
                </a:lnTo>
                <a:lnTo>
                  <a:pt x="55831" y="82460"/>
                </a:lnTo>
                <a:lnTo>
                  <a:pt x="43353" y="95317"/>
                </a:lnTo>
                <a:lnTo>
                  <a:pt x="32297" y="108852"/>
                </a:lnTo>
                <a:lnTo>
                  <a:pt x="22738" y="123015"/>
                </a:lnTo>
                <a:lnTo>
                  <a:pt x="14751" y="137753"/>
                </a:lnTo>
                <a:lnTo>
                  <a:pt x="8409" y="153014"/>
                </a:lnTo>
                <a:lnTo>
                  <a:pt x="3787" y="168747"/>
                </a:lnTo>
                <a:lnTo>
                  <a:pt x="959" y="184900"/>
                </a:lnTo>
                <a:lnTo>
                  <a:pt x="0" y="20142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" name="object 178"/>
          <p:cNvSpPr/>
          <p:nvPr/>
        </p:nvSpPr>
        <p:spPr>
          <a:xfrm>
            <a:off x="7208521" y="4282186"/>
            <a:ext cx="578865" cy="402970"/>
          </a:xfrm>
          <a:custGeom>
            <a:avLst/>
            <a:gdLst/>
            <a:ahLst/>
            <a:cxnLst/>
            <a:rect l="l" t="t" r="r" b="b"/>
            <a:pathLst>
              <a:path w="578865" h="402970">
                <a:moveTo>
                  <a:pt x="0" y="201421"/>
                </a:moveTo>
                <a:lnTo>
                  <a:pt x="959" y="184900"/>
                </a:lnTo>
                <a:lnTo>
                  <a:pt x="3787" y="168747"/>
                </a:lnTo>
                <a:lnTo>
                  <a:pt x="8409" y="153014"/>
                </a:lnTo>
                <a:lnTo>
                  <a:pt x="14751" y="137753"/>
                </a:lnTo>
                <a:lnTo>
                  <a:pt x="22738" y="123015"/>
                </a:lnTo>
                <a:lnTo>
                  <a:pt x="32297" y="108852"/>
                </a:lnTo>
                <a:lnTo>
                  <a:pt x="43353" y="95317"/>
                </a:lnTo>
                <a:lnTo>
                  <a:pt x="55831" y="82460"/>
                </a:lnTo>
                <a:lnTo>
                  <a:pt x="69657" y="70334"/>
                </a:lnTo>
                <a:lnTo>
                  <a:pt x="84756" y="58991"/>
                </a:lnTo>
                <a:lnTo>
                  <a:pt x="101055" y="48482"/>
                </a:lnTo>
                <a:lnTo>
                  <a:pt x="118478" y="38859"/>
                </a:lnTo>
                <a:lnTo>
                  <a:pt x="136952" y="30175"/>
                </a:lnTo>
                <a:lnTo>
                  <a:pt x="156402" y="22480"/>
                </a:lnTo>
                <a:lnTo>
                  <a:pt x="176754" y="15827"/>
                </a:lnTo>
                <a:lnTo>
                  <a:pt x="197933" y="10267"/>
                </a:lnTo>
                <a:lnTo>
                  <a:pt x="219864" y="5853"/>
                </a:lnTo>
                <a:lnTo>
                  <a:pt x="242474" y="2636"/>
                </a:lnTo>
                <a:lnTo>
                  <a:pt x="265689" y="667"/>
                </a:lnTo>
                <a:lnTo>
                  <a:pt x="289432" y="0"/>
                </a:lnTo>
                <a:lnTo>
                  <a:pt x="313159" y="667"/>
                </a:lnTo>
                <a:lnTo>
                  <a:pt x="336360" y="2636"/>
                </a:lnTo>
                <a:lnTo>
                  <a:pt x="358959" y="5853"/>
                </a:lnTo>
                <a:lnTo>
                  <a:pt x="380884" y="10267"/>
                </a:lnTo>
                <a:lnTo>
                  <a:pt x="402058" y="15827"/>
                </a:lnTo>
                <a:lnTo>
                  <a:pt x="422407" y="22480"/>
                </a:lnTo>
                <a:lnTo>
                  <a:pt x="441856" y="30175"/>
                </a:lnTo>
                <a:lnTo>
                  <a:pt x="460332" y="38859"/>
                </a:lnTo>
                <a:lnTo>
                  <a:pt x="477758" y="48482"/>
                </a:lnTo>
                <a:lnTo>
                  <a:pt x="494061" y="58991"/>
                </a:lnTo>
                <a:lnTo>
                  <a:pt x="509166" y="70334"/>
                </a:lnTo>
                <a:lnTo>
                  <a:pt x="522998" y="82460"/>
                </a:lnTo>
                <a:lnTo>
                  <a:pt x="535482" y="95317"/>
                </a:lnTo>
                <a:lnTo>
                  <a:pt x="546544" y="108852"/>
                </a:lnTo>
                <a:lnTo>
                  <a:pt x="556109" y="123015"/>
                </a:lnTo>
                <a:lnTo>
                  <a:pt x="564102" y="137753"/>
                </a:lnTo>
                <a:lnTo>
                  <a:pt x="570449" y="153014"/>
                </a:lnTo>
                <a:lnTo>
                  <a:pt x="575075" y="168747"/>
                </a:lnTo>
                <a:lnTo>
                  <a:pt x="577905" y="184900"/>
                </a:lnTo>
                <a:lnTo>
                  <a:pt x="578865" y="201421"/>
                </a:lnTo>
                <a:lnTo>
                  <a:pt x="577905" y="217943"/>
                </a:lnTo>
                <a:lnTo>
                  <a:pt x="575075" y="234099"/>
                </a:lnTo>
                <a:lnTo>
                  <a:pt x="570449" y="249836"/>
                </a:lnTo>
                <a:lnTo>
                  <a:pt x="564102" y="265103"/>
                </a:lnTo>
                <a:lnTo>
                  <a:pt x="556109" y="279848"/>
                </a:lnTo>
                <a:lnTo>
                  <a:pt x="546544" y="294018"/>
                </a:lnTo>
                <a:lnTo>
                  <a:pt x="535482" y="307562"/>
                </a:lnTo>
                <a:lnTo>
                  <a:pt x="522998" y="320428"/>
                </a:lnTo>
                <a:lnTo>
                  <a:pt x="509166" y="332563"/>
                </a:lnTo>
                <a:lnTo>
                  <a:pt x="494061" y="343916"/>
                </a:lnTo>
                <a:lnTo>
                  <a:pt x="477758" y="354434"/>
                </a:lnTo>
                <a:lnTo>
                  <a:pt x="460332" y="364066"/>
                </a:lnTo>
                <a:lnTo>
                  <a:pt x="441856" y="372759"/>
                </a:lnTo>
                <a:lnTo>
                  <a:pt x="422407" y="380463"/>
                </a:lnTo>
                <a:lnTo>
                  <a:pt x="402058" y="387123"/>
                </a:lnTo>
                <a:lnTo>
                  <a:pt x="380884" y="392690"/>
                </a:lnTo>
                <a:lnTo>
                  <a:pt x="358959" y="397109"/>
                </a:lnTo>
                <a:lnTo>
                  <a:pt x="336360" y="400331"/>
                </a:lnTo>
                <a:lnTo>
                  <a:pt x="313159" y="402302"/>
                </a:lnTo>
                <a:lnTo>
                  <a:pt x="289432" y="402970"/>
                </a:lnTo>
                <a:lnTo>
                  <a:pt x="265689" y="402302"/>
                </a:lnTo>
                <a:lnTo>
                  <a:pt x="242474" y="400331"/>
                </a:lnTo>
                <a:lnTo>
                  <a:pt x="219864" y="397109"/>
                </a:lnTo>
                <a:lnTo>
                  <a:pt x="197933" y="392690"/>
                </a:lnTo>
                <a:lnTo>
                  <a:pt x="176754" y="387123"/>
                </a:lnTo>
                <a:lnTo>
                  <a:pt x="156402" y="380463"/>
                </a:lnTo>
                <a:lnTo>
                  <a:pt x="136952" y="372759"/>
                </a:lnTo>
                <a:lnTo>
                  <a:pt x="118478" y="364066"/>
                </a:lnTo>
                <a:lnTo>
                  <a:pt x="101055" y="354434"/>
                </a:lnTo>
                <a:lnTo>
                  <a:pt x="84756" y="343916"/>
                </a:lnTo>
                <a:lnTo>
                  <a:pt x="69657" y="332563"/>
                </a:lnTo>
                <a:lnTo>
                  <a:pt x="55831" y="320428"/>
                </a:lnTo>
                <a:lnTo>
                  <a:pt x="43353" y="307562"/>
                </a:lnTo>
                <a:lnTo>
                  <a:pt x="32297" y="294018"/>
                </a:lnTo>
                <a:lnTo>
                  <a:pt x="22738" y="279848"/>
                </a:lnTo>
                <a:lnTo>
                  <a:pt x="14751" y="265103"/>
                </a:lnTo>
                <a:lnTo>
                  <a:pt x="8409" y="249836"/>
                </a:lnTo>
                <a:lnTo>
                  <a:pt x="3787" y="234099"/>
                </a:lnTo>
                <a:lnTo>
                  <a:pt x="959" y="217943"/>
                </a:lnTo>
                <a:lnTo>
                  <a:pt x="0" y="201421"/>
                </a:lnTo>
                <a:close/>
              </a:path>
            </a:pathLst>
          </a:custGeom>
          <a:ln w="1269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" name="object 179"/>
          <p:cNvSpPr/>
          <p:nvPr/>
        </p:nvSpPr>
        <p:spPr>
          <a:xfrm>
            <a:off x="6726173" y="4320642"/>
            <a:ext cx="710260" cy="339369"/>
          </a:xfrm>
          <a:custGeom>
            <a:avLst/>
            <a:gdLst/>
            <a:ahLst/>
            <a:cxnLst/>
            <a:rect l="l" t="t" r="r" b="b"/>
            <a:pathLst>
              <a:path w="710260" h="339369">
                <a:moveTo>
                  <a:pt x="0" y="339369"/>
                </a:moveTo>
                <a:lnTo>
                  <a:pt x="710260" y="339369"/>
                </a:lnTo>
                <a:lnTo>
                  <a:pt x="710260" y="0"/>
                </a:lnTo>
                <a:lnTo>
                  <a:pt x="0" y="0"/>
                </a:lnTo>
                <a:lnTo>
                  <a:pt x="0" y="3393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" name="object 180"/>
          <p:cNvSpPr/>
          <p:nvPr/>
        </p:nvSpPr>
        <p:spPr>
          <a:xfrm>
            <a:off x="7123291" y="5041409"/>
            <a:ext cx="2189427" cy="301855"/>
          </a:xfrm>
          <a:custGeom>
            <a:avLst/>
            <a:gdLst/>
            <a:ahLst/>
            <a:cxnLst/>
            <a:rect l="l" t="t" r="r" b="b"/>
            <a:pathLst>
              <a:path w="2189427" h="301855">
                <a:moveTo>
                  <a:pt x="1984437" y="150927"/>
                </a:moveTo>
                <a:lnTo>
                  <a:pt x="2189427" y="0"/>
                </a:lnTo>
                <a:lnTo>
                  <a:pt x="668145" y="0"/>
                </a:lnTo>
                <a:lnTo>
                  <a:pt x="0" y="301855"/>
                </a:lnTo>
                <a:lnTo>
                  <a:pt x="1779447" y="301855"/>
                </a:lnTo>
                <a:lnTo>
                  <a:pt x="1984437" y="150927"/>
                </a:lnTo>
                <a:close/>
              </a:path>
            </a:pathLst>
          </a:custGeom>
          <a:solidFill>
            <a:srgbClr val="C05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" name="object 181"/>
          <p:cNvSpPr/>
          <p:nvPr/>
        </p:nvSpPr>
        <p:spPr>
          <a:xfrm>
            <a:off x="7123291" y="5041409"/>
            <a:ext cx="2189427" cy="301855"/>
          </a:xfrm>
          <a:custGeom>
            <a:avLst/>
            <a:gdLst/>
            <a:ahLst/>
            <a:cxnLst/>
            <a:rect l="l" t="t" r="r" b="b"/>
            <a:pathLst>
              <a:path w="2189427" h="301855">
                <a:moveTo>
                  <a:pt x="1984437" y="150927"/>
                </a:moveTo>
                <a:lnTo>
                  <a:pt x="2189427" y="0"/>
                </a:lnTo>
                <a:lnTo>
                  <a:pt x="668145" y="0"/>
                </a:lnTo>
                <a:lnTo>
                  <a:pt x="0" y="301855"/>
                </a:lnTo>
                <a:lnTo>
                  <a:pt x="1779447" y="301855"/>
                </a:lnTo>
                <a:lnTo>
                  <a:pt x="1984437" y="150927"/>
                </a:lnTo>
              </a:path>
            </a:pathLst>
          </a:custGeom>
          <a:ln w="609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" name="object 182"/>
          <p:cNvSpPr/>
          <p:nvPr/>
        </p:nvSpPr>
        <p:spPr>
          <a:xfrm>
            <a:off x="7123290" y="5343672"/>
            <a:ext cx="1780519" cy="71406"/>
          </a:xfrm>
          <a:custGeom>
            <a:avLst/>
            <a:gdLst/>
            <a:ahLst/>
            <a:cxnLst/>
            <a:rect l="l" t="t" r="r" b="b"/>
            <a:pathLst>
              <a:path w="1780520" h="71406">
                <a:moveTo>
                  <a:pt x="1780520" y="0"/>
                </a:moveTo>
                <a:lnTo>
                  <a:pt x="0" y="0"/>
                </a:lnTo>
                <a:lnTo>
                  <a:pt x="0" y="71406"/>
                </a:lnTo>
                <a:lnTo>
                  <a:pt x="1780520" y="71406"/>
                </a:lnTo>
                <a:lnTo>
                  <a:pt x="1780520" y="0"/>
                </a:lnTo>
                <a:close/>
              </a:path>
            </a:pathLst>
          </a:custGeom>
          <a:solidFill>
            <a:srgbClr val="804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" name="object 183"/>
          <p:cNvSpPr/>
          <p:nvPr/>
        </p:nvSpPr>
        <p:spPr>
          <a:xfrm>
            <a:off x="7123290" y="5343672"/>
            <a:ext cx="1780519" cy="71406"/>
          </a:xfrm>
          <a:custGeom>
            <a:avLst/>
            <a:gdLst/>
            <a:ahLst/>
            <a:cxnLst/>
            <a:rect l="l" t="t" r="r" b="b"/>
            <a:pathLst>
              <a:path w="1780520" h="71406">
                <a:moveTo>
                  <a:pt x="1780520" y="0"/>
                </a:moveTo>
                <a:lnTo>
                  <a:pt x="0" y="0"/>
                </a:lnTo>
                <a:lnTo>
                  <a:pt x="0" y="71406"/>
                </a:lnTo>
                <a:lnTo>
                  <a:pt x="1780520" y="71406"/>
                </a:lnTo>
                <a:lnTo>
                  <a:pt x="1780520" y="0"/>
                </a:lnTo>
              </a:path>
            </a:pathLst>
          </a:custGeom>
          <a:ln w="6056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" name="object 184"/>
          <p:cNvSpPr/>
          <p:nvPr/>
        </p:nvSpPr>
        <p:spPr>
          <a:xfrm>
            <a:off x="8902737" y="5041409"/>
            <a:ext cx="409979" cy="373670"/>
          </a:xfrm>
          <a:custGeom>
            <a:avLst/>
            <a:gdLst/>
            <a:ahLst/>
            <a:cxnLst/>
            <a:rect l="l" t="t" r="r" b="b"/>
            <a:pathLst>
              <a:path w="409979" h="373670">
                <a:moveTo>
                  <a:pt x="331715" y="127885"/>
                </a:moveTo>
                <a:lnTo>
                  <a:pt x="409979" y="69895"/>
                </a:lnTo>
                <a:lnTo>
                  <a:pt x="409979" y="0"/>
                </a:lnTo>
                <a:lnTo>
                  <a:pt x="171844" y="175331"/>
                </a:lnTo>
                <a:lnTo>
                  <a:pt x="0" y="301855"/>
                </a:lnTo>
                <a:lnTo>
                  <a:pt x="0" y="373670"/>
                </a:lnTo>
                <a:lnTo>
                  <a:pt x="331715" y="127885"/>
                </a:lnTo>
                <a:close/>
              </a:path>
            </a:pathLst>
          </a:custGeom>
          <a:solidFill>
            <a:srgbClr val="5F2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" name="object 185"/>
          <p:cNvSpPr/>
          <p:nvPr/>
        </p:nvSpPr>
        <p:spPr>
          <a:xfrm>
            <a:off x="8902737" y="5041409"/>
            <a:ext cx="409979" cy="373670"/>
          </a:xfrm>
          <a:custGeom>
            <a:avLst/>
            <a:gdLst/>
            <a:ahLst/>
            <a:cxnLst/>
            <a:rect l="l" t="t" r="r" b="b"/>
            <a:pathLst>
              <a:path w="409979" h="373670">
                <a:moveTo>
                  <a:pt x="331715" y="127885"/>
                </a:moveTo>
                <a:lnTo>
                  <a:pt x="409979" y="69895"/>
                </a:lnTo>
                <a:lnTo>
                  <a:pt x="409979" y="0"/>
                </a:lnTo>
                <a:lnTo>
                  <a:pt x="171844" y="175331"/>
                </a:lnTo>
                <a:lnTo>
                  <a:pt x="0" y="301855"/>
                </a:lnTo>
                <a:lnTo>
                  <a:pt x="0" y="373670"/>
                </a:lnTo>
                <a:lnTo>
                  <a:pt x="331715" y="127885"/>
                </a:lnTo>
              </a:path>
            </a:pathLst>
          </a:custGeom>
          <a:ln w="702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" name="object 186"/>
          <p:cNvSpPr/>
          <p:nvPr/>
        </p:nvSpPr>
        <p:spPr>
          <a:xfrm>
            <a:off x="7920206" y="4645323"/>
            <a:ext cx="16783" cy="29550"/>
          </a:xfrm>
          <a:custGeom>
            <a:avLst/>
            <a:gdLst/>
            <a:ahLst/>
            <a:cxnLst/>
            <a:rect l="l" t="t" r="r" b="b"/>
            <a:pathLst>
              <a:path w="16783" h="29550">
                <a:moveTo>
                  <a:pt x="16630" y="11857"/>
                </a:moveTo>
                <a:lnTo>
                  <a:pt x="16783" y="0"/>
                </a:lnTo>
                <a:lnTo>
                  <a:pt x="11604" y="2036"/>
                </a:lnTo>
                <a:lnTo>
                  <a:pt x="4882" y="4680"/>
                </a:lnTo>
                <a:lnTo>
                  <a:pt x="101" y="8987"/>
                </a:lnTo>
                <a:lnTo>
                  <a:pt x="2037" y="12844"/>
                </a:lnTo>
                <a:lnTo>
                  <a:pt x="3356" y="15282"/>
                </a:lnTo>
                <a:lnTo>
                  <a:pt x="8925" y="21880"/>
                </a:lnTo>
                <a:lnTo>
                  <a:pt x="12892" y="25997"/>
                </a:lnTo>
                <a:lnTo>
                  <a:pt x="14208" y="27330"/>
                </a:lnTo>
                <a:lnTo>
                  <a:pt x="16402" y="29550"/>
                </a:lnTo>
                <a:lnTo>
                  <a:pt x="16630" y="11857"/>
                </a:lnTo>
                <a:close/>
              </a:path>
            </a:pathLst>
          </a:custGeom>
          <a:solidFill>
            <a:srgbClr val="DFDFD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" name="object 187"/>
          <p:cNvSpPr/>
          <p:nvPr/>
        </p:nvSpPr>
        <p:spPr>
          <a:xfrm>
            <a:off x="7920206" y="4645323"/>
            <a:ext cx="16783" cy="29550"/>
          </a:xfrm>
          <a:custGeom>
            <a:avLst/>
            <a:gdLst/>
            <a:ahLst/>
            <a:cxnLst/>
            <a:rect l="l" t="t" r="r" b="b"/>
            <a:pathLst>
              <a:path w="16783" h="29550">
                <a:moveTo>
                  <a:pt x="16630" y="11857"/>
                </a:moveTo>
                <a:lnTo>
                  <a:pt x="16783" y="0"/>
                </a:lnTo>
                <a:lnTo>
                  <a:pt x="11604" y="2036"/>
                </a:lnTo>
                <a:lnTo>
                  <a:pt x="4882" y="4680"/>
                </a:lnTo>
                <a:lnTo>
                  <a:pt x="101" y="8987"/>
                </a:lnTo>
                <a:lnTo>
                  <a:pt x="2037" y="12844"/>
                </a:lnTo>
                <a:lnTo>
                  <a:pt x="3356" y="15282"/>
                </a:lnTo>
                <a:lnTo>
                  <a:pt x="8925" y="21880"/>
                </a:lnTo>
                <a:lnTo>
                  <a:pt x="12892" y="25997"/>
                </a:lnTo>
                <a:lnTo>
                  <a:pt x="14208" y="27330"/>
                </a:lnTo>
                <a:lnTo>
                  <a:pt x="16402" y="29550"/>
                </a:lnTo>
                <a:lnTo>
                  <a:pt x="16630" y="11857"/>
                </a:lnTo>
              </a:path>
            </a:pathLst>
          </a:custGeom>
          <a:ln w="766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" name="object 188"/>
          <p:cNvSpPr/>
          <p:nvPr/>
        </p:nvSpPr>
        <p:spPr>
          <a:xfrm>
            <a:off x="8636562" y="4527684"/>
            <a:ext cx="54165" cy="97392"/>
          </a:xfrm>
          <a:custGeom>
            <a:avLst/>
            <a:gdLst/>
            <a:ahLst/>
            <a:cxnLst/>
            <a:rect l="l" t="t" r="r" b="b"/>
            <a:pathLst>
              <a:path w="54165" h="97392">
                <a:moveTo>
                  <a:pt x="31660" y="95644"/>
                </a:moveTo>
                <a:lnTo>
                  <a:pt x="44095" y="81320"/>
                </a:lnTo>
                <a:lnTo>
                  <a:pt x="51571" y="61074"/>
                </a:lnTo>
                <a:lnTo>
                  <a:pt x="54165" y="39475"/>
                </a:lnTo>
                <a:lnTo>
                  <a:pt x="51571" y="19681"/>
                </a:lnTo>
                <a:lnTo>
                  <a:pt x="46689" y="5526"/>
                </a:lnTo>
                <a:lnTo>
                  <a:pt x="44356" y="3784"/>
                </a:lnTo>
                <a:lnTo>
                  <a:pt x="39289" y="0"/>
                </a:lnTo>
                <a:lnTo>
                  <a:pt x="37426" y="681"/>
                </a:lnTo>
                <a:lnTo>
                  <a:pt x="24183" y="5526"/>
                </a:lnTo>
                <a:lnTo>
                  <a:pt x="0" y="68519"/>
                </a:lnTo>
                <a:lnTo>
                  <a:pt x="14876" y="97392"/>
                </a:lnTo>
                <a:lnTo>
                  <a:pt x="31660" y="95644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9" name="object 189"/>
          <p:cNvSpPr/>
          <p:nvPr/>
        </p:nvSpPr>
        <p:spPr>
          <a:xfrm>
            <a:off x="8636562" y="4527684"/>
            <a:ext cx="54165" cy="97392"/>
          </a:xfrm>
          <a:custGeom>
            <a:avLst/>
            <a:gdLst/>
            <a:ahLst/>
            <a:cxnLst/>
            <a:rect l="l" t="t" r="r" b="b"/>
            <a:pathLst>
              <a:path w="54165" h="97392">
                <a:moveTo>
                  <a:pt x="31660" y="95644"/>
                </a:moveTo>
                <a:lnTo>
                  <a:pt x="44095" y="81320"/>
                </a:lnTo>
                <a:lnTo>
                  <a:pt x="51571" y="61074"/>
                </a:lnTo>
                <a:lnTo>
                  <a:pt x="54165" y="39475"/>
                </a:lnTo>
                <a:lnTo>
                  <a:pt x="51571" y="19681"/>
                </a:lnTo>
              </a:path>
              <a:path w="54165" h="97392">
                <a:moveTo>
                  <a:pt x="51571" y="19681"/>
                </a:moveTo>
                <a:lnTo>
                  <a:pt x="46689" y="5526"/>
                </a:lnTo>
                <a:lnTo>
                  <a:pt x="44356" y="3784"/>
                </a:lnTo>
                <a:lnTo>
                  <a:pt x="39289" y="0"/>
                </a:lnTo>
                <a:lnTo>
                  <a:pt x="37426" y="681"/>
                </a:lnTo>
                <a:lnTo>
                  <a:pt x="24183" y="5526"/>
                </a:lnTo>
                <a:lnTo>
                  <a:pt x="0" y="68519"/>
                </a:lnTo>
                <a:lnTo>
                  <a:pt x="14876" y="97392"/>
                </a:lnTo>
                <a:lnTo>
                  <a:pt x="31660" y="95644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0" name="object 190"/>
          <p:cNvSpPr/>
          <p:nvPr/>
        </p:nvSpPr>
        <p:spPr>
          <a:xfrm>
            <a:off x="8284258" y="4529884"/>
            <a:ext cx="53632" cy="97392"/>
          </a:xfrm>
          <a:custGeom>
            <a:avLst/>
            <a:gdLst/>
            <a:ahLst/>
            <a:cxnLst/>
            <a:rect l="l" t="t" r="r" b="b"/>
            <a:pathLst>
              <a:path w="53631" h="97392">
                <a:moveTo>
                  <a:pt x="53631" y="68519"/>
                </a:moveTo>
                <a:lnTo>
                  <a:pt x="29371" y="5075"/>
                </a:lnTo>
                <a:lnTo>
                  <a:pt x="14495" y="0"/>
                </a:lnTo>
                <a:lnTo>
                  <a:pt x="10184" y="3117"/>
                </a:lnTo>
                <a:lnTo>
                  <a:pt x="7476" y="5075"/>
                </a:lnTo>
                <a:lnTo>
                  <a:pt x="2441" y="19399"/>
                </a:lnTo>
                <a:lnTo>
                  <a:pt x="0" y="39475"/>
                </a:lnTo>
                <a:lnTo>
                  <a:pt x="2316" y="59973"/>
                </a:lnTo>
                <a:lnTo>
                  <a:pt x="2441" y="61074"/>
                </a:lnTo>
                <a:lnTo>
                  <a:pt x="3436" y="63799"/>
                </a:lnTo>
                <a:lnTo>
                  <a:pt x="9841" y="81320"/>
                </a:lnTo>
                <a:lnTo>
                  <a:pt x="21971" y="95644"/>
                </a:lnTo>
                <a:lnTo>
                  <a:pt x="27095" y="96180"/>
                </a:lnTo>
                <a:lnTo>
                  <a:pt x="38678" y="97392"/>
                </a:lnTo>
                <a:lnTo>
                  <a:pt x="53631" y="68519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1" name="object 191"/>
          <p:cNvSpPr/>
          <p:nvPr/>
        </p:nvSpPr>
        <p:spPr>
          <a:xfrm>
            <a:off x="8284258" y="4529884"/>
            <a:ext cx="53632" cy="97392"/>
          </a:xfrm>
          <a:custGeom>
            <a:avLst/>
            <a:gdLst/>
            <a:ahLst/>
            <a:cxnLst/>
            <a:rect l="l" t="t" r="r" b="b"/>
            <a:pathLst>
              <a:path w="53631" h="97392">
                <a:moveTo>
                  <a:pt x="53631" y="68519"/>
                </a:moveTo>
                <a:lnTo>
                  <a:pt x="29371" y="5075"/>
                </a:lnTo>
                <a:lnTo>
                  <a:pt x="14495" y="0"/>
                </a:lnTo>
                <a:lnTo>
                  <a:pt x="10184" y="3117"/>
                </a:lnTo>
                <a:lnTo>
                  <a:pt x="7476" y="5075"/>
                </a:lnTo>
                <a:lnTo>
                  <a:pt x="2441" y="19399"/>
                </a:lnTo>
              </a:path>
              <a:path w="53631" h="97392">
                <a:moveTo>
                  <a:pt x="2441" y="19399"/>
                </a:moveTo>
                <a:lnTo>
                  <a:pt x="0" y="39475"/>
                </a:lnTo>
                <a:lnTo>
                  <a:pt x="2316" y="59973"/>
                </a:lnTo>
                <a:lnTo>
                  <a:pt x="2441" y="61074"/>
                </a:lnTo>
                <a:lnTo>
                  <a:pt x="3436" y="63799"/>
                </a:lnTo>
                <a:lnTo>
                  <a:pt x="9841" y="81320"/>
                </a:lnTo>
                <a:lnTo>
                  <a:pt x="21971" y="95644"/>
                </a:lnTo>
                <a:lnTo>
                  <a:pt x="27095" y="96180"/>
                </a:lnTo>
                <a:lnTo>
                  <a:pt x="38678" y="97392"/>
                </a:lnTo>
                <a:lnTo>
                  <a:pt x="53631" y="68519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2" name="object 192"/>
          <p:cNvSpPr/>
          <p:nvPr/>
        </p:nvSpPr>
        <p:spPr>
          <a:xfrm>
            <a:off x="7860113" y="4631675"/>
            <a:ext cx="1052085" cy="411108"/>
          </a:xfrm>
          <a:custGeom>
            <a:avLst/>
            <a:gdLst/>
            <a:ahLst/>
            <a:cxnLst/>
            <a:rect l="l" t="t" r="r" b="b"/>
            <a:pathLst>
              <a:path w="1052085" h="411108">
                <a:moveTo>
                  <a:pt x="1049136" y="378501"/>
                </a:moveTo>
                <a:lnTo>
                  <a:pt x="1049207" y="377401"/>
                </a:lnTo>
                <a:lnTo>
                  <a:pt x="1052085" y="332415"/>
                </a:lnTo>
                <a:lnTo>
                  <a:pt x="1051660" y="323883"/>
                </a:lnTo>
                <a:lnTo>
                  <a:pt x="1047050" y="231289"/>
                </a:lnTo>
                <a:lnTo>
                  <a:pt x="1027749" y="184352"/>
                </a:lnTo>
                <a:lnTo>
                  <a:pt x="988460" y="137714"/>
                </a:lnTo>
                <a:lnTo>
                  <a:pt x="944364" y="90117"/>
                </a:lnTo>
                <a:lnTo>
                  <a:pt x="881273" y="50642"/>
                </a:lnTo>
                <a:lnTo>
                  <a:pt x="778892" y="18046"/>
                </a:lnTo>
                <a:lnTo>
                  <a:pt x="621812" y="0"/>
                </a:lnTo>
                <a:lnTo>
                  <a:pt x="529502" y="0"/>
                </a:lnTo>
                <a:lnTo>
                  <a:pt x="460746" y="9276"/>
                </a:lnTo>
                <a:lnTo>
                  <a:pt x="382492" y="32201"/>
                </a:lnTo>
                <a:lnTo>
                  <a:pt x="348238" y="54251"/>
                </a:lnTo>
                <a:lnTo>
                  <a:pt x="325918" y="70718"/>
                </a:lnTo>
                <a:lnTo>
                  <a:pt x="279501" y="108446"/>
                </a:lnTo>
                <a:lnTo>
                  <a:pt x="259595" y="132880"/>
                </a:lnTo>
                <a:lnTo>
                  <a:pt x="231976" y="171438"/>
                </a:lnTo>
                <a:lnTo>
                  <a:pt x="216105" y="194954"/>
                </a:lnTo>
                <a:lnTo>
                  <a:pt x="220530" y="158636"/>
                </a:lnTo>
                <a:lnTo>
                  <a:pt x="206035" y="86565"/>
                </a:lnTo>
                <a:lnTo>
                  <a:pt x="204112" y="61963"/>
                </a:lnTo>
                <a:lnTo>
                  <a:pt x="203593" y="55322"/>
                </a:lnTo>
                <a:lnTo>
                  <a:pt x="181246" y="63443"/>
                </a:lnTo>
                <a:lnTo>
                  <a:pt x="167279" y="68519"/>
                </a:lnTo>
                <a:lnTo>
                  <a:pt x="148776" y="71813"/>
                </a:lnTo>
                <a:lnTo>
                  <a:pt x="134017" y="74440"/>
                </a:lnTo>
                <a:lnTo>
                  <a:pt x="121862" y="71959"/>
                </a:lnTo>
                <a:lnTo>
                  <a:pt x="115784" y="70718"/>
                </a:lnTo>
                <a:lnTo>
                  <a:pt x="114977" y="70351"/>
                </a:lnTo>
                <a:lnTo>
                  <a:pt x="99763" y="63443"/>
                </a:lnTo>
                <a:lnTo>
                  <a:pt x="89178" y="54787"/>
                </a:lnTo>
                <a:lnTo>
                  <a:pt x="80386" y="47596"/>
                </a:lnTo>
                <a:lnTo>
                  <a:pt x="70010" y="35923"/>
                </a:lnTo>
                <a:lnTo>
                  <a:pt x="60474" y="24926"/>
                </a:lnTo>
                <a:lnTo>
                  <a:pt x="52320" y="35690"/>
                </a:lnTo>
                <a:lnTo>
                  <a:pt x="47658" y="41844"/>
                </a:lnTo>
                <a:lnTo>
                  <a:pt x="43960" y="46478"/>
                </a:lnTo>
                <a:lnTo>
                  <a:pt x="35146" y="57522"/>
                </a:lnTo>
                <a:lnTo>
                  <a:pt x="24160" y="85042"/>
                </a:lnTo>
                <a:lnTo>
                  <a:pt x="20371" y="95533"/>
                </a:lnTo>
                <a:lnTo>
                  <a:pt x="16745" y="105570"/>
                </a:lnTo>
                <a:lnTo>
                  <a:pt x="13950" y="115372"/>
                </a:lnTo>
                <a:lnTo>
                  <a:pt x="10794" y="126435"/>
                </a:lnTo>
                <a:lnTo>
                  <a:pt x="7397" y="142376"/>
                </a:lnTo>
                <a:lnTo>
                  <a:pt x="5950" y="149162"/>
                </a:lnTo>
                <a:lnTo>
                  <a:pt x="4102" y="157365"/>
                </a:lnTo>
                <a:lnTo>
                  <a:pt x="930" y="171438"/>
                </a:lnTo>
                <a:lnTo>
                  <a:pt x="422" y="184527"/>
                </a:lnTo>
                <a:lnTo>
                  <a:pt x="0" y="195406"/>
                </a:lnTo>
                <a:lnTo>
                  <a:pt x="0" y="221403"/>
                </a:lnTo>
                <a:lnTo>
                  <a:pt x="1684" y="236146"/>
                </a:lnTo>
                <a:lnTo>
                  <a:pt x="3147" y="247760"/>
                </a:lnTo>
                <a:lnTo>
                  <a:pt x="4836" y="259768"/>
                </a:lnTo>
                <a:lnTo>
                  <a:pt x="10421" y="279168"/>
                </a:lnTo>
                <a:lnTo>
                  <a:pt x="16745" y="299808"/>
                </a:lnTo>
                <a:lnTo>
                  <a:pt x="24064" y="315825"/>
                </a:lnTo>
                <a:lnTo>
                  <a:pt x="27746" y="323883"/>
                </a:lnTo>
                <a:lnTo>
                  <a:pt x="50099" y="352915"/>
                </a:lnTo>
                <a:lnTo>
                  <a:pt x="70010" y="371209"/>
                </a:lnTo>
                <a:lnTo>
                  <a:pt x="78834" y="374269"/>
                </a:lnTo>
                <a:lnTo>
                  <a:pt x="87862" y="377401"/>
                </a:lnTo>
                <a:lnTo>
                  <a:pt x="103201" y="378053"/>
                </a:lnTo>
                <a:lnTo>
                  <a:pt x="113724" y="378501"/>
                </a:lnTo>
                <a:lnTo>
                  <a:pt x="153013" y="374925"/>
                </a:lnTo>
                <a:lnTo>
                  <a:pt x="196193" y="363917"/>
                </a:lnTo>
                <a:lnTo>
                  <a:pt x="204524" y="359956"/>
                </a:lnTo>
                <a:lnTo>
                  <a:pt x="217020" y="354014"/>
                </a:lnTo>
                <a:lnTo>
                  <a:pt x="240441" y="343006"/>
                </a:lnTo>
                <a:lnTo>
                  <a:pt x="238642" y="355252"/>
                </a:lnTo>
                <a:lnTo>
                  <a:pt x="236398" y="370521"/>
                </a:lnTo>
                <a:lnTo>
                  <a:pt x="235656" y="389970"/>
                </a:lnTo>
                <a:lnTo>
                  <a:pt x="235406" y="396524"/>
                </a:lnTo>
                <a:lnTo>
                  <a:pt x="235654" y="400170"/>
                </a:lnTo>
                <a:lnTo>
                  <a:pt x="236398" y="411108"/>
                </a:lnTo>
                <a:lnTo>
                  <a:pt x="1047050" y="411108"/>
                </a:lnTo>
                <a:lnTo>
                  <a:pt x="1049136" y="378501"/>
                </a:lnTo>
                <a:close/>
              </a:path>
            </a:pathLst>
          </a:custGeom>
          <a:solidFill>
            <a:srgbClr val="C0C0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3" name="object 193"/>
          <p:cNvSpPr/>
          <p:nvPr/>
        </p:nvSpPr>
        <p:spPr>
          <a:xfrm>
            <a:off x="7860113" y="4631675"/>
            <a:ext cx="1052085" cy="411108"/>
          </a:xfrm>
          <a:custGeom>
            <a:avLst/>
            <a:gdLst/>
            <a:ahLst/>
            <a:cxnLst/>
            <a:rect l="l" t="t" r="r" b="b"/>
            <a:pathLst>
              <a:path w="1052085" h="411108">
                <a:moveTo>
                  <a:pt x="1049136" y="378501"/>
                </a:moveTo>
                <a:lnTo>
                  <a:pt x="1049207" y="377401"/>
                </a:lnTo>
              </a:path>
              <a:path w="1052085" h="411108">
                <a:moveTo>
                  <a:pt x="1049207" y="377401"/>
                </a:moveTo>
                <a:lnTo>
                  <a:pt x="1052085" y="332415"/>
                </a:lnTo>
                <a:lnTo>
                  <a:pt x="1051660" y="323883"/>
                </a:lnTo>
              </a:path>
              <a:path w="1052085" h="411108">
                <a:moveTo>
                  <a:pt x="1051660" y="323883"/>
                </a:moveTo>
                <a:lnTo>
                  <a:pt x="1047050" y="231289"/>
                </a:lnTo>
                <a:lnTo>
                  <a:pt x="1027749" y="184352"/>
                </a:lnTo>
                <a:lnTo>
                  <a:pt x="988460" y="137714"/>
                </a:lnTo>
                <a:lnTo>
                  <a:pt x="944364" y="90117"/>
                </a:lnTo>
                <a:lnTo>
                  <a:pt x="881273" y="50642"/>
                </a:lnTo>
                <a:lnTo>
                  <a:pt x="778892" y="18046"/>
                </a:lnTo>
                <a:lnTo>
                  <a:pt x="621812" y="0"/>
                </a:lnTo>
                <a:lnTo>
                  <a:pt x="529502" y="0"/>
                </a:lnTo>
                <a:lnTo>
                  <a:pt x="460746" y="9276"/>
                </a:lnTo>
                <a:lnTo>
                  <a:pt x="382492" y="32201"/>
                </a:lnTo>
                <a:lnTo>
                  <a:pt x="348238" y="54251"/>
                </a:lnTo>
                <a:lnTo>
                  <a:pt x="325918" y="70718"/>
                </a:lnTo>
                <a:lnTo>
                  <a:pt x="279501" y="108446"/>
                </a:lnTo>
                <a:lnTo>
                  <a:pt x="259595" y="132880"/>
                </a:lnTo>
                <a:lnTo>
                  <a:pt x="231976" y="171438"/>
                </a:lnTo>
                <a:lnTo>
                  <a:pt x="216105" y="194954"/>
                </a:lnTo>
              </a:path>
              <a:path w="1052085" h="411108">
                <a:moveTo>
                  <a:pt x="216105" y="194954"/>
                </a:moveTo>
                <a:lnTo>
                  <a:pt x="220530" y="158636"/>
                </a:lnTo>
                <a:lnTo>
                  <a:pt x="206035" y="86565"/>
                </a:lnTo>
                <a:lnTo>
                  <a:pt x="204112" y="61963"/>
                </a:lnTo>
                <a:lnTo>
                  <a:pt x="203593" y="55322"/>
                </a:lnTo>
                <a:lnTo>
                  <a:pt x="181246" y="63443"/>
                </a:lnTo>
                <a:lnTo>
                  <a:pt x="167279" y="68519"/>
                </a:lnTo>
                <a:lnTo>
                  <a:pt x="148776" y="71813"/>
                </a:lnTo>
                <a:lnTo>
                  <a:pt x="134017" y="74440"/>
                </a:lnTo>
              </a:path>
              <a:path w="1052085" h="411108">
                <a:moveTo>
                  <a:pt x="134017" y="74440"/>
                </a:moveTo>
                <a:lnTo>
                  <a:pt x="121862" y="71959"/>
                </a:lnTo>
                <a:lnTo>
                  <a:pt x="115784" y="70718"/>
                </a:lnTo>
                <a:lnTo>
                  <a:pt x="114977" y="70351"/>
                </a:lnTo>
                <a:lnTo>
                  <a:pt x="99763" y="63443"/>
                </a:lnTo>
                <a:lnTo>
                  <a:pt x="89178" y="54787"/>
                </a:lnTo>
                <a:lnTo>
                  <a:pt x="80386" y="47596"/>
                </a:lnTo>
                <a:lnTo>
                  <a:pt x="70010" y="35923"/>
                </a:lnTo>
                <a:lnTo>
                  <a:pt x="60474" y="24926"/>
                </a:lnTo>
                <a:lnTo>
                  <a:pt x="52320" y="35690"/>
                </a:lnTo>
                <a:lnTo>
                  <a:pt x="47658" y="41844"/>
                </a:lnTo>
                <a:lnTo>
                  <a:pt x="43960" y="46478"/>
                </a:lnTo>
                <a:lnTo>
                  <a:pt x="35146" y="57522"/>
                </a:lnTo>
                <a:lnTo>
                  <a:pt x="24160" y="85042"/>
                </a:lnTo>
                <a:lnTo>
                  <a:pt x="20371" y="95533"/>
                </a:lnTo>
                <a:lnTo>
                  <a:pt x="16745" y="105570"/>
                </a:lnTo>
                <a:lnTo>
                  <a:pt x="13950" y="115372"/>
                </a:lnTo>
                <a:lnTo>
                  <a:pt x="10794" y="126435"/>
                </a:lnTo>
                <a:lnTo>
                  <a:pt x="7397" y="142376"/>
                </a:lnTo>
                <a:lnTo>
                  <a:pt x="5950" y="149162"/>
                </a:lnTo>
                <a:lnTo>
                  <a:pt x="4102" y="157365"/>
                </a:lnTo>
                <a:lnTo>
                  <a:pt x="930" y="171438"/>
                </a:lnTo>
                <a:lnTo>
                  <a:pt x="422" y="184527"/>
                </a:lnTo>
                <a:lnTo>
                  <a:pt x="0" y="195406"/>
                </a:lnTo>
                <a:lnTo>
                  <a:pt x="0" y="221403"/>
                </a:lnTo>
                <a:lnTo>
                  <a:pt x="1684" y="236146"/>
                </a:lnTo>
                <a:lnTo>
                  <a:pt x="3147" y="247760"/>
                </a:lnTo>
                <a:lnTo>
                  <a:pt x="4836" y="259768"/>
                </a:lnTo>
                <a:lnTo>
                  <a:pt x="10421" y="279168"/>
                </a:lnTo>
                <a:lnTo>
                  <a:pt x="16745" y="299808"/>
                </a:lnTo>
                <a:lnTo>
                  <a:pt x="24064" y="315825"/>
                </a:lnTo>
                <a:lnTo>
                  <a:pt x="27746" y="323883"/>
                </a:lnTo>
                <a:lnTo>
                  <a:pt x="50099" y="352915"/>
                </a:lnTo>
                <a:lnTo>
                  <a:pt x="70010" y="371209"/>
                </a:lnTo>
                <a:lnTo>
                  <a:pt x="78834" y="374269"/>
                </a:lnTo>
                <a:lnTo>
                  <a:pt x="87862" y="377401"/>
                </a:lnTo>
                <a:lnTo>
                  <a:pt x="103201" y="378053"/>
                </a:lnTo>
                <a:lnTo>
                  <a:pt x="113724" y="378501"/>
                </a:lnTo>
                <a:lnTo>
                  <a:pt x="153013" y="374925"/>
                </a:lnTo>
                <a:lnTo>
                  <a:pt x="196193" y="363917"/>
                </a:lnTo>
                <a:lnTo>
                  <a:pt x="204524" y="359956"/>
                </a:lnTo>
                <a:lnTo>
                  <a:pt x="217020" y="354014"/>
                </a:lnTo>
                <a:lnTo>
                  <a:pt x="240441" y="343006"/>
                </a:lnTo>
              </a:path>
              <a:path w="1052085" h="411108">
                <a:moveTo>
                  <a:pt x="240441" y="343006"/>
                </a:moveTo>
                <a:lnTo>
                  <a:pt x="238642" y="355252"/>
                </a:lnTo>
                <a:lnTo>
                  <a:pt x="236398" y="370521"/>
                </a:lnTo>
                <a:lnTo>
                  <a:pt x="235656" y="389970"/>
                </a:lnTo>
                <a:lnTo>
                  <a:pt x="235406" y="396524"/>
                </a:lnTo>
                <a:lnTo>
                  <a:pt x="235654" y="400170"/>
                </a:lnTo>
                <a:lnTo>
                  <a:pt x="236398" y="411108"/>
                </a:lnTo>
                <a:lnTo>
                  <a:pt x="1047050" y="411108"/>
                </a:lnTo>
                <a:lnTo>
                  <a:pt x="1049136" y="378501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4" name="object 194"/>
          <p:cNvSpPr/>
          <p:nvPr/>
        </p:nvSpPr>
        <p:spPr>
          <a:xfrm>
            <a:off x="8397013" y="4547762"/>
            <a:ext cx="52717" cy="32595"/>
          </a:xfrm>
          <a:custGeom>
            <a:avLst/>
            <a:gdLst/>
            <a:ahLst/>
            <a:cxnLst/>
            <a:rect l="l" t="t" r="r" b="b"/>
            <a:pathLst>
              <a:path w="52716" h="32595">
                <a:moveTo>
                  <a:pt x="42316" y="29283"/>
                </a:moveTo>
                <a:lnTo>
                  <a:pt x="51677" y="20962"/>
                </a:lnTo>
                <a:lnTo>
                  <a:pt x="52338" y="18137"/>
                </a:lnTo>
                <a:lnTo>
                  <a:pt x="52716" y="16523"/>
                </a:lnTo>
                <a:lnTo>
                  <a:pt x="47378" y="6518"/>
                </a:lnTo>
                <a:lnTo>
                  <a:pt x="33963" y="683"/>
                </a:lnTo>
                <a:lnTo>
                  <a:pt x="32230" y="525"/>
                </a:lnTo>
                <a:lnTo>
                  <a:pt x="26472" y="0"/>
                </a:lnTo>
                <a:lnTo>
                  <a:pt x="20171" y="1298"/>
                </a:lnTo>
                <a:lnTo>
                  <a:pt x="10663" y="3257"/>
                </a:lnTo>
                <a:lnTo>
                  <a:pt x="4680" y="8522"/>
                </a:lnTo>
                <a:lnTo>
                  <a:pt x="1182" y="11600"/>
                </a:lnTo>
                <a:lnTo>
                  <a:pt x="0" y="16523"/>
                </a:lnTo>
                <a:lnTo>
                  <a:pt x="5390" y="26181"/>
                </a:lnTo>
                <a:lnTo>
                  <a:pt x="18951" y="31923"/>
                </a:lnTo>
                <a:lnTo>
                  <a:pt x="26472" y="32595"/>
                </a:lnTo>
                <a:lnTo>
                  <a:pt x="42316" y="29283"/>
                </a:lnTo>
              </a:path>
            </a:pathLst>
          </a:custGeom>
          <a:ln w="66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5" name="object 195"/>
          <p:cNvSpPr/>
          <p:nvPr/>
        </p:nvSpPr>
        <p:spPr>
          <a:xfrm>
            <a:off x="8416391" y="4551765"/>
            <a:ext cx="25328" cy="19512"/>
          </a:xfrm>
          <a:custGeom>
            <a:avLst/>
            <a:gdLst/>
            <a:ahLst/>
            <a:cxnLst/>
            <a:rect l="l" t="t" r="r" b="b"/>
            <a:pathLst>
              <a:path w="25328" h="19512">
                <a:moveTo>
                  <a:pt x="22772" y="17003"/>
                </a:moveTo>
                <a:lnTo>
                  <a:pt x="25328" y="15113"/>
                </a:lnTo>
                <a:lnTo>
                  <a:pt x="25328" y="4398"/>
                </a:lnTo>
                <a:lnTo>
                  <a:pt x="23041" y="2708"/>
                </a:lnTo>
                <a:lnTo>
                  <a:pt x="19377" y="0"/>
                </a:lnTo>
                <a:lnTo>
                  <a:pt x="5569" y="0"/>
                </a:lnTo>
                <a:lnTo>
                  <a:pt x="2161" y="2691"/>
                </a:lnTo>
                <a:lnTo>
                  <a:pt x="0" y="4398"/>
                </a:lnTo>
                <a:lnTo>
                  <a:pt x="0" y="9925"/>
                </a:lnTo>
                <a:lnTo>
                  <a:pt x="0" y="15113"/>
                </a:lnTo>
                <a:lnTo>
                  <a:pt x="2020" y="16709"/>
                </a:lnTo>
                <a:lnTo>
                  <a:pt x="5569" y="19512"/>
                </a:lnTo>
                <a:lnTo>
                  <a:pt x="19377" y="19512"/>
                </a:lnTo>
                <a:lnTo>
                  <a:pt x="22772" y="17003"/>
                </a:lnTo>
                <a:close/>
              </a:path>
            </a:pathLst>
          </a:custGeom>
          <a:solidFill>
            <a:srgbClr val="608FF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6" name="object 196"/>
          <p:cNvSpPr/>
          <p:nvPr/>
        </p:nvSpPr>
        <p:spPr>
          <a:xfrm>
            <a:off x="8416391" y="4551765"/>
            <a:ext cx="25328" cy="19512"/>
          </a:xfrm>
          <a:custGeom>
            <a:avLst/>
            <a:gdLst/>
            <a:ahLst/>
            <a:cxnLst/>
            <a:rect l="l" t="t" r="r" b="b"/>
            <a:pathLst>
              <a:path w="25328" h="19512">
                <a:moveTo>
                  <a:pt x="0" y="9925"/>
                </a:moveTo>
                <a:lnTo>
                  <a:pt x="0" y="15113"/>
                </a:lnTo>
                <a:lnTo>
                  <a:pt x="2020" y="16709"/>
                </a:lnTo>
                <a:lnTo>
                  <a:pt x="5569" y="19512"/>
                </a:lnTo>
                <a:lnTo>
                  <a:pt x="12511" y="19512"/>
                </a:lnTo>
              </a:path>
              <a:path w="25328" h="19512">
                <a:moveTo>
                  <a:pt x="22772" y="17003"/>
                </a:moveTo>
                <a:lnTo>
                  <a:pt x="25328" y="15113"/>
                </a:lnTo>
                <a:lnTo>
                  <a:pt x="25328" y="9925"/>
                </a:lnTo>
              </a:path>
              <a:path w="25328" h="19512">
                <a:moveTo>
                  <a:pt x="12511" y="19512"/>
                </a:moveTo>
                <a:lnTo>
                  <a:pt x="19377" y="19512"/>
                </a:lnTo>
                <a:lnTo>
                  <a:pt x="22772" y="17003"/>
                </a:lnTo>
              </a:path>
              <a:path w="25328" h="19512">
                <a:moveTo>
                  <a:pt x="25328" y="4398"/>
                </a:moveTo>
                <a:lnTo>
                  <a:pt x="23041" y="2708"/>
                </a:lnTo>
                <a:lnTo>
                  <a:pt x="19377" y="0"/>
                </a:lnTo>
                <a:lnTo>
                  <a:pt x="12511" y="0"/>
                </a:lnTo>
              </a:path>
              <a:path w="25328" h="19512">
                <a:moveTo>
                  <a:pt x="25328" y="9925"/>
                </a:moveTo>
                <a:lnTo>
                  <a:pt x="25328" y="4398"/>
                </a:lnTo>
              </a:path>
              <a:path w="25328" h="19512">
                <a:moveTo>
                  <a:pt x="12511" y="0"/>
                </a:moveTo>
                <a:lnTo>
                  <a:pt x="5569" y="0"/>
                </a:lnTo>
                <a:lnTo>
                  <a:pt x="2161" y="2691"/>
                </a:lnTo>
                <a:lnTo>
                  <a:pt x="0" y="4398"/>
                </a:lnTo>
                <a:lnTo>
                  <a:pt x="0" y="9925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7" name="object 197"/>
          <p:cNvSpPr/>
          <p:nvPr/>
        </p:nvSpPr>
        <p:spPr>
          <a:xfrm>
            <a:off x="8542573" y="4551089"/>
            <a:ext cx="52717" cy="32595"/>
          </a:xfrm>
          <a:custGeom>
            <a:avLst/>
            <a:gdLst/>
            <a:ahLst/>
            <a:cxnLst/>
            <a:rect l="l" t="t" r="r" b="b"/>
            <a:pathLst>
              <a:path w="52716" h="32595">
                <a:moveTo>
                  <a:pt x="42271" y="29285"/>
                </a:moveTo>
                <a:lnTo>
                  <a:pt x="51662" y="20950"/>
                </a:lnTo>
                <a:lnTo>
                  <a:pt x="52220" y="18576"/>
                </a:lnTo>
                <a:lnTo>
                  <a:pt x="52716" y="16467"/>
                </a:lnTo>
                <a:lnTo>
                  <a:pt x="49100" y="9756"/>
                </a:lnTo>
                <a:lnTo>
                  <a:pt x="47345" y="6498"/>
                </a:lnTo>
                <a:lnTo>
                  <a:pt x="33903" y="677"/>
                </a:lnTo>
                <a:lnTo>
                  <a:pt x="31016" y="414"/>
                </a:lnTo>
                <a:lnTo>
                  <a:pt x="26472" y="0"/>
                </a:lnTo>
                <a:lnTo>
                  <a:pt x="20417" y="1244"/>
                </a:lnTo>
                <a:lnTo>
                  <a:pt x="10618" y="3259"/>
                </a:lnTo>
                <a:lnTo>
                  <a:pt x="1166" y="11589"/>
                </a:lnTo>
                <a:lnTo>
                  <a:pt x="0" y="16467"/>
                </a:lnTo>
                <a:lnTo>
                  <a:pt x="5357" y="26162"/>
                </a:lnTo>
                <a:lnTo>
                  <a:pt x="9551" y="27945"/>
                </a:lnTo>
                <a:lnTo>
                  <a:pt x="18892" y="31917"/>
                </a:lnTo>
                <a:lnTo>
                  <a:pt x="26472" y="32595"/>
                </a:lnTo>
                <a:lnTo>
                  <a:pt x="42271" y="29285"/>
                </a:lnTo>
              </a:path>
            </a:pathLst>
          </a:custGeom>
          <a:ln w="66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8" name="object 198"/>
          <p:cNvSpPr/>
          <p:nvPr/>
        </p:nvSpPr>
        <p:spPr>
          <a:xfrm>
            <a:off x="8562486" y="4555036"/>
            <a:ext cx="25328" cy="19568"/>
          </a:xfrm>
          <a:custGeom>
            <a:avLst/>
            <a:gdLst/>
            <a:ahLst/>
            <a:cxnLst/>
            <a:rect l="l" t="t" r="r" b="b"/>
            <a:pathLst>
              <a:path w="25328" h="19568">
                <a:moveTo>
                  <a:pt x="22654" y="17146"/>
                </a:moveTo>
                <a:lnTo>
                  <a:pt x="25328" y="15170"/>
                </a:lnTo>
                <a:lnTo>
                  <a:pt x="25328" y="4455"/>
                </a:lnTo>
                <a:lnTo>
                  <a:pt x="23050" y="2750"/>
                </a:lnTo>
                <a:lnTo>
                  <a:pt x="19377" y="0"/>
                </a:lnTo>
                <a:lnTo>
                  <a:pt x="5416" y="0"/>
                </a:lnTo>
                <a:lnTo>
                  <a:pt x="4205" y="996"/>
                </a:lnTo>
                <a:lnTo>
                  <a:pt x="0" y="4455"/>
                </a:lnTo>
                <a:lnTo>
                  <a:pt x="0" y="9925"/>
                </a:lnTo>
                <a:lnTo>
                  <a:pt x="0" y="15170"/>
                </a:lnTo>
                <a:lnTo>
                  <a:pt x="5416" y="19568"/>
                </a:lnTo>
                <a:lnTo>
                  <a:pt x="19377" y="19568"/>
                </a:lnTo>
                <a:lnTo>
                  <a:pt x="22654" y="17146"/>
                </a:lnTo>
                <a:close/>
              </a:path>
            </a:pathLst>
          </a:custGeom>
          <a:solidFill>
            <a:srgbClr val="608FF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9" name="object 199"/>
          <p:cNvSpPr/>
          <p:nvPr/>
        </p:nvSpPr>
        <p:spPr>
          <a:xfrm>
            <a:off x="8562486" y="4555036"/>
            <a:ext cx="25328" cy="19568"/>
          </a:xfrm>
          <a:custGeom>
            <a:avLst/>
            <a:gdLst/>
            <a:ahLst/>
            <a:cxnLst/>
            <a:rect l="l" t="t" r="r" b="b"/>
            <a:pathLst>
              <a:path w="25328" h="19568">
                <a:moveTo>
                  <a:pt x="0" y="9925"/>
                </a:moveTo>
                <a:lnTo>
                  <a:pt x="0" y="15170"/>
                </a:lnTo>
                <a:lnTo>
                  <a:pt x="5416" y="19568"/>
                </a:lnTo>
                <a:lnTo>
                  <a:pt x="12511" y="19568"/>
                </a:lnTo>
              </a:path>
              <a:path w="25328" h="19568">
                <a:moveTo>
                  <a:pt x="22654" y="17146"/>
                </a:moveTo>
                <a:lnTo>
                  <a:pt x="25328" y="15170"/>
                </a:lnTo>
                <a:lnTo>
                  <a:pt x="25328" y="9925"/>
                </a:lnTo>
              </a:path>
              <a:path w="25328" h="19568">
                <a:moveTo>
                  <a:pt x="12511" y="19568"/>
                </a:moveTo>
                <a:lnTo>
                  <a:pt x="19377" y="19568"/>
                </a:lnTo>
                <a:lnTo>
                  <a:pt x="22654" y="17146"/>
                </a:lnTo>
              </a:path>
              <a:path w="25328" h="19568">
                <a:moveTo>
                  <a:pt x="25328" y="4455"/>
                </a:moveTo>
                <a:lnTo>
                  <a:pt x="23050" y="2750"/>
                </a:lnTo>
                <a:lnTo>
                  <a:pt x="19377" y="0"/>
                </a:lnTo>
                <a:lnTo>
                  <a:pt x="12511" y="0"/>
                </a:lnTo>
              </a:path>
              <a:path w="25328" h="19568">
                <a:moveTo>
                  <a:pt x="25328" y="9925"/>
                </a:moveTo>
                <a:lnTo>
                  <a:pt x="25328" y="4455"/>
                </a:lnTo>
              </a:path>
              <a:path w="25328" h="19568">
                <a:moveTo>
                  <a:pt x="12511" y="0"/>
                </a:moveTo>
                <a:lnTo>
                  <a:pt x="5416" y="0"/>
                </a:lnTo>
                <a:lnTo>
                  <a:pt x="4205" y="996"/>
                </a:lnTo>
                <a:lnTo>
                  <a:pt x="0" y="4455"/>
                </a:lnTo>
                <a:lnTo>
                  <a:pt x="0" y="9925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0" name="object 200"/>
          <p:cNvSpPr/>
          <p:nvPr/>
        </p:nvSpPr>
        <p:spPr>
          <a:xfrm>
            <a:off x="8296160" y="4606806"/>
            <a:ext cx="381523" cy="253548"/>
          </a:xfrm>
          <a:custGeom>
            <a:avLst/>
            <a:gdLst/>
            <a:ahLst/>
            <a:cxnLst/>
            <a:rect l="l" t="t" r="r" b="b"/>
            <a:pathLst>
              <a:path w="381523" h="253548">
                <a:moveTo>
                  <a:pt x="259155" y="249572"/>
                </a:moveTo>
                <a:lnTo>
                  <a:pt x="272887" y="239901"/>
                </a:lnTo>
                <a:lnTo>
                  <a:pt x="276193" y="236888"/>
                </a:lnTo>
                <a:lnTo>
                  <a:pt x="289594" y="224674"/>
                </a:lnTo>
                <a:lnTo>
                  <a:pt x="298868" y="212155"/>
                </a:lnTo>
                <a:lnTo>
                  <a:pt x="304089" y="205105"/>
                </a:lnTo>
                <a:lnTo>
                  <a:pt x="322933" y="183958"/>
                </a:lnTo>
                <a:lnTo>
                  <a:pt x="343573" y="153561"/>
                </a:lnTo>
                <a:lnTo>
                  <a:pt x="352304" y="140703"/>
                </a:lnTo>
                <a:lnTo>
                  <a:pt x="361631" y="109461"/>
                </a:lnTo>
                <a:lnTo>
                  <a:pt x="371682" y="75793"/>
                </a:lnTo>
                <a:lnTo>
                  <a:pt x="381523" y="43197"/>
                </a:lnTo>
                <a:lnTo>
                  <a:pt x="318050" y="14549"/>
                </a:lnTo>
                <a:lnTo>
                  <a:pt x="310353" y="12918"/>
                </a:lnTo>
                <a:lnTo>
                  <a:pt x="249390" y="0"/>
                </a:lnTo>
                <a:lnTo>
                  <a:pt x="235146" y="521"/>
                </a:lnTo>
                <a:lnTo>
                  <a:pt x="141669" y="3947"/>
                </a:lnTo>
                <a:lnTo>
                  <a:pt x="83059" y="14704"/>
                </a:lnTo>
                <a:lnTo>
                  <a:pt x="63625" y="18271"/>
                </a:lnTo>
                <a:lnTo>
                  <a:pt x="10070" y="50472"/>
                </a:lnTo>
                <a:lnTo>
                  <a:pt x="0" y="93840"/>
                </a:lnTo>
                <a:lnTo>
                  <a:pt x="14876" y="140703"/>
                </a:lnTo>
                <a:lnTo>
                  <a:pt x="19911" y="169633"/>
                </a:lnTo>
                <a:lnTo>
                  <a:pt x="22352" y="181307"/>
                </a:lnTo>
                <a:lnTo>
                  <a:pt x="30897" y="197830"/>
                </a:lnTo>
                <a:lnTo>
                  <a:pt x="36504" y="208574"/>
                </a:lnTo>
                <a:lnTo>
                  <a:pt x="56606" y="229355"/>
                </a:lnTo>
                <a:lnTo>
                  <a:pt x="69652" y="241028"/>
                </a:lnTo>
                <a:lnTo>
                  <a:pt x="88419" y="252420"/>
                </a:lnTo>
                <a:lnTo>
                  <a:pt x="166387" y="183958"/>
                </a:lnTo>
                <a:lnTo>
                  <a:pt x="217361" y="224674"/>
                </a:lnTo>
                <a:lnTo>
                  <a:pt x="253509" y="253548"/>
                </a:lnTo>
                <a:lnTo>
                  <a:pt x="259155" y="2495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1" name="object 201"/>
          <p:cNvSpPr/>
          <p:nvPr/>
        </p:nvSpPr>
        <p:spPr>
          <a:xfrm>
            <a:off x="8296160" y="4606806"/>
            <a:ext cx="381523" cy="253548"/>
          </a:xfrm>
          <a:custGeom>
            <a:avLst/>
            <a:gdLst/>
            <a:ahLst/>
            <a:cxnLst/>
            <a:rect l="l" t="t" r="r" b="b"/>
            <a:pathLst>
              <a:path w="381523" h="253548">
                <a:moveTo>
                  <a:pt x="259155" y="249572"/>
                </a:moveTo>
                <a:lnTo>
                  <a:pt x="272887" y="239901"/>
                </a:lnTo>
                <a:lnTo>
                  <a:pt x="276193" y="236888"/>
                </a:lnTo>
                <a:lnTo>
                  <a:pt x="289594" y="224674"/>
                </a:lnTo>
                <a:lnTo>
                  <a:pt x="298868" y="212155"/>
                </a:lnTo>
                <a:lnTo>
                  <a:pt x="304089" y="205105"/>
                </a:lnTo>
                <a:lnTo>
                  <a:pt x="322933" y="183958"/>
                </a:lnTo>
                <a:lnTo>
                  <a:pt x="343573" y="153561"/>
                </a:lnTo>
                <a:lnTo>
                  <a:pt x="352304" y="140703"/>
                </a:lnTo>
                <a:lnTo>
                  <a:pt x="361631" y="109461"/>
                </a:lnTo>
                <a:lnTo>
                  <a:pt x="371682" y="75793"/>
                </a:lnTo>
                <a:lnTo>
                  <a:pt x="381523" y="43197"/>
                </a:lnTo>
                <a:lnTo>
                  <a:pt x="318050" y="14549"/>
                </a:lnTo>
                <a:lnTo>
                  <a:pt x="310353" y="12918"/>
                </a:lnTo>
                <a:lnTo>
                  <a:pt x="249390" y="0"/>
                </a:lnTo>
                <a:lnTo>
                  <a:pt x="235146" y="521"/>
                </a:lnTo>
                <a:lnTo>
                  <a:pt x="141669" y="3947"/>
                </a:lnTo>
                <a:lnTo>
                  <a:pt x="83059" y="14704"/>
                </a:lnTo>
                <a:lnTo>
                  <a:pt x="63625" y="18271"/>
                </a:lnTo>
                <a:lnTo>
                  <a:pt x="10070" y="50472"/>
                </a:lnTo>
                <a:lnTo>
                  <a:pt x="0" y="93840"/>
                </a:lnTo>
                <a:lnTo>
                  <a:pt x="14876" y="140703"/>
                </a:lnTo>
                <a:lnTo>
                  <a:pt x="19911" y="169633"/>
                </a:lnTo>
                <a:lnTo>
                  <a:pt x="22352" y="181307"/>
                </a:lnTo>
                <a:lnTo>
                  <a:pt x="30897" y="197830"/>
                </a:lnTo>
                <a:lnTo>
                  <a:pt x="36504" y="208574"/>
                </a:lnTo>
                <a:lnTo>
                  <a:pt x="38373" y="212155"/>
                </a:lnTo>
                <a:lnTo>
                  <a:pt x="56606" y="229355"/>
                </a:lnTo>
                <a:lnTo>
                  <a:pt x="69652" y="241028"/>
                </a:lnTo>
                <a:lnTo>
                  <a:pt x="88419" y="252420"/>
                </a:lnTo>
                <a:lnTo>
                  <a:pt x="166387" y="183958"/>
                </a:lnTo>
              </a:path>
              <a:path w="381523" h="253548">
                <a:moveTo>
                  <a:pt x="166387" y="183958"/>
                </a:moveTo>
                <a:lnTo>
                  <a:pt x="217361" y="224674"/>
                </a:lnTo>
                <a:lnTo>
                  <a:pt x="253509" y="253548"/>
                </a:lnTo>
                <a:lnTo>
                  <a:pt x="259155" y="249572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2" name="object 202"/>
          <p:cNvSpPr/>
          <p:nvPr/>
        </p:nvSpPr>
        <p:spPr>
          <a:xfrm>
            <a:off x="8354826" y="4790765"/>
            <a:ext cx="235047" cy="446975"/>
          </a:xfrm>
          <a:custGeom>
            <a:avLst/>
            <a:gdLst/>
            <a:ahLst/>
            <a:cxnLst/>
            <a:rect l="l" t="t" r="r" b="b"/>
            <a:pathLst>
              <a:path w="235047" h="446975">
                <a:moveTo>
                  <a:pt x="215136" y="360573"/>
                </a:moveTo>
                <a:lnTo>
                  <a:pt x="227498" y="311204"/>
                </a:lnTo>
                <a:lnTo>
                  <a:pt x="235047" y="281051"/>
                </a:lnTo>
                <a:lnTo>
                  <a:pt x="228989" y="250121"/>
                </a:lnTo>
                <a:lnTo>
                  <a:pt x="220171" y="205105"/>
                </a:lnTo>
                <a:lnTo>
                  <a:pt x="195758" y="140720"/>
                </a:lnTo>
                <a:lnTo>
                  <a:pt x="162483" y="94692"/>
                </a:lnTo>
                <a:lnTo>
                  <a:pt x="156469" y="86373"/>
                </a:lnTo>
                <a:lnTo>
                  <a:pt x="185688" y="61187"/>
                </a:lnTo>
                <a:lnTo>
                  <a:pt x="107720" y="0"/>
                </a:lnTo>
                <a:lnTo>
                  <a:pt x="51190" y="50190"/>
                </a:lnTo>
                <a:lnTo>
                  <a:pt x="73466" y="90089"/>
                </a:lnTo>
                <a:lnTo>
                  <a:pt x="66787" y="99450"/>
                </a:lnTo>
                <a:lnTo>
                  <a:pt x="34788" y="144295"/>
                </a:lnTo>
                <a:lnTo>
                  <a:pt x="10375" y="219824"/>
                </a:lnTo>
                <a:lnTo>
                  <a:pt x="0" y="270320"/>
                </a:lnTo>
                <a:lnTo>
                  <a:pt x="1083" y="275220"/>
                </a:lnTo>
                <a:lnTo>
                  <a:pt x="10375" y="317234"/>
                </a:lnTo>
                <a:lnTo>
                  <a:pt x="29752" y="374880"/>
                </a:lnTo>
                <a:lnTo>
                  <a:pt x="85230" y="418137"/>
                </a:lnTo>
                <a:lnTo>
                  <a:pt x="122215" y="446975"/>
                </a:lnTo>
                <a:lnTo>
                  <a:pt x="215136" y="360573"/>
                </a:lnTo>
                <a:close/>
              </a:path>
            </a:pathLst>
          </a:custGeom>
          <a:solidFill>
            <a:srgbClr val="9F009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3" name="object 203"/>
          <p:cNvSpPr/>
          <p:nvPr/>
        </p:nvSpPr>
        <p:spPr>
          <a:xfrm>
            <a:off x="8354826" y="4790765"/>
            <a:ext cx="235047" cy="446975"/>
          </a:xfrm>
          <a:custGeom>
            <a:avLst/>
            <a:gdLst/>
            <a:ahLst/>
            <a:cxnLst/>
            <a:rect l="l" t="t" r="r" b="b"/>
            <a:pathLst>
              <a:path w="235047" h="446975">
                <a:moveTo>
                  <a:pt x="215136" y="360573"/>
                </a:moveTo>
                <a:lnTo>
                  <a:pt x="227498" y="311204"/>
                </a:lnTo>
                <a:lnTo>
                  <a:pt x="235047" y="281051"/>
                </a:lnTo>
                <a:lnTo>
                  <a:pt x="228989" y="250121"/>
                </a:lnTo>
                <a:lnTo>
                  <a:pt x="220171" y="205105"/>
                </a:lnTo>
                <a:lnTo>
                  <a:pt x="195758" y="140720"/>
                </a:lnTo>
                <a:lnTo>
                  <a:pt x="162483" y="94692"/>
                </a:lnTo>
                <a:lnTo>
                  <a:pt x="156469" y="86373"/>
                </a:lnTo>
                <a:lnTo>
                  <a:pt x="185688" y="61187"/>
                </a:lnTo>
                <a:lnTo>
                  <a:pt x="107720" y="0"/>
                </a:lnTo>
                <a:lnTo>
                  <a:pt x="51190" y="50190"/>
                </a:lnTo>
                <a:lnTo>
                  <a:pt x="73466" y="90089"/>
                </a:lnTo>
              </a:path>
              <a:path w="235047" h="446975">
                <a:moveTo>
                  <a:pt x="73466" y="90089"/>
                </a:moveTo>
                <a:lnTo>
                  <a:pt x="66787" y="99450"/>
                </a:lnTo>
                <a:lnTo>
                  <a:pt x="34788" y="144295"/>
                </a:lnTo>
                <a:lnTo>
                  <a:pt x="10375" y="219824"/>
                </a:lnTo>
                <a:lnTo>
                  <a:pt x="0" y="270320"/>
                </a:lnTo>
                <a:lnTo>
                  <a:pt x="1083" y="275220"/>
                </a:lnTo>
                <a:lnTo>
                  <a:pt x="10375" y="317234"/>
                </a:lnTo>
                <a:lnTo>
                  <a:pt x="29752" y="374880"/>
                </a:lnTo>
                <a:lnTo>
                  <a:pt x="85230" y="418137"/>
                </a:lnTo>
                <a:lnTo>
                  <a:pt x="122215" y="446975"/>
                </a:lnTo>
                <a:lnTo>
                  <a:pt x="215136" y="360573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4" name="object 204"/>
          <p:cNvSpPr/>
          <p:nvPr/>
        </p:nvSpPr>
        <p:spPr>
          <a:xfrm>
            <a:off x="8515262" y="4569756"/>
            <a:ext cx="295165" cy="273681"/>
          </a:xfrm>
          <a:custGeom>
            <a:avLst/>
            <a:gdLst/>
            <a:ahLst/>
            <a:cxnLst/>
            <a:rect l="l" t="t" r="r" b="b"/>
            <a:pathLst>
              <a:path w="295164" h="273681">
                <a:moveTo>
                  <a:pt x="295164" y="227889"/>
                </a:moveTo>
                <a:lnTo>
                  <a:pt x="262741" y="204880"/>
                </a:lnTo>
                <a:lnTo>
                  <a:pt x="246255" y="192078"/>
                </a:lnTo>
                <a:lnTo>
                  <a:pt x="240083" y="187285"/>
                </a:lnTo>
                <a:lnTo>
                  <a:pt x="236575" y="184409"/>
                </a:lnTo>
                <a:lnTo>
                  <a:pt x="226122" y="175837"/>
                </a:lnTo>
                <a:lnTo>
                  <a:pt x="220296" y="162387"/>
                </a:lnTo>
                <a:lnTo>
                  <a:pt x="208194" y="134443"/>
                </a:lnTo>
                <a:lnTo>
                  <a:pt x="199268" y="122037"/>
                </a:lnTo>
                <a:lnTo>
                  <a:pt x="197696" y="118778"/>
                </a:lnTo>
                <a:lnTo>
                  <a:pt x="195758" y="114762"/>
                </a:lnTo>
                <a:lnTo>
                  <a:pt x="189274" y="94121"/>
                </a:lnTo>
                <a:lnTo>
                  <a:pt x="183857" y="66319"/>
                </a:lnTo>
                <a:lnTo>
                  <a:pt x="183911" y="65632"/>
                </a:lnTo>
                <a:lnTo>
                  <a:pt x="184773" y="54646"/>
                </a:lnTo>
                <a:lnTo>
                  <a:pt x="185576" y="47185"/>
                </a:lnTo>
                <a:lnTo>
                  <a:pt x="186832" y="35528"/>
                </a:lnTo>
                <a:lnTo>
                  <a:pt x="185728" y="21199"/>
                </a:lnTo>
                <a:lnTo>
                  <a:pt x="185307" y="15733"/>
                </a:lnTo>
                <a:lnTo>
                  <a:pt x="179966" y="5526"/>
                </a:lnTo>
                <a:lnTo>
                  <a:pt x="174931" y="733"/>
                </a:lnTo>
                <a:lnTo>
                  <a:pt x="165395" y="0"/>
                </a:lnTo>
                <a:lnTo>
                  <a:pt x="156538" y="1912"/>
                </a:lnTo>
                <a:lnTo>
                  <a:pt x="149985" y="3327"/>
                </a:lnTo>
                <a:lnTo>
                  <a:pt x="141059" y="11730"/>
                </a:lnTo>
                <a:lnTo>
                  <a:pt x="134116" y="31524"/>
                </a:lnTo>
                <a:lnTo>
                  <a:pt x="131261" y="52825"/>
                </a:lnTo>
                <a:lnTo>
                  <a:pt x="129158" y="68519"/>
                </a:lnTo>
                <a:lnTo>
                  <a:pt x="136176" y="94573"/>
                </a:lnTo>
                <a:lnTo>
                  <a:pt x="138032" y="109418"/>
                </a:lnTo>
                <a:lnTo>
                  <a:pt x="139152" y="118371"/>
                </a:lnTo>
                <a:lnTo>
                  <a:pt x="139152" y="141041"/>
                </a:lnTo>
                <a:lnTo>
                  <a:pt x="134155" y="146540"/>
                </a:lnTo>
                <a:lnTo>
                  <a:pt x="129158" y="152038"/>
                </a:lnTo>
                <a:lnTo>
                  <a:pt x="119240" y="159370"/>
                </a:lnTo>
                <a:lnTo>
                  <a:pt x="102914" y="171438"/>
                </a:lnTo>
                <a:lnTo>
                  <a:pt x="95162" y="177169"/>
                </a:lnTo>
                <a:lnTo>
                  <a:pt x="91318" y="180010"/>
                </a:lnTo>
                <a:lnTo>
                  <a:pt x="85127" y="181699"/>
                </a:lnTo>
                <a:lnTo>
                  <a:pt x="67134" y="186608"/>
                </a:lnTo>
                <a:lnTo>
                  <a:pt x="32728" y="192078"/>
                </a:lnTo>
                <a:lnTo>
                  <a:pt x="7934" y="198282"/>
                </a:lnTo>
                <a:lnTo>
                  <a:pt x="5913" y="201370"/>
                </a:lnTo>
                <a:lnTo>
                  <a:pt x="0" y="210406"/>
                </a:lnTo>
                <a:lnTo>
                  <a:pt x="0" y="219204"/>
                </a:lnTo>
                <a:lnTo>
                  <a:pt x="7850" y="224311"/>
                </a:lnTo>
                <a:lnTo>
                  <a:pt x="13350" y="227889"/>
                </a:lnTo>
                <a:lnTo>
                  <a:pt x="24506" y="229083"/>
                </a:lnTo>
                <a:lnTo>
                  <a:pt x="41272" y="230878"/>
                </a:lnTo>
                <a:lnTo>
                  <a:pt x="83002" y="224956"/>
                </a:lnTo>
                <a:lnTo>
                  <a:pt x="110314" y="216159"/>
                </a:lnTo>
                <a:lnTo>
                  <a:pt x="160530" y="257630"/>
                </a:lnTo>
                <a:lnTo>
                  <a:pt x="179966" y="273681"/>
                </a:lnTo>
                <a:lnTo>
                  <a:pt x="295164" y="227889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5" name="object 205"/>
          <p:cNvSpPr/>
          <p:nvPr/>
        </p:nvSpPr>
        <p:spPr>
          <a:xfrm>
            <a:off x="8515262" y="4569756"/>
            <a:ext cx="295165" cy="273681"/>
          </a:xfrm>
          <a:custGeom>
            <a:avLst/>
            <a:gdLst/>
            <a:ahLst/>
            <a:cxnLst/>
            <a:rect l="l" t="t" r="r" b="b"/>
            <a:pathLst>
              <a:path w="295164" h="273681">
                <a:moveTo>
                  <a:pt x="295164" y="227889"/>
                </a:moveTo>
                <a:lnTo>
                  <a:pt x="262741" y="204880"/>
                </a:lnTo>
                <a:lnTo>
                  <a:pt x="246255" y="192078"/>
                </a:lnTo>
                <a:lnTo>
                  <a:pt x="240083" y="187285"/>
                </a:lnTo>
                <a:lnTo>
                  <a:pt x="236575" y="184409"/>
                </a:lnTo>
                <a:lnTo>
                  <a:pt x="226122" y="175837"/>
                </a:lnTo>
                <a:lnTo>
                  <a:pt x="220296" y="162387"/>
                </a:lnTo>
                <a:lnTo>
                  <a:pt x="208194" y="134443"/>
                </a:lnTo>
                <a:lnTo>
                  <a:pt x="199268" y="122037"/>
                </a:lnTo>
                <a:lnTo>
                  <a:pt x="197696" y="118778"/>
                </a:lnTo>
                <a:lnTo>
                  <a:pt x="195758" y="114762"/>
                </a:lnTo>
                <a:lnTo>
                  <a:pt x="189274" y="94121"/>
                </a:lnTo>
                <a:lnTo>
                  <a:pt x="183857" y="66319"/>
                </a:lnTo>
              </a:path>
              <a:path w="295164" h="273681">
                <a:moveTo>
                  <a:pt x="183857" y="66319"/>
                </a:moveTo>
                <a:lnTo>
                  <a:pt x="183911" y="65632"/>
                </a:lnTo>
                <a:lnTo>
                  <a:pt x="184773" y="54646"/>
                </a:lnTo>
                <a:lnTo>
                  <a:pt x="185576" y="47185"/>
                </a:lnTo>
                <a:lnTo>
                  <a:pt x="186832" y="35528"/>
                </a:lnTo>
                <a:lnTo>
                  <a:pt x="185728" y="21199"/>
                </a:lnTo>
                <a:lnTo>
                  <a:pt x="185307" y="15733"/>
                </a:lnTo>
                <a:lnTo>
                  <a:pt x="179966" y="5526"/>
                </a:lnTo>
                <a:lnTo>
                  <a:pt x="174931" y="733"/>
                </a:lnTo>
                <a:lnTo>
                  <a:pt x="165395" y="0"/>
                </a:lnTo>
                <a:lnTo>
                  <a:pt x="156538" y="1912"/>
                </a:lnTo>
                <a:lnTo>
                  <a:pt x="149985" y="3327"/>
                </a:lnTo>
                <a:lnTo>
                  <a:pt x="141059" y="11730"/>
                </a:lnTo>
              </a:path>
              <a:path w="295164" h="273681">
                <a:moveTo>
                  <a:pt x="129158" y="152038"/>
                </a:moveTo>
                <a:lnTo>
                  <a:pt x="119240" y="159370"/>
                </a:lnTo>
                <a:lnTo>
                  <a:pt x="102914" y="171438"/>
                </a:lnTo>
              </a:path>
              <a:path w="295164" h="273681">
                <a:moveTo>
                  <a:pt x="102914" y="171438"/>
                </a:moveTo>
                <a:lnTo>
                  <a:pt x="95162" y="177169"/>
                </a:lnTo>
                <a:lnTo>
                  <a:pt x="91318" y="180010"/>
                </a:lnTo>
                <a:lnTo>
                  <a:pt x="85127" y="181699"/>
                </a:lnTo>
                <a:lnTo>
                  <a:pt x="67134" y="186608"/>
                </a:lnTo>
                <a:lnTo>
                  <a:pt x="32728" y="192078"/>
                </a:lnTo>
                <a:lnTo>
                  <a:pt x="7934" y="198282"/>
                </a:lnTo>
                <a:lnTo>
                  <a:pt x="5913" y="201370"/>
                </a:lnTo>
                <a:lnTo>
                  <a:pt x="0" y="210406"/>
                </a:lnTo>
                <a:lnTo>
                  <a:pt x="0" y="219204"/>
                </a:lnTo>
                <a:lnTo>
                  <a:pt x="7850" y="224311"/>
                </a:lnTo>
                <a:lnTo>
                  <a:pt x="13350" y="227889"/>
                </a:lnTo>
                <a:lnTo>
                  <a:pt x="24506" y="229083"/>
                </a:lnTo>
                <a:lnTo>
                  <a:pt x="41272" y="230878"/>
                </a:lnTo>
                <a:lnTo>
                  <a:pt x="83002" y="224956"/>
                </a:lnTo>
                <a:lnTo>
                  <a:pt x="110314" y="216159"/>
                </a:lnTo>
              </a:path>
              <a:path w="295164" h="273681">
                <a:moveTo>
                  <a:pt x="110314" y="216159"/>
                </a:moveTo>
                <a:lnTo>
                  <a:pt x="160530" y="257630"/>
                </a:lnTo>
                <a:lnTo>
                  <a:pt x="179966" y="273681"/>
                </a:lnTo>
                <a:lnTo>
                  <a:pt x="295164" y="227889"/>
                </a:lnTo>
              </a:path>
              <a:path w="295164" h="273681">
                <a:moveTo>
                  <a:pt x="119240" y="159370"/>
                </a:moveTo>
                <a:lnTo>
                  <a:pt x="102914" y="171438"/>
                </a:lnTo>
              </a:path>
              <a:path w="295164" h="273681">
                <a:moveTo>
                  <a:pt x="102914" y="171439"/>
                </a:moveTo>
                <a:lnTo>
                  <a:pt x="119240" y="159370"/>
                </a:lnTo>
              </a:path>
              <a:path w="295164" h="273681">
                <a:moveTo>
                  <a:pt x="129158" y="152038"/>
                </a:moveTo>
                <a:lnTo>
                  <a:pt x="134155" y="146540"/>
                </a:lnTo>
                <a:lnTo>
                  <a:pt x="129158" y="152038"/>
                </a:lnTo>
                <a:lnTo>
                  <a:pt x="119240" y="159370"/>
                </a:lnTo>
              </a:path>
              <a:path w="295164" h="273681">
                <a:moveTo>
                  <a:pt x="119240" y="159370"/>
                </a:moveTo>
                <a:lnTo>
                  <a:pt x="129158" y="152038"/>
                </a:lnTo>
              </a:path>
              <a:path w="295164" h="273681">
                <a:moveTo>
                  <a:pt x="136176" y="94573"/>
                </a:moveTo>
                <a:lnTo>
                  <a:pt x="131423" y="76929"/>
                </a:lnTo>
              </a:path>
              <a:path w="295164" h="273681">
                <a:moveTo>
                  <a:pt x="131423" y="76929"/>
                </a:moveTo>
                <a:lnTo>
                  <a:pt x="136176" y="94573"/>
                </a:lnTo>
                <a:lnTo>
                  <a:pt x="138032" y="109418"/>
                </a:lnTo>
                <a:lnTo>
                  <a:pt x="136176" y="94573"/>
                </a:lnTo>
              </a:path>
              <a:path w="295164" h="273681">
                <a:moveTo>
                  <a:pt x="141059" y="11730"/>
                </a:moveTo>
                <a:lnTo>
                  <a:pt x="134116" y="31524"/>
                </a:lnTo>
                <a:lnTo>
                  <a:pt x="131273" y="52734"/>
                </a:lnTo>
                <a:lnTo>
                  <a:pt x="129158" y="68519"/>
                </a:lnTo>
                <a:lnTo>
                  <a:pt x="131423" y="76929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6" name="object 206"/>
          <p:cNvSpPr/>
          <p:nvPr/>
        </p:nvSpPr>
        <p:spPr>
          <a:xfrm>
            <a:off x="8296161" y="4401250"/>
            <a:ext cx="372063" cy="390191"/>
          </a:xfrm>
          <a:custGeom>
            <a:avLst/>
            <a:gdLst/>
            <a:ahLst/>
            <a:cxnLst/>
            <a:rect l="l" t="t" r="r" b="b"/>
            <a:pathLst>
              <a:path w="372063" h="390191">
                <a:moveTo>
                  <a:pt x="198200" y="386582"/>
                </a:moveTo>
                <a:lnTo>
                  <a:pt x="219049" y="383699"/>
                </a:lnTo>
                <a:lnTo>
                  <a:pt x="230012" y="382183"/>
                </a:lnTo>
                <a:lnTo>
                  <a:pt x="264266" y="371186"/>
                </a:lnTo>
                <a:lnTo>
                  <a:pt x="275544" y="367126"/>
                </a:lnTo>
                <a:lnTo>
                  <a:pt x="293714" y="360584"/>
                </a:lnTo>
                <a:lnTo>
                  <a:pt x="304623" y="353986"/>
                </a:lnTo>
                <a:lnTo>
                  <a:pt x="318050" y="345865"/>
                </a:lnTo>
                <a:lnTo>
                  <a:pt x="347269" y="320544"/>
                </a:lnTo>
                <a:lnTo>
                  <a:pt x="351604" y="315875"/>
                </a:lnTo>
                <a:lnTo>
                  <a:pt x="359781" y="307066"/>
                </a:lnTo>
                <a:lnTo>
                  <a:pt x="367181" y="289076"/>
                </a:lnTo>
                <a:lnTo>
                  <a:pt x="371682" y="271143"/>
                </a:lnTo>
                <a:lnTo>
                  <a:pt x="372063" y="254225"/>
                </a:lnTo>
                <a:lnTo>
                  <a:pt x="367562" y="233754"/>
                </a:lnTo>
                <a:lnTo>
                  <a:pt x="363137" y="214354"/>
                </a:lnTo>
                <a:lnTo>
                  <a:pt x="357367" y="182900"/>
                </a:lnTo>
                <a:lnTo>
                  <a:pt x="356195" y="176513"/>
                </a:lnTo>
                <a:lnTo>
                  <a:pt x="359781" y="157960"/>
                </a:lnTo>
                <a:lnTo>
                  <a:pt x="363666" y="147512"/>
                </a:lnTo>
                <a:lnTo>
                  <a:pt x="367562" y="137038"/>
                </a:lnTo>
                <a:lnTo>
                  <a:pt x="370572" y="110006"/>
                </a:lnTo>
                <a:lnTo>
                  <a:pt x="371682" y="100043"/>
                </a:lnTo>
                <a:lnTo>
                  <a:pt x="370749" y="92470"/>
                </a:lnTo>
                <a:lnTo>
                  <a:pt x="367562" y="66601"/>
                </a:lnTo>
                <a:lnTo>
                  <a:pt x="363612" y="55294"/>
                </a:lnTo>
                <a:lnTo>
                  <a:pt x="359781" y="44325"/>
                </a:lnTo>
                <a:lnTo>
                  <a:pt x="342844" y="28873"/>
                </a:lnTo>
                <a:lnTo>
                  <a:pt x="299665" y="13196"/>
                </a:lnTo>
                <a:lnTo>
                  <a:pt x="249390" y="3270"/>
                </a:lnTo>
                <a:lnTo>
                  <a:pt x="174649" y="284"/>
                </a:lnTo>
                <a:lnTo>
                  <a:pt x="167531" y="0"/>
                </a:lnTo>
                <a:lnTo>
                  <a:pt x="159146" y="934"/>
                </a:lnTo>
                <a:lnTo>
                  <a:pt x="108331" y="6598"/>
                </a:lnTo>
                <a:lnTo>
                  <a:pt x="86273" y="17926"/>
                </a:lnTo>
                <a:lnTo>
                  <a:pt x="63625" y="31524"/>
                </a:lnTo>
                <a:lnTo>
                  <a:pt x="50274" y="46920"/>
                </a:lnTo>
                <a:lnTo>
                  <a:pt x="34253" y="63669"/>
                </a:lnTo>
                <a:lnTo>
                  <a:pt x="30770" y="74443"/>
                </a:lnTo>
                <a:lnTo>
                  <a:pt x="26777" y="86790"/>
                </a:lnTo>
                <a:lnTo>
                  <a:pt x="23940" y="94363"/>
                </a:lnTo>
                <a:lnTo>
                  <a:pt x="19911" y="105118"/>
                </a:lnTo>
                <a:lnTo>
                  <a:pt x="19911" y="127112"/>
                </a:lnTo>
                <a:lnTo>
                  <a:pt x="24029" y="145106"/>
                </a:lnTo>
                <a:lnTo>
                  <a:pt x="26777" y="157114"/>
                </a:lnTo>
                <a:lnTo>
                  <a:pt x="28774" y="184177"/>
                </a:lnTo>
                <a:lnTo>
                  <a:pt x="28837" y="185029"/>
                </a:lnTo>
                <a:lnTo>
                  <a:pt x="26723" y="191003"/>
                </a:lnTo>
                <a:lnTo>
                  <a:pt x="18462" y="214354"/>
                </a:lnTo>
                <a:lnTo>
                  <a:pt x="7476" y="242156"/>
                </a:lnTo>
                <a:lnTo>
                  <a:pt x="0" y="267477"/>
                </a:lnTo>
                <a:lnTo>
                  <a:pt x="0" y="289076"/>
                </a:lnTo>
                <a:lnTo>
                  <a:pt x="1701" y="302061"/>
                </a:lnTo>
                <a:lnTo>
                  <a:pt x="2593" y="308871"/>
                </a:lnTo>
                <a:lnTo>
                  <a:pt x="6101" y="320419"/>
                </a:lnTo>
                <a:lnTo>
                  <a:pt x="9530" y="328339"/>
                </a:lnTo>
                <a:lnTo>
                  <a:pt x="17470" y="341467"/>
                </a:lnTo>
                <a:lnTo>
                  <a:pt x="31812" y="353986"/>
                </a:lnTo>
                <a:lnTo>
                  <a:pt x="48859" y="362924"/>
                </a:lnTo>
                <a:lnTo>
                  <a:pt x="83613" y="378461"/>
                </a:lnTo>
                <a:lnTo>
                  <a:pt x="101768" y="381951"/>
                </a:lnTo>
                <a:lnTo>
                  <a:pt x="121758" y="385792"/>
                </a:lnTo>
                <a:lnTo>
                  <a:pt x="160970" y="390191"/>
                </a:lnTo>
                <a:lnTo>
                  <a:pt x="198200" y="386582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7" name="object 207"/>
          <p:cNvSpPr/>
          <p:nvPr/>
        </p:nvSpPr>
        <p:spPr>
          <a:xfrm>
            <a:off x="8296161" y="4401250"/>
            <a:ext cx="372063" cy="390191"/>
          </a:xfrm>
          <a:custGeom>
            <a:avLst/>
            <a:gdLst/>
            <a:ahLst/>
            <a:cxnLst/>
            <a:rect l="l" t="t" r="r" b="b"/>
            <a:pathLst>
              <a:path w="372063" h="390191">
                <a:moveTo>
                  <a:pt x="198200" y="386582"/>
                </a:moveTo>
                <a:lnTo>
                  <a:pt x="219049" y="383699"/>
                </a:lnTo>
                <a:lnTo>
                  <a:pt x="230012" y="382183"/>
                </a:lnTo>
                <a:lnTo>
                  <a:pt x="264266" y="371186"/>
                </a:lnTo>
                <a:lnTo>
                  <a:pt x="275544" y="367126"/>
                </a:lnTo>
                <a:lnTo>
                  <a:pt x="293714" y="360584"/>
                </a:lnTo>
                <a:lnTo>
                  <a:pt x="304623" y="353986"/>
                </a:lnTo>
                <a:lnTo>
                  <a:pt x="318050" y="345865"/>
                </a:lnTo>
                <a:lnTo>
                  <a:pt x="347269" y="320544"/>
                </a:lnTo>
                <a:lnTo>
                  <a:pt x="351604" y="315875"/>
                </a:lnTo>
                <a:lnTo>
                  <a:pt x="359781" y="307066"/>
                </a:lnTo>
                <a:lnTo>
                  <a:pt x="367181" y="289076"/>
                </a:lnTo>
                <a:lnTo>
                  <a:pt x="371682" y="271143"/>
                </a:lnTo>
                <a:lnTo>
                  <a:pt x="372063" y="254225"/>
                </a:lnTo>
                <a:lnTo>
                  <a:pt x="367562" y="233754"/>
                </a:lnTo>
                <a:lnTo>
                  <a:pt x="363137" y="214354"/>
                </a:lnTo>
                <a:lnTo>
                  <a:pt x="357367" y="182900"/>
                </a:lnTo>
                <a:lnTo>
                  <a:pt x="356195" y="176513"/>
                </a:lnTo>
                <a:lnTo>
                  <a:pt x="359781" y="157960"/>
                </a:lnTo>
                <a:lnTo>
                  <a:pt x="363666" y="147512"/>
                </a:lnTo>
                <a:lnTo>
                  <a:pt x="367562" y="137038"/>
                </a:lnTo>
                <a:lnTo>
                  <a:pt x="370572" y="110006"/>
                </a:lnTo>
                <a:lnTo>
                  <a:pt x="371682" y="100043"/>
                </a:lnTo>
                <a:lnTo>
                  <a:pt x="370749" y="92470"/>
                </a:lnTo>
                <a:lnTo>
                  <a:pt x="367562" y="66601"/>
                </a:lnTo>
                <a:lnTo>
                  <a:pt x="363612" y="55294"/>
                </a:lnTo>
                <a:lnTo>
                  <a:pt x="359781" y="44325"/>
                </a:lnTo>
                <a:lnTo>
                  <a:pt x="342844" y="28873"/>
                </a:lnTo>
                <a:lnTo>
                  <a:pt x="299665" y="13196"/>
                </a:lnTo>
                <a:lnTo>
                  <a:pt x="249390" y="3270"/>
                </a:lnTo>
                <a:lnTo>
                  <a:pt x="174649" y="284"/>
                </a:lnTo>
                <a:lnTo>
                  <a:pt x="167531" y="0"/>
                </a:lnTo>
                <a:lnTo>
                  <a:pt x="159146" y="934"/>
                </a:lnTo>
                <a:lnTo>
                  <a:pt x="108331" y="6598"/>
                </a:lnTo>
                <a:lnTo>
                  <a:pt x="86273" y="17926"/>
                </a:lnTo>
                <a:lnTo>
                  <a:pt x="63625" y="31524"/>
                </a:lnTo>
                <a:lnTo>
                  <a:pt x="50274" y="46920"/>
                </a:lnTo>
                <a:lnTo>
                  <a:pt x="34253" y="63669"/>
                </a:lnTo>
                <a:lnTo>
                  <a:pt x="30770" y="74443"/>
                </a:lnTo>
                <a:lnTo>
                  <a:pt x="26777" y="86790"/>
                </a:lnTo>
                <a:lnTo>
                  <a:pt x="23940" y="94363"/>
                </a:lnTo>
                <a:lnTo>
                  <a:pt x="19911" y="105118"/>
                </a:lnTo>
                <a:lnTo>
                  <a:pt x="19911" y="127112"/>
                </a:lnTo>
                <a:lnTo>
                  <a:pt x="24029" y="145106"/>
                </a:lnTo>
                <a:lnTo>
                  <a:pt x="26777" y="157114"/>
                </a:lnTo>
                <a:lnTo>
                  <a:pt x="28774" y="184177"/>
                </a:lnTo>
                <a:lnTo>
                  <a:pt x="28837" y="185029"/>
                </a:lnTo>
              </a:path>
              <a:path w="372063" h="390191">
                <a:moveTo>
                  <a:pt x="28837" y="185029"/>
                </a:moveTo>
                <a:lnTo>
                  <a:pt x="26723" y="191003"/>
                </a:lnTo>
                <a:lnTo>
                  <a:pt x="18462" y="214354"/>
                </a:lnTo>
                <a:lnTo>
                  <a:pt x="7476" y="242156"/>
                </a:lnTo>
                <a:lnTo>
                  <a:pt x="0" y="267477"/>
                </a:lnTo>
                <a:lnTo>
                  <a:pt x="0" y="289076"/>
                </a:lnTo>
                <a:lnTo>
                  <a:pt x="1701" y="302061"/>
                </a:lnTo>
                <a:lnTo>
                  <a:pt x="2593" y="308871"/>
                </a:lnTo>
                <a:lnTo>
                  <a:pt x="6101" y="320419"/>
                </a:lnTo>
                <a:lnTo>
                  <a:pt x="9530" y="328339"/>
                </a:lnTo>
                <a:lnTo>
                  <a:pt x="17470" y="341467"/>
                </a:lnTo>
                <a:lnTo>
                  <a:pt x="31812" y="353986"/>
                </a:lnTo>
                <a:lnTo>
                  <a:pt x="48859" y="362924"/>
                </a:lnTo>
                <a:lnTo>
                  <a:pt x="83613" y="378461"/>
                </a:lnTo>
                <a:lnTo>
                  <a:pt x="101768" y="381951"/>
                </a:lnTo>
                <a:lnTo>
                  <a:pt x="121758" y="385792"/>
                </a:lnTo>
                <a:lnTo>
                  <a:pt x="160970" y="390191"/>
                </a:lnTo>
                <a:lnTo>
                  <a:pt x="198200" y="386582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8" name="object 208"/>
          <p:cNvSpPr/>
          <p:nvPr/>
        </p:nvSpPr>
        <p:spPr>
          <a:xfrm>
            <a:off x="8399075" y="4693597"/>
            <a:ext cx="183323" cy="5921"/>
          </a:xfrm>
          <a:custGeom>
            <a:avLst/>
            <a:gdLst/>
            <a:ahLst/>
            <a:cxnLst/>
            <a:rect l="l" t="t" r="r" b="b"/>
            <a:pathLst>
              <a:path w="183323" h="5921">
                <a:moveTo>
                  <a:pt x="0" y="1127"/>
                </a:moveTo>
                <a:lnTo>
                  <a:pt x="16402" y="0"/>
                </a:lnTo>
                <a:lnTo>
                  <a:pt x="41730" y="0"/>
                </a:lnTo>
                <a:lnTo>
                  <a:pt x="64006" y="0"/>
                </a:lnTo>
                <a:lnTo>
                  <a:pt x="92310" y="3327"/>
                </a:lnTo>
                <a:lnTo>
                  <a:pt x="124123" y="3327"/>
                </a:lnTo>
                <a:lnTo>
                  <a:pt x="155020" y="3327"/>
                </a:lnTo>
                <a:lnTo>
                  <a:pt x="183323" y="5921"/>
                </a:lnTo>
              </a:path>
            </a:pathLst>
          </a:custGeom>
          <a:ln w="30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9" name="object 209"/>
          <p:cNvSpPr/>
          <p:nvPr/>
        </p:nvSpPr>
        <p:spPr>
          <a:xfrm>
            <a:off x="8462546" y="4710120"/>
            <a:ext cx="39289" cy="1804"/>
          </a:xfrm>
          <a:custGeom>
            <a:avLst/>
            <a:gdLst/>
            <a:ahLst/>
            <a:cxnLst/>
            <a:rect l="l" t="t" r="r" b="b"/>
            <a:pathLst>
              <a:path w="39289" h="1804">
                <a:moveTo>
                  <a:pt x="0" y="1804"/>
                </a:moveTo>
                <a:lnTo>
                  <a:pt x="28837" y="0"/>
                </a:lnTo>
                <a:lnTo>
                  <a:pt x="39289" y="1804"/>
                </a:lnTo>
              </a:path>
            </a:pathLst>
          </a:custGeom>
          <a:ln w="302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0" name="object 210"/>
          <p:cNvSpPr/>
          <p:nvPr/>
        </p:nvSpPr>
        <p:spPr>
          <a:xfrm>
            <a:off x="8447670" y="4566089"/>
            <a:ext cx="85978" cy="97110"/>
          </a:xfrm>
          <a:custGeom>
            <a:avLst/>
            <a:gdLst/>
            <a:ahLst/>
            <a:cxnLst/>
            <a:rect l="l" t="t" r="r" b="b"/>
            <a:pathLst>
              <a:path w="85978" h="97110">
                <a:moveTo>
                  <a:pt x="58590" y="0"/>
                </a:moveTo>
                <a:lnTo>
                  <a:pt x="56225" y="16918"/>
                </a:lnTo>
                <a:lnTo>
                  <a:pt x="61260" y="32595"/>
                </a:lnTo>
                <a:lnTo>
                  <a:pt x="66066" y="43592"/>
                </a:lnTo>
                <a:lnTo>
                  <a:pt x="75526" y="59665"/>
                </a:lnTo>
                <a:lnTo>
                  <a:pt x="80561" y="69985"/>
                </a:lnTo>
                <a:lnTo>
                  <a:pt x="85978" y="82786"/>
                </a:lnTo>
                <a:lnTo>
                  <a:pt x="80561" y="92035"/>
                </a:lnTo>
                <a:lnTo>
                  <a:pt x="73543" y="95306"/>
                </a:lnTo>
                <a:lnTo>
                  <a:pt x="61260" y="97110"/>
                </a:lnTo>
                <a:lnTo>
                  <a:pt x="46689" y="92035"/>
                </a:lnTo>
                <a:lnTo>
                  <a:pt x="26777" y="90117"/>
                </a:lnTo>
                <a:lnTo>
                  <a:pt x="0" y="93388"/>
                </a:lnTo>
              </a:path>
            </a:pathLst>
          </a:custGeom>
          <a:ln w="36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1" name="object 211"/>
          <p:cNvSpPr/>
          <p:nvPr/>
        </p:nvSpPr>
        <p:spPr>
          <a:xfrm>
            <a:off x="8380079" y="4504169"/>
            <a:ext cx="98871" cy="15395"/>
          </a:xfrm>
          <a:custGeom>
            <a:avLst/>
            <a:gdLst/>
            <a:ahLst/>
            <a:cxnLst/>
            <a:rect l="l" t="t" r="r" b="b"/>
            <a:pathLst>
              <a:path w="98871" h="15395">
                <a:moveTo>
                  <a:pt x="15486" y="14324"/>
                </a:moveTo>
                <a:lnTo>
                  <a:pt x="27387" y="12801"/>
                </a:lnTo>
                <a:lnTo>
                  <a:pt x="40814" y="10320"/>
                </a:lnTo>
                <a:lnTo>
                  <a:pt x="51190" y="8797"/>
                </a:lnTo>
                <a:lnTo>
                  <a:pt x="62175" y="9192"/>
                </a:lnTo>
                <a:lnTo>
                  <a:pt x="75164" y="10038"/>
                </a:lnTo>
                <a:lnTo>
                  <a:pt x="79493" y="10320"/>
                </a:lnTo>
                <a:lnTo>
                  <a:pt x="89945" y="12801"/>
                </a:lnTo>
                <a:lnTo>
                  <a:pt x="91266" y="12615"/>
                </a:lnTo>
                <a:lnTo>
                  <a:pt x="97955" y="11673"/>
                </a:lnTo>
                <a:lnTo>
                  <a:pt x="98871" y="7669"/>
                </a:lnTo>
                <a:lnTo>
                  <a:pt x="79493" y="3270"/>
                </a:lnTo>
                <a:lnTo>
                  <a:pt x="63091" y="0"/>
                </a:lnTo>
                <a:lnTo>
                  <a:pt x="53784" y="676"/>
                </a:lnTo>
                <a:lnTo>
                  <a:pt x="41882" y="1804"/>
                </a:lnTo>
                <a:lnTo>
                  <a:pt x="27387" y="4398"/>
                </a:lnTo>
                <a:lnTo>
                  <a:pt x="24024" y="5500"/>
                </a:lnTo>
                <a:lnTo>
                  <a:pt x="13960" y="8797"/>
                </a:lnTo>
                <a:lnTo>
                  <a:pt x="6964" y="12104"/>
                </a:lnTo>
                <a:lnTo>
                  <a:pt x="0" y="15395"/>
                </a:lnTo>
                <a:lnTo>
                  <a:pt x="15486" y="14324"/>
                </a:lnTo>
                <a:close/>
              </a:path>
            </a:pathLst>
          </a:custGeom>
          <a:solidFill>
            <a:srgbClr val="804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2" name="object 212"/>
          <p:cNvSpPr/>
          <p:nvPr/>
        </p:nvSpPr>
        <p:spPr>
          <a:xfrm>
            <a:off x="8380079" y="4504169"/>
            <a:ext cx="98871" cy="15395"/>
          </a:xfrm>
          <a:custGeom>
            <a:avLst/>
            <a:gdLst/>
            <a:ahLst/>
            <a:cxnLst/>
            <a:rect l="l" t="t" r="r" b="b"/>
            <a:pathLst>
              <a:path w="98871" h="15395">
                <a:moveTo>
                  <a:pt x="15486" y="14324"/>
                </a:moveTo>
                <a:lnTo>
                  <a:pt x="27387" y="12801"/>
                </a:lnTo>
                <a:lnTo>
                  <a:pt x="40814" y="10320"/>
                </a:lnTo>
                <a:lnTo>
                  <a:pt x="51190" y="8797"/>
                </a:lnTo>
              </a:path>
              <a:path w="98871" h="15395">
                <a:moveTo>
                  <a:pt x="51190" y="8797"/>
                </a:moveTo>
                <a:lnTo>
                  <a:pt x="62175" y="9192"/>
                </a:lnTo>
                <a:lnTo>
                  <a:pt x="75164" y="10038"/>
                </a:lnTo>
                <a:lnTo>
                  <a:pt x="79493" y="10320"/>
                </a:lnTo>
                <a:lnTo>
                  <a:pt x="89945" y="12801"/>
                </a:lnTo>
                <a:lnTo>
                  <a:pt x="91266" y="12615"/>
                </a:lnTo>
                <a:lnTo>
                  <a:pt x="97955" y="11673"/>
                </a:lnTo>
                <a:lnTo>
                  <a:pt x="98871" y="7669"/>
                </a:lnTo>
                <a:lnTo>
                  <a:pt x="79493" y="3270"/>
                </a:lnTo>
                <a:lnTo>
                  <a:pt x="63091" y="0"/>
                </a:lnTo>
                <a:lnTo>
                  <a:pt x="53784" y="676"/>
                </a:lnTo>
                <a:lnTo>
                  <a:pt x="41882" y="1804"/>
                </a:lnTo>
                <a:lnTo>
                  <a:pt x="27387" y="4398"/>
                </a:lnTo>
                <a:lnTo>
                  <a:pt x="24024" y="5500"/>
                </a:lnTo>
                <a:lnTo>
                  <a:pt x="13960" y="8797"/>
                </a:lnTo>
                <a:lnTo>
                  <a:pt x="6964" y="12104"/>
                </a:lnTo>
                <a:lnTo>
                  <a:pt x="0" y="15395"/>
                </a:lnTo>
                <a:lnTo>
                  <a:pt x="15486" y="14324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3" name="object 213"/>
          <p:cNvSpPr/>
          <p:nvPr/>
        </p:nvSpPr>
        <p:spPr>
          <a:xfrm>
            <a:off x="8528232" y="4505691"/>
            <a:ext cx="96428" cy="15000"/>
          </a:xfrm>
          <a:custGeom>
            <a:avLst/>
            <a:gdLst/>
            <a:ahLst/>
            <a:cxnLst/>
            <a:rect l="l" t="t" r="r" b="b"/>
            <a:pathLst>
              <a:path w="96429" h="15000">
                <a:moveTo>
                  <a:pt x="82468" y="7951"/>
                </a:moveTo>
                <a:lnTo>
                  <a:pt x="69041" y="3947"/>
                </a:lnTo>
                <a:lnTo>
                  <a:pt x="66412" y="3514"/>
                </a:lnTo>
                <a:lnTo>
                  <a:pt x="55691" y="1748"/>
                </a:lnTo>
                <a:lnTo>
                  <a:pt x="44095" y="676"/>
                </a:lnTo>
                <a:lnTo>
                  <a:pt x="39003" y="290"/>
                </a:lnTo>
                <a:lnTo>
                  <a:pt x="35169" y="0"/>
                </a:lnTo>
                <a:lnTo>
                  <a:pt x="19377" y="3270"/>
                </a:lnTo>
                <a:lnTo>
                  <a:pt x="0" y="7274"/>
                </a:lnTo>
                <a:lnTo>
                  <a:pt x="1525" y="11673"/>
                </a:lnTo>
                <a:lnTo>
                  <a:pt x="5754" y="12060"/>
                </a:lnTo>
                <a:lnTo>
                  <a:pt x="8925" y="12350"/>
                </a:lnTo>
                <a:lnTo>
                  <a:pt x="19377" y="9868"/>
                </a:lnTo>
                <a:lnTo>
                  <a:pt x="36313" y="9079"/>
                </a:lnTo>
                <a:lnTo>
                  <a:pt x="45748" y="8061"/>
                </a:lnTo>
                <a:lnTo>
                  <a:pt x="46765" y="7951"/>
                </a:lnTo>
                <a:lnTo>
                  <a:pt x="56606" y="9868"/>
                </a:lnTo>
                <a:lnTo>
                  <a:pt x="69041" y="12350"/>
                </a:lnTo>
                <a:lnTo>
                  <a:pt x="77230" y="13628"/>
                </a:lnTo>
                <a:lnTo>
                  <a:pt x="81324" y="14267"/>
                </a:lnTo>
                <a:lnTo>
                  <a:pt x="82181" y="14309"/>
                </a:lnTo>
                <a:lnTo>
                  <a:pt x="96429" y="15000"/>
                </a:lnTo>
                <a:lnTo>
                  <a:pt x="82468" y="7951"/>
                </a:lnTo>
                <a:close/>
              </a:path>
            </a:pathLst>
          </a:custGeom>
          <a:solidFill>
            <a:srgbClr val="804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4" name="object 214"/>
          <p:cNvSpPr/>
          <p:nvPr/>
        </p:nvSpPr>
        <p:spPr>
          <a:xfrm>
            <a:off x="8528232" y="4505691"/>
            <a:ext cx="96428" cy="15000"/>
          </a:xfrm>
          <a:custGeom>
            <a:avLst/>
            <a:gdLst/>
            <a:ahLst/>
            <a:cxnLst/>
            <a:rect l="l" t="t" r="r" b="b"/>
            <a:pathLst>
              <a:path w="96429" h="15000">
                <a:moveTo>
                  <a:pt x="82468" y="7951"/>
                </a:moveTo>
                <a:lnTo>
                  <a:pt x="69041" y="3947"/>
                </a:lnTo>
                <a:lnTo>
                  <a:pt x="66412" y="3514"/>
                </a:lnTo>
                <a:lnTo>
                  <a:pt x="55691" y="1748"/>
                </a:lnTo>
                <a:lnTo>
                  <a:pt x="44095" y="676"/>
                </a:lnTo>
                <a:lnTo>
                  <a:pt x="39003" y="290"/>
                </a:lnTo>
                <a:lnTo>
                  <a:pt x="35169" y="0"/>
                </a:lnTo>
                <a:lnTo>
                  <a:pt x="19377" y="3270"/>
                </a:lnTo>
              </a:path>
              <a:path w="96429" h="15000">
                <a:moveTo>
                  <a:pt x="96429" y="15000"/>
                </a:moveTo>
                <a:lnTo>
                  <a:pt x="82468" y="7951"/>
                </a:lnTo>
              </a:path>
              <a:path w="96429" h="15000">
                <a:moveTo>
                  <a:pt x="19377" y="3270"/>
                </a:moveTo>
                <a:lnTo>
                  <a:pt x="0" y="7274"/>
                </a:lnTo>
              </a:path>
              <a:path w="96429" h="15000">
                <a:moveTo>
                  <a:pt x="0" y="7274"/>
                </a:moveTo>
                <a:lnTo>
                  <a:pt x="1525" y="11673"/>
                </a:lnTo>
                <a:lnTo>
                  <a:pt x="5754" y="12060"/>
                </a:lnTo>
                <a:lnTo>
                  <a:pt x="8925" y="12350"/>
                </a:lnTo>
                <a:lnTo>
                  <a:pt x="19377" y="9868"/>
                </a:lnTo>
                <a:lnTo>
                  <a:pt x="36313" y="9079"/>
                </a:lnTo>
                <a:lnTo>
                  <a:pt x="45748" y="8061"/>
                </a:lnTo>
                <a:lnTo>
                  <a:pt x="46765" y="7951"/>
                </a:lnTo>
              </a:path>
              <a:path w="96429" h="15000">
                <a:moveTo>
                  <a:pt x="46765" y="7951"/>
                </a:moveTo>
                <a:lnTo>
                  <a:pt x="56606" y="9868"/>
                </a:lnTo>
                <a:lnTo>
                  <a:pt x="69041" y="12350"/>
                </a:lnTo>
                <a:lnTo>
                  <a:pt x="77230" y="13628"/>
                </a:lnTo>
                <a:lnTo>
                  <a:pt x="81324" y="14267"/>
                </a:lnTo>
                <a:lnTo>
                  <a:pt x="82181" y="14309"/>
                </a:lnTo>
                <a:lnTo>
                  <a:pt x="96429" y="15000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5" name="object 215"/>
          <p:cNvSpPr/>
          <p:nvPr/>
        </p:nvSpPr>
        <p:spPr>
          <a:xfrm>
            <a:off x="8306231" y="4367807"/>
            <a:ext cx="383965" cy="183958"/>
          </a:xfrm>
          <a:custGeom>
            <a:avLst/>
            <a:gdLst/>
            <a:ahLst/>
            <a:cxnLst/>
            <a:rect l="l" t="t" r="r" b="b"/>
            <a:pathLst>
              <a:path w="383965" h="183958">
                <a:moveTo>
                  <a:pt x="27169" y="176805"/>
                </a:moveTo>
                <a:lnTo>
                  <a:pt x="24183" y="157960"/>
                </a:lnTo>
                <a:lnTo>
                  <a:pt x="29884" y="151991"/>
                </a:lnTo>
                <a:lnTo>
                  <a:pt x="46536" y="134556"/>
                </a:lnTo>
                <a:lnTo>
                  <a:pt x="48596" y="105964"/>
                </a:lnTo>
                <a:lnTo>
                  <a:pt x="75908" y="89836"/>
                </a:lnTo>
                <a:lnTo>
                  <a:pt x="75908" y="66714"/>
                </a:lnTo>
                <a:lnTo>
                  <a:pt x="99786" y="64966"/>
                </a:lnTo>
                <a:lnTo>
                  <a:pt x="122063" y="52164"/>
                </a:lnTo>
                <a:lnTo>
                  <a:pt x="158376" y="68237"/>
                </a:lnTo>
                <a:lnTo>
                  <a:pt x="165853" y="59439"/>
                </a:lnTo>
                <a:lnTo>
                  <a:pt x="187017" y="64492"/>
                </a:lnTo>
                <a:lnTo>
                  <a:pt x="202701" y="68237"/>
                </a:lnTo>
                <a:lnTo>
                  <a:pt x="197621" y="60130"/>
                </a:lnTo>
                <a:lnTo>
                  <a:pt x="192630" y="52164"/>
                </a:lnTo>
                <a:lnTo>
                  <a:pt x="239320" y="71846"/>
                </a:lnTo>
                <a:lnTo>
                  <a:pt x="242284" y="64541"/>
                </a:lnTo>
                <a:lnTo>
                  <a:pt x="244355" y="59439"/>
                </a:lnTo>
                <a:lnTo>
                  <a:pt x="275662" y="74290"/>
                </a:lnTo>
                <a:lnTo>
                  <a:pt x="286085" y="79233"/>
                </a:lnTo>
                <a:lnTo>
                  <a:pt x="307980" y="75511"/>
                </a:lnTo>
                <a:lnTo>
                  <a:pt x="319958" y="95362"/>
                </a:lnTo>
                <a:lnTo>
                  <a:pt x="334834" y="93163"/>
                </a:lnTo>
                <a:lnTo>
                  <a:pt x="346125" y="107036"/>
                </a:lnTo>
                <a:lnTo>
                  <a:pt x="336284" y="132357"/>
                </a:lnTo>
                <a:lnTo>
                  <a:pt x="339640" y="153279"/>
                </a:lnTo>
                <a:lnTo>
                  <a:pt x="348566" y="180348"/>
                </a:lnTo>
                <a:lnTo>
                  <a:pt x="359552" y="180348"/>
                </a:lnTo>
                <a:lnTo>
                  <a:pt x="371072" y="162359"/>
                </a:lnTo>
                <a:lnTo>
                  <a:pt x="378548" y="145553"/>
                </a:lnTo>
                <a:lnTo>
                  <a:pt x="383965" y="120232"/>
                </a:lnTo>
                <a:lnTo>
                  <a:pt x="378548" y="82843"/>
                </a:lnTo>
                <a:lnTo>
                  <a:pt x="359018" y="57240"/>
                </a:lnTo>
                <a:lnTo>
                  <a:pt x="344675" y="41393"/>
                </a:lnTo>
                <a:lnTo>
                  <a:pt x="319958" y="24926"/>
                </a:lnTo>
                <a:lnTo>
                  <a:pt x="283644" y="12519"/>
                </a:lnTo>
                <a:lnTo>
                  <a:pt x="246796" y="5244"/>
                </a:lnTo>
                <a:lnTo>
                  <a:pt x="216659" y="2326"/>
                </a:lnTo>
                <a:lnTo>
                  <a:pt x="192630" y="0"/>
                </a:lnTo>
                <a:lnTo>
                  <a:pt x="165906" y="2852"/>
                </a:lnTo>
                <a:lnTo>
                  <a:pt x="143500" y="5244"/>
                </a:lnTo>
                <a:lnTo>
                  <a:pt x="112742" y="6883"/>
                </a:lnTo>
                <a:lnTo>
                  <a:pt x="83384" y="14042"/>
                </a:lnTo>
                <a:lnTo>
                  <a:pt x="51571" y="28197"/>
                </a:lnTo>
                <a:lnTo>
                  <a:pt x="35120" y="43644"/>
                </a:lnTo>
                <a:lnTo>
                  <a:pt x="24183" y="53912"/>
                </a:lnTo>
                <a:lnTo>
                  <a:pt x="12282" y="70041"/>
                </a:lnTo>
                <a:lnTo>
                  <a:pt x="0" y="102242"/>
                </a:lnTo>
                <a:lnTo>
                  <a:pt x="0" y="162077"/>
                </a:lnTo>
                <a:lnTo>
                  <a:pt x="9841" y="182153"/>
                </a:lnTo>
                <a:lnTo>
                  <a:pt x="17942" y="182945"/>
                </a:lnTo>
                <a:lnTo>
                  <a:pt x="28303" y="183958"/>
                </a:lnTo>
                <a:lnTo>
                  <a:pt x="27169" y="176805"/>
                </a:lnTo>
                <a:close/>
              </a:path>
            </a:pathLst>
          </a:custGeom>
          <a:solidFill>
            <a:srgbClr val="804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6" name="object 216"/>
          <p:cNvSpPr/>
          <p:nvPr/>
        </p:nvSpPr>
        <p:spPr>
          <a:xfrm>
            <a:off x="8306231" y="4367807"/>
            <a:ext cx="383965" cy="183958"/>
          </a:xfrm>
          <a:custGeom>
            <a:avLst/>
            <a:gdLst/>
            <a:ahLst/>
            <a:cxnLst/>
            <a:rect l="l" t="t" r="r" b="b"/>
            <a:pathLst>
              <a:path w="383965" h="183958">
                <a:moveTo>
                  <a:pt x="27169" y="176805"/>
                </a:moveTo>
                <a:lnTo>
                  <a:pt x="24183" y="157960"/>
                </a:lnTo>
                <a:lnTo>
                  <a:pt x="29884" y="151991"/>
                </a:lnTo>
                <a:lnTo>
                  <a:pt x="46536" y="134556"/>
                </a:lnTo>
                <a:lnTo>
                  <a:pt x="48596" y="105964"/>
                </a:lnTo>
              </a:path>
              <a:path w="383965" h="183958">
                <a:moveTo>
                  <a:pt x="48596" y="105964"/>
                </a:moveTo>
                <a:lnTo>
                  <a:pt x="75908" y="89836"/>
                </a:lnTo>
              </a:path>
              <a:path w="383965" h="183958">
                <a:moveTo>
                  <a:pt x="75908" y="89836"/>
                </a:moveTo>
                <a:lnTo>
                  <a:pt x="75908" y="66714"/>
                </a:lnTo>
                <a:lnTo>
                  <a:pt x="99786" y="64966"/>
                </a:lnTo>
                <a:lnTo>
                  <a:pt x="122063" y="52164"/>
                </a:lnTo>
                <a:lnTo>
                  <a:pt x="158376" y="68237"/>
                </a:lnTo>
                <a:lnTo>
                  <a:pt x="165853" y="59439"/>
                </a:lnTo>
              </a:path>
              <a:path w="383965" h="183958">
                <a:moveTo>
                  <a:pt x="165853" y="59439"/>
                </a:moveTo>
                <a:lnTo>
                  <a:pt x="187017" y="64492"/>
                </a:lnTo>
                <a:lnTo>
                  <a:pt x="202701" y="68237"/>
                </a:lnTo>
                <a:lnTo>
                  <a:pt x="197621" y="60130"/>
                </a:lnTo>
                <a:lnTo>
                  <a:pt x="192630" y="52164"/>
                </a:lnTo>
              </a:path>
              <a:path w="383965" h="183958">
                <a:moveTo>
                  <a:pt x="192630" y="52164"/>
                </a:moveTo>
                <a:lnTo>
                  <a:pt x="239320" y="71846"/>
                </a:lnTo>
                <a:lnTo>
                  <a:pt x="242284" y="64541"/>
                </a:lnTo>
                <a:lnTo>
                  <a:pt x="244355" y="59439"/>
                </a:lnTo>
              </a:path>
              <a:path w="383965" h="183958">
                <a:moveTo>
                  <a:pt x="244355" y="59439"/>
                </a:moveTo>
                <a:lnTo>
                  <a:pt x="275662" y="74290"/>
                </a:lnTo>
                <a:lnTo>
                  <a:pt x="286085" y="79233"/>
                </a:lnTo>
                <a:lnTo>
                  <a:pt x="307980" y="75511"/>
                </a:lnTo>
                <a:lnTo>
                  <a:pt x="319958" y="95362"/>
                </a:lnTo>
                <a:lnTo>
                  <a:pt x="334834" y="93163"/>
                </a:lnTo>
              </a:path>
              <a:path w="383965" h="183958">
                <a:moveTo>
                  <a:pt x="334834" y="93163"/>
                </a:moveTo>
                <a:lnTo>
                  <a:pt x="346125" y="107036"/>
                </a:lnTo>
                <a:lnTo>
                  <a:pt x="336284" y="132357"/>
                </a:lnTo>
                <a:lnTo>
                  <a:pt x="339640" y="153279"/>
                </a:lnTo>
                <a:lnTo>
                  <a:pt x="348566" y="180348"/>
                </a:lnTo>
                <a:lnTo>
                  <a:pt x="359552" y="180348"/>
                </a:lnTo>
                <a:lnTo>
                  <a:pt x="371072" y="162359"/>
                </a:lnTo>
                <a:lnTo>
                  <a:pt x="378548" y="145553"/>
                </a:lnTo>
              </a:path>
              <a:path w="383965" h="183958">
                <a:moveTo>
                  <a:pt x="378548" y="145553"/>
                </a:moveTo>
                <a:lnTo>
                  <a:pt x="383965" y="120232"/>
                </a:lnTo>
                <a:lnTo>
                  <a:pt x="378548" y="82843"/>
                </a:lnTo>
              </a:path>
              <a:path w="383965" h="183958">
                <a:moveTo>
                  <a:pt x="378548" y="82843"/>
                </a:moveTo>
                <a:lnTo>
                  <a:pt x="359018" y="57240"/>
                </a:lnTo>
                <a:lnTo>
                  <a:pt x="344675" y="41393"/>
                </a:lnTo>
                <a:lnTo>
                  <a:pt x="319958" y="24926"/>
                </a:lnTo>
                <a:lnTo>
                  <a:pt x="283644" y="12519"/>
                </a:lnTo>
                <a:lnTo>
                  <a:pt x="246796" y="5244"/>
                </a:lnTo>
                <a:lnTo>
                  <a:pt x="216659" y="2326"/>
                </a:lnTo>
                <a:lnTo>
                  <a:pt x="192630" y="0"/>
                </a:lnTo>
                <a:lnTo>
                  <a:pt x="165906" y="2852"/>
                </a:lnTo>
                <a:lnTo>
                  <a:pt x="143500" y="5244"/>
                </a:lnTo>
                <a:lnTo>
                  <a:pt x="112742" y="6883"/>
                </a:lnTo>
                <a:lnTo>
                  <a:pt x="83384" y="14042"/>
                </a:lnTo>
                <a:lnTo>
                  <a:pt x="51571" y="28197"/>
                </a:lnTo>
                <a:lnTo>
                  <a:pt x="35120" y="43644"/>
                </a:lnTo>
                <a:lnTo>
                  <a:pt x="24183" y="53912"/>
                </a:lnTo>
                <a:lnTo>
                  <a:pt x="12282" y="70041"/>
                </a:lnTo>
                <a:lnTo>
                  <a:pt x="0" y="102242"/>
                </a:lnTo>
                <a:lnTo>
                  <a:pt x="0" y="138165"/>
                </a:lnTo>
              </a:path>
              <a:path w="383965" h="183958">
                <a:moveTo>
                  <a:pt x="9841" y="182153"/>
                </a:moveTo>
                <a:lnTo>
                  <a:pt x="17942" y="182945"/>
                </a:lnTo>
                <a:lnTo>
                  <a:pt x="28303" y="183958"/>
                </a:lnTo>
                <a:lnTo>
                  <a:pt x="27169" y="176805"/>
                </a:lnTo>
              </a:path>
              <a:path w="383965" h="183958">
                <a:moveTo>
                  <a:pt x="0" y="138165"/>
                </a:moveTo>
                <a:lnTo>
                  <a:pt x="0" y="162077"/>
                </a:lnTo>
                <a:lnTo>
                  <a:pt x="9841" y="182153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7" name="object 217"/>
          <p:cNvSpPr/>
          <p:nvPr/>
        </p:nvSpPr>
        <p:spPr>
          <a:xfrm>
            <a:off x="8628552" y="4758845"/>
            <a:ext cx="405936" cy="319163"/>
          </a:xfrm>
          <a:custGeom>
            <a:avLst/>
            <a:gdLst/>
            <a:ahLst/>
            <a:cxnLst/>
            <a:rect l="l" t="t" r="r" b="b"/>
            <a:pathLst>
              <a:path w="405936" h="319163">
                <a:moveTo>
                  <a:pt x="300476" y="316463"/>
                </a:moveTo>
                <a:lnTo>
                  <a:pt x="308972" y="315170"/>
                </a:lnTo>
                <a:lnTo>
                  <a:pt x="334968" y="310236"/>
                </a:lnTo>
                <a:lnTo>
                  <a:pt x="342310" y="308843"/>
                </a:lnTo>
                <a:lnTo>
                  <a:pt x="366113" y="299351"/>
                </a:lnTo>
                <a:lnTo>
                  <a:pt x="392509" y="285456"/>
                </a:lnTo>
                <a:lnTo>
                  <a:pt x="401816" y="269355"/>
                </a:lnTo>
                <a:lnTo>
                  <a:pt x="403876" y="260552"/>
                </a:lnTo>
                <a:lnTo>
                  <a:pt x="405936" y="251743"/>
                </a:lnTo>
                <a:lnTo>
                  <a:pt x="403151" y="236336"/>
                </a:lnTo>
                <a:lnTo>
                  <a:pt x="400367" y="220930"/>
                </a:lnTo>
                <a:lnTo>
                  <a:pt x="392509" y="203318"/>
                </a:lnTo>
                <a:lnTo>
                  <a:pt x="383965" y="187634"/>
                </a:lnTo>
                <a:lnTo>
                  <a:pt x="374246" y="175190"/>
                </a:lnTo>
                <a:lnTo>
                  <a:pt x="368173" y="167411"/>
                </a:lnTo>
                <a:lnTo>
                  <a:pt x="353999" y="154282"/>
                </a:lnTo>
                <a:lnTo>
                  <a:pt x="351236" y="151723"/>
                </a:lnTo>
                <a:lnTo>
                  <a:pt x="348013" y="148421"/>
                </a:lnTo>
                <a:lnTo>
                  <a:pt x="338343" y="138515"/>
                </a:lnTo>
                <a:lnTo>
                  <a:pt x="331272" y="131912"/>
                </a:lnTo>
                <a:lnTo>
                  <a:pt x="319042" y="120491"/>
                </a:lnTo>
                <a:lnTo>
                  <a:pt x="287330" y="97389"/>
                </a:lnTo>
                <a:lnTo>
                  <a:pt x="264266" y="80587"/>
                </a:lnTo>
                <a:lnTo>
                  <a:pt x="224024" y="53179"/>
                </a:lnTo>
                <a:lnTo>
                  <a:pt x="200259" y="36994"/>
                </a:lnTo>
                <a:lnTo>
                  <a:pt x="172723" y="18187"/>
                </a:lnTo>
                <a:lnTo>
                  <a:pt x="146094" y="0"/>
                </a:lnTo>
                <a:lnTo>
                  <a:pt x="123207" y="16467"/>
                </a:lnTo>
                <a:lnTo>
                  <a:pt x="91394" y="33667"/>
                </a:lnTo>
                <a:lnTo>
                  <a:pt x="70065" y="36994"/>
                </a:lnTo>
                <a:lnTo>
                  <a:pt x="27769" y="43592"/>
                </a:lnTo>
                <a:lnTo>
                  <a:pt x="0" y="49796"/>
                </a:lnTo>
                <a:lnTo>
                  <a:pt x="18462" y="76865"/>
                </a:lnTo>
                <a:lnTo>
                  <a:pt x="55081" y="124208"/>
                </a:lnTo>
                <a:lnTo>
                  <a:pt x="77433" y="164518"/>
                </a:lnTo>
                <a:lnTo>
                  <a:pt x="107186" y="215837"/>
                </a:lnTo>
                <a:lnTo>
                  <a:pt x="120146" y="235720"/>
                </a:lnTo>
                <a:lnTo>
                  <a:pt x="132743" y="255048"/>
                </a:lnTo>
                <a:lnTo>
                  <a:pt x="142585" y="267156"/>
                </a:lnTo>
                <a:lnTo>
                  <a:pt x="156929" y="282656"/>
                </a:lnTo>
                <a:lnTo>
                  <a:pt x="164387" y="288800"/>
                </a:lnTo>
                <a:lnTo>
                  <a:pt x="174931" y="296047"/>
                </a:lnTo>
                <a:lnTo>
                  <a:pt x="183884" y="300039"/>
                </a:lnTo>
                <a:lnTo>
                  <a:pt x="196216" y="305538"/>
                </a:lnTo>
                <a:lnTo>
                  <a:pt x="216128" y="312559"/>
                </a:lnTo>
                <a:lnTo>
                  <a:pt x="236955" y="315858"/>
                </a:lnTo>
                <a:lnTo>
                  <a:pt x="256866" y="317369"/>
                </a:lnTo>
                <a:lnTo>
                  <a:pt x="282728" y="319163"/>
                </a:lnTo>
                <a:lnTo>
                  <a:pt x="300476" y="316463"/>
                </a:lnTo>
                <a:close/>
              </a:path>
            </a:pathLst>
          </a:custGeom>
          <a:solidFill>
            <a:srgbClr val="C0C0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8" name="object 218"/>
          <p:cNvSpPr/>
          <p:nvPr/>
        </p:nvSpPr>
        <p:spPr>
          <a:xfrm>
            <a:off x="8628552" y="4758845"/>
            <a:ext cx="405936" cy="319163"/>
          </a:xfrm>
          <a:custGeom>
            <a:avLst/>
            <a:gdLst/>
            <a:ahLst/>
            <a:cxnLst/>
            <a:rect l="l" t="t" r="r" b="b"/>
            <a:pathLst>
              <a:path w="405936" h="319163">
                <a:moveTo>
                  <a:pt x="300476" y="316463"/>
                </a:moveTo>
                <a:lnTo>
                  <a:pt x="308972" y="315170"/>
                </a:lnTo>
                <a:lnTo>
                  <a:pt x="334968" y="310236"/>
                </a:lnTo>
                <a:lnTo>
                  <a:pt x="342310" y="308843"/>
                </a:lnTo>
                <a:lnTo>
                  <a:pt x="366113" y="299351"/>
                </a:lnTo>
                <a:lnTo>
                  <a:pt x="392509" y="285456"/>
                </a:lnTo>
                <a:lnTo>
                  <a:pt x="401816" y="269355"/>
                </a:lnTo>
                <a:lnTo>
                  <a:pt x="403876" y="260552"/>
                </a:lnTo>
                <a:lnTo>
                  <a:pt x="405936" y="251743"/>
                </a:lnTo>
                <a:lnTo>
                  <a:pt x="403151" y="236336"/>
                </a:lnTo>
                <a:lnTo>
                  <a:pt x="400367" y="220930"/>
                </a:lnTo>
                <a:lnTo>
                  <a:pt x="392509" y="203318"/>
                </a:lnTo>
                <a:lnTo>
                  <a:pt x="383965" y="187634"/>
                </a:lnTo>
                <a:lnTo>
                  <a:pt x="374246" y="175190"/>
                </a:lnTo>
                <a:lnTo>
                  <a:pt x="368173" y="167411"/>
                </a:lnTo>
                <a:lnTo>
                  <a:pt x="353999" y="154282"/>
                </a:lnTo>
                <a:lnTo>
                  <a:pt x="351236" y="151723"/>
                </a:lnTo>
                <a:lnTo>
                  <a:pt x="348013" y="148421"/>
                </a:lnTo>
                <a:lnTo>
                  <a:pt x="338343" y="138515"/>
                </a:lnTo>
                <a:lnTo>
                  <a:pt x="331272" y="131912"/>
                </a:lnTo>
                <a:lnTo>
                  <a:pt x="319042" y="120491"/>
                </a:lnTo>
                <a:lnTo>
                  <a:pt x="287330" y="97389"/>
                </a:lnTo>
                <a:lnTo>
                  <a:pt x="264266" y="80587"/>
                </a:lnTo>
                <a:lnTo>
                  <a:pt x="224024" y="53179"/>
                </a:lnTo>
                <a:lnTo>
                  <a:pt x="200259" y="36994"/>
                </a:lnTo>
                <a:lnTo>
                  <a:pt x="172723" y="18187"/>
                </a:lnTo>
                <a:lnTo>
                  <a:pt x="146094" y="0"/>
                </a:lnTo>
                <a:lnTo>
                  <a:pt x="123207" y="16467"/>
                </a:lnTo>
              </a:path>
              <a:path w="405936" h="319163">
                <a:moveTo>
                  <a:pt x="123207" y="16467"/>
                </a:moveTo>
                <a:lnTo>
                  <a:pt x="91394" y="33667"/>
                </a:lnTo>
                <a:lnTo>
                  <a:pt x="70065" y="36994"/>
                </a:lnTo>
                <a:lnTo>
                  <a:pt x="27769" y="43592"/>
                </a:lnTo>
                <a:lnTo>
                  <a:pt x="0" y="49796"/>
                </a:lnTo>
                <a:lnTo>
                  <a:pt x="18462" y="76865"/>
                </a:lnTo>
                <a:lnTo>
                  <a:pt x="55081" y="124208"/>
                </a:lnTo>
                <a:lnTo>
                  <a:pt x="77433" y="164518"/>
                </a:lnTo>
                <a:lnTo>
                  <a:pt x="107186" y="215837"/>
                </a:lnTo>
                <a:lnTo>
                  <a:pt x="120146" y="235720"/>
                </a:lnTo>
                <a:lnTo>
                  <a:pt x="132743" y="255048"/>
                </a:lnTo>
                <a:lnTo>
                  <a:pt x="142585" y="267156"/>
                </a:lnTo>
                <a:lnTo>
                  <a:pt x="156929" y="282656"/>
                </a:lnTo>
                <a:lnTo>
                  <a:pt x="164387" y="288800"/>
                </a:lnTo>
                <a:lnTo>
                  <a:pt x="174931" y="296047"/>
                </a:lnTo>
                <a:lnTo>
                  <a:pt x="183884" y="300039"/>
                </a:lnTo>
                <a:lnTo>
                  <a:pt x="196216" y="305538"/>
                </a:lnTo>
                <a:lnTo>
                  <a:pt x="216128" y="312559"/>
                </a:lnTo>
                <a:lnTo>
                  <a:pt x="236955" y="315858"/>
                </a:lnTo>
                <a:lnTo>
                  <a:pt x="256866" y="317369"/>
                </a:lnTo>
                <a:lnTo>
                  <a:pt x="282728" y="319163"/>
                </a:lnTo>
                <a:lnTo>
                  <a:pt x="300476" y="316463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9" name="object 219"/>
          <p:cNvSpPr/>
          <p:nvPr/>
        </p:nvSpPr>
        <p:spPr>
          <a:xfrm>
            <a:off x="8623134" y="4751118"/>
            <a:ext cx="247406" cy="152433"/>
          </a:xfrm>
          <a:custGeom>
            <a:avLst/>
            <a:gdLst/>
            <a:ahLst/>
            <a:cxnLst/>
            <a:rect l="l" t="t" r="r" b="b"/>
            <a:pathLst>
              <a:path w="247406" h="152433">
                <a:moveTo>
                  <a:pt x="79875" y="148446"/>
                </a:moveTo>
                <a:lnTo>
                  <a:pt x="108178" y="144042"/>
                </a:lnTo>
                <a:lnTo>
                  <a:pt x="129701" y="139408"/>
                </a:lnTo>
                <a:lnTo>
                  <a:pt x="142051" y="136750"/>
                </a:lnTo>
                <a:lnTo>
                  <a:pt x="169362" y="128217"/>
                </a:lnTo>
                <a:lnTo>
                  <a:pt x="193775" y="119550"/>
                </a:lnTo>
                <a:lnTo>
                  <a:pt x="209900" y="112148"/>
                </a:lnTo>
                <a:lnTo>
                  <a:pt x="224519" y="101509"/>
                </a:lnTo>
                <a:lnTo>
                  <a:pt x="231958" y="95672"/>
                </a:lnTo>
                <a:lnTo>
                  <a:pt x="239396" y="89836"/>
                </a:lnTo>
                <a:lnTo>
                  <a:pt x="245881" y="77711"/>
                </a:lnTo>
                <a:lnTo>
                  <a:pt x="247317" y="67361"/>
                </a:lnTo>
                <a:lnTo>
                  <a:pt x="247406" y="66714"/>
                </a:lnTo>
                <a:lnTo>
                  <a:pt x="209532" y="38787"/>
                </a:lnTo>
                <a:lnTo>
                  <a:pt x="156927" y="0"/>
                </a:lnTo>
                <a:lnTo>
                  <a:pt x="142585" y="14324"/>
                </a:lnTo>
                <a:lnTo>
                  <a:pt x="129896" y="22363"/>
                </a:lnTo>
                <a:lnTo>
                  <a:pt x="113747" y="32595"/>
                </a:lnTo>
                <a:lnTo>
                  <a:pt x="81400" y="42916"/>
                </a:lnTo>
                <a:lnTo>
                  <a:pt x="64998" y="46920"/>
                </a:lnTo>
                <a:lnTo>
                  <a:pt x="40586" y="50190"/>
                </a:lnTo>
                <a:lnTo>
                  <a:pt x="23592" y="52686"/>
                </a:lnTo>
                <a:lnTo>
                  <a:pt x="17928" y="53518"/>
                </a:lnTo>
                <a:lnTo>
                  <a:pt x="0" y="53518"/>
                </a:lnTo>
                <a:lnTo>
                  <a:pt x="60497" y="152433"/>
                </a:lnTo>
                <a:lnTo>
                  <a:pt x="79875" y="14844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0" name="object 220"/>
          <p:cNvSpPr/>
          <p:nvPr/>
        </p:nvSpPr>
        <p:spPr>
          <a:xfrm>
            <a:off x="8623134" y="4751118"/>
            <a:ext cx="247406" cy="152433"/>
          </a:xfrm>
          <a:custGeom>
            <a:avLst/>
            <a:gdLst/>
            <a:ahLst/>
            <a:cxnLst/>
            <a:rect l="l" t="t" r="r" b="b"/>
            <a:pathLst>
              <a:path w="247406" h="152433">
                <a:moveTo>
                  <a:pt x="79875" y="148446"/>
                </a:moveTo>
                <a:lnTo>
                  <a:pt x="108178" y="144042"/>
                </a:lnTo>
                <a:lnTo>
                  <a:pt x="129701" y="139408"/>
                </a:lnTo>
                <a:lnTo>
                  <a:pt x="142051" y="136750"/>
                </a:lnTo>
                <a:lnTo>
                  <a:pt x="169362" y="128217"/>
                </a:lnTo>
                <a:lnTo>
                  <a:pt x="193775" y="119550"/>
                </a:lnTo>
                <a:lnTo>
                  <a:pt x="209900" y="112148"/>
                </a:lnTo>
                <a:lnTo>
                  <a:pt x="224519" y="101509"/>
                </a:lnTo>
                <a:lnTo>
                  <a:pt x="231958" y="95672"/>
                </a:lnTo>
                <a:lnTo>
                  <a:pt x="239396" y="89836"/>
                </a:lnTo>
                <a:lnTo>
                  <a:pt x="245881" y="77711"/>
                </a:lnTo>
                <a:lnTo>
                  <a:pt x="247317" y="67361"/>
                </a:lnTo>
                <a:lnTo>
                  <a:pt x="247406" y="66714"/>
                </a:lnTo>
                <a:lnTo>
                  <a:pt x="209532" y="38787"/>
                </a:lnTo>
                <a:lnTo>
                  <a:pt x="156927" y="0"/>
                </a:lnTo>
                <a:lnTo>
                  <a:pt x="142585" y="14324"/>
                </a:lnTo>
                <a:lnTo>
                  <a:pt x="129896" y="22363"/>
                </a:lnTo>
                <a:lnTo>
                  <a:pt x="113747" y="32595"/>
                </a:lnTo>
                <a:lnTo>
                  <a:pt x="81400" y="42916"/>
                </a:lnTo>
                <a:lnTo>
                  <a:pt x="64998" y="46920"/>
                </a:lnTo>
                <a:lnTo>
                  <a:pt x="40586" y="50190"/>
                </a:lnTo>
                <a:lnTo>
                  <a:pt x="23592" y="52686"/>
                </a:lnTo>
                <a:lnTo>
                  <a:pt x="17928" y="53518"/>
                </a:lnTo>
                <a:lnTo>
                  <a:pt x="0" y="53518"/>
                </a:lnTo>
                <a:lnTo>
                  <a:pt x="60497" y="152433"/>
                </a:lnTo>
                <a:lnTo>
                  <a:pt x="79875" y="148446"/>
                </a:lnTo>
              </a:path>
            </a:pathLst>
          </a:custGeom>
          <a:ln w="66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1" name="object 221"/>
          <p:cNvSpPr/>
          <p:nvPr/>
        </p:nvSpPr>
        <p:spPr>
          <a:xfrm>
            <a:off x="7880993" y="4654403"/>
            <a:ext cx="199648" cy="128240"/>
          </a:xfrm>
          <a:custGeom>
            <a:avLst/>
            <a:gdLst/>
            <a:ahLst/>
            <a:cxnLst/>
            <a:rect l="l" t="t" r="r" b="b"/>
            <a:pathLst>
              <a:path w="199649" h="128240">
                <a:moveTo>
                  <a:pt x="125997" y="127113"/>
                </a:moveTo>
                <a:lnTo>
                  <a:pt x="133964" y="126435"/>
                </a:lnTo>
                <a:lnTo>
                  <a:pt x="157780" y="125269"/>
                </a:lnTo>
                <a:lnTo>
                  <a:pt x="170812" y="124631"/>
                </a:lnTo>
                <a:lnTo>
                  <a:pt x="199649" y="117638"/>
                </a:lnTo>
                <a:lnTo>
                  <a:pt x="195224" y="92035"/>
                </a:lnTo>
                <a:lnTo>
                  <a:pt x="186523" y="57127"/>
                </a:lnTo>
                <a:lnTo>
                  <a:pt x="182713" y="41844"/>
                </a:lnTo>
                <a:lnTo>
                  <a:pt x="181685" y="38758"/>
                </a:lnTo>
                <a:lnTo>
                  <a:pt x="180272" y="34513"/>
                </a:lnTo>
                <a:lnTo>
                  <a:pt x="176501" y="35753"/>
                </a:lnTo>
                <a:lnTo>
                  <a:pt x="153875" y="43197"/>
                </a:lnTo>
                <a:lnTo>
                  <a:pt x="146290" y="45281"/>
                </a:lnTo>
                <a:lnTo>
                  <a:pt x="133964" y="48668"/>
                </a:lnTo>
                <a:lnTo>
                  <a:pt x="118172" y="50190"/>
                </a:lnTo>
                <a:lnTo>
                  <a:pt x="100854" y="50190"/>
                </a:lnTo>
                <a:lnTo>
                  <a:pt x="82392" y="43197"/>
                </a:lnTo>
                <a:lnTo>
                  <a:pt x="78242" y="40854"/>
                </a:lnTo>
                <a:lnTo>
                  <a:pt x="71406" y="36994"/>
                </a:lnTo>
                <a:lnTo>
                  <a:pt x="65250" y="33100"/>
                </a:lnTo>
                <a:lnTo>
                  <a:pt x="64006" y="32313"/>
                </a:lnTo>
                <a:lnTo>
                  <a:pt x="61726" y="29369"/>
                </a:lnTo>
                <a:lnTo>
                  <a:pt x="58590" y="25321"/>
                </a:lnTo>
                <a:lnTo>
                  <a:pt x="55748" y="21398"/>
                </a:lnTo>
                <a:lnTo>
                  <a:pt x="51113" y="15000"/>
                </a:lnTo>
                <a:lnTo>
                  <a:pt x="47070" y="10602"/>
                </a:lnTo>
                <a:lnTo>
                  <a:pt x="38678" y="0"/>
                </a:lnTo>
                <a:lnTo>
                  <a:pt x="24336" y="19794"/>
                </a:lnTo>
                <a:lnTo>
                  <a:pt x="14266" y="32595"/>
                </a:lnTo>
                <a:lnTo>
                  <a:pt x="4424" y="52841"/>
                </a:lnTo>
                <a:lnTo>
                  <a:pt x="1542" y="62614"/>
                </a:lnTo>
                <a:lnTo>
                  <a:pt x="0" y="67842"/>
                </a:lnTo>
                <a:lnTo>
                  <a:pt x="5349" y="74763"/>
                </a:lnTo>
                <a:lnTo>
                  <a:pt x="11901" y="83237"/>
                </a:lnTo>
                <a:lnTo>
                  <a:pt x="29218" y="96716"/>
                </a:lnTo>
                <a:lnTo>
                  <a:pt x="49130" y="110307"/>
                </a:lnTo>
                <a:lnTo>
                  <a:pt x="53239" y="111967"/>
                </a:lnTo>
                <a:lnTo>
                  <a:pt x="75374" y="120909"/>
                </a:lnTo>
                <a:lnTo>
                  <a:pt x="112755" y="128240"/>
                </a:lnTo>
                <a:lnTo>
                  <a:pt x="125997" y="12711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2" name="object 222"/>
          <p:cNvSpPr/>
          <p:nvPr/>
        </p:nvSpPr>
        <p:spPr>
          <a:xfrm>
            <a:off x="7880993" y="4654403"/>
            <a:ext cx="199648" cy="128240"/>
          </a:xfrm>
          <a:custGeom>
            <a:avLst/>
            <a:gdLst/>
            <a:ahLst/>
            <a:cxnLst/>
            <a:rect l="l" t="t" r="r" b="b"/>
            <a:pathLst>
              <a:path w="199649" h="128240">
                <a:moveTo>
                  <a:pt x="125997" y="127113"/>
                </a:moveTo>
                <a:lnTo>
                  <a:pt x="133964" y="126435"/>
                </a:lnTo>
                <a:lnTo>
                  <a:pt x="157780" y="125269"/>
                </a:lnTo>
                <a:lnTo>
                  <a:pt x="170812" y="124631"/>
                </a:lnTo>
                <a:lnTo>
                  <a:pt x="199649" y="117638"/>
                </a:lnTo>
                <a:lnTo>
                  <a:pt x="195224" y="92035"/>
                </a:lnTo>
                <a:lnTo>
                  <a:pt x="186523" y="57127"/>
                </a:lnTo>
                <a:lnTo>
                  <a:pt x="182713" y="41844"/>
                </a:lnTo>
                <a:lnTo>
                  <a:pt x="181685" y="38758"/>
                </a:lnTo>
                <a:lnTo>
                  <a:pt x="180272" y="34513"/>
                </a:lnTo>
                <a:lnTo>
                  <a:pt x="176501" y="35753"/>
                </a:lnTo>
                <a:lnTo>
                  <a:pt x="153875" y="43197"/>
                </a:lnTo>
                <a:lnTo>
                  <a:pt x="146290" y="45281"/>
                </a:lnTo>
                <a:lnTo>
                  <a:pt x="133964" y="48668"/>
                </a:lnTo>
                <a:lnTo>
                  <a:pt x="118172" y="50190"/>
                </a:lnTo>
                <a:lnTo>
                  <a:pt x="100854" y="50190"/>
                </a:lnTo>
                <a:lnTo>
                  <a:pt x="82392" y="43197"/>
                </a:lnTo>
                <a:lnTo>
                  <a:pt x="78242" y="40854"/>
                </a:lnTo>
                <a:lnTo>
                  <a:pt x="71406" y="36994"/>
                </a:lnTo>
                <a:lnTo>
                  <a:pt x="65250" y="33100"/>
                </a:lnTo>
                <a:lnTo>
                  <a:pt x="64006" y="32313"/>
                </a:lnTo>
                <a:lnTo>
                  <a:pt x="61726" y="29369"/>
                </a:lnTo>
                <a:lnTo>
                  <a:pt x="58590" y="25321"/>
                </a:lnTo>
                <a:lnTo>
                  <a:pt x="55748" y="21398"/>
                </a:lnTo>
                <a:lnTo>
                  <a:pt x="51113" y="15000"/>
                </a:lnTo>
                <a:lnTo>
                  <a:pt x="47070" y="10602"/>
                </a:lnTo>
                <a:lnTo>
                  <a:pt x="38678" y="0"/>
                </a:lnTo>
                <a:lnTo>
                  <a:pt x="24336" y="19794"/>
                </a:lnTo>
                <a:lnTo>
                  <a:pt x="14266" y="32595"/>
                </a:lnTo>
                <a:lnTo>
                  <a:pt x="4424" y="52841"/>
                </a:lnTo>
                <a:lnTo>
                  <a:pt x="1542" y="62614"/>
                </a:lnTo>
                <a:lnTo>
                  <a:pt x="0" y="67842"/>
                </a:lnTo>
                <a:lnTo>
                  <a:pt x="5349" y="74763"/>
                </a:lnTo>
                <a:lnTo>
                  <a:pt x="11901" y="83237"/>
                </a:lnTo>
                <a:lnTo>
                  <a:pt x="29218" y="96716"/>
                </a:lnTo>
                <a:lnTo>
                  <a:pt x="49130" y="110307"/>
                </a:lnTo>
                <a:lnTo>
                  <a:pt x="53239" y="111967"/>
                </a:lnTo>
                <a:lnTo>
                  <a:pt x="75374" y="120909"/>
                </a:lnTo>
                <a:lnTo>
                  <a:pt x="112755" y="128240"/>
                </a:lnTo>
                <a:lnTo>
                  <a:pt x="125997" y="127113"/>
                </a:lnTo>
              </a:path>
            </a:pathLst>
          </a:custGeom>
          <a:ln w="667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3" name="object 223"/>
          <p:cNvSpPr/>
          <p:nvPr/>
        </p:nvSpPr>
        <p:spPr>
          <a:xfrm>
            <a:off x="7927145" y="4570206"/>
            <a:ext cx="131142" cy="135515"/>
          </a:xfrm>
          <a:custGeom>
            <a:avLst/>
            <a:gdLst/>
            <a:ahLst/>
            <a:cxnLst/>
            <a:rect l="l" t="t" r="r" b="b"/>
            <a:pathLst>
              <a:path w="131141" h="135515">
                <a:moveTo>
                  <a:pt x="80147" y="133644"/>
                </a:moveTo>
                <a:lnTo>
                  <a:pt x="87427" y="132639"/>
                </a:lnTo>
                <a:lnTo>
                  <a:pt x="96735" y="129593"/>
                </a:lnTo>
                <a:lnTo>
                  <a:pt x="112755" y="122995"/>
                </a:lnTo>
                <a:lnTo>
                  <a:pt x="120155" y="116115"/>
                </a:lnTo>
                <a:lnTo>
                  <a:pt x="127697" y="107791"/>
                </a:lnTo>
                <a:lnTo>
                  <a:pt x="131141" y="103990"/>
                </a:lnTo>
                <a:lnTo>
                  <a:pt x="122215" y="51600"/>
                </a:lnTo>
                <a:lnTo>
                  <a:pt x="29218" y="0"/>
                </a:lnTo>
                <a:lnTo>
                  <a:pt x="14876" y="22952"/>
                </a:lnTo>
                <a:lnTo>
                  <a:pt x="9917" y="30311"/>
                </a:lnTo>
                <a:lnTo>
                  <a:pt x="4958" y="37671"/>
                </a:lnTo>
                <a:lnTo>
                  <a:pt x="4958" y="50472"/>
                </a:lnTo>
                <a:lnTo>
                  <a:pt x="1933" y="58970"/>
                </a:lnTo>
                <a:lnTo>
                  <a:pt x="0" y="64402"/>
                </a:lnTo>
                <a:lnTo>
                  <a:pt x="0" y="77316"/>
                </a:lnTo>
                <a:lnTo>
                  <a:pt x="1652" y="83206"/>
                </a:lnTo>
                <a:lnTo>
                  <a:pt x="2975" y="87918"/>
                </a:lnTo>
                <a:lnTo>
                  <a:pt x="4729" y="92655"/>
                </a:lnTo>
                <a:lnTo>
                  <a:pt x="6484" y="97392"/>
                </a:lnTo>
                <a:lnTo>
                  <a:pt x="9841" y="106867"/>
                </a:lnTo>
                <a:lnTo>
                  <a:pt x="20216" y="118991"/>
                </a:lnTo>
                <a:lnTo>
                  <a:pt x="39823" y="128917"/>
                </a:lnTo>
                <a:lnTo>
                  <a:pt x="53173" y="133992"/>
                </a:lnTo>
                <a:lnTo>
                  <a:pt x="63881" y="135206"/>
                </a:lnTo>
                <a:lnTo>
                  <a:pt x="66600" y="135515"/>
                </a:lnTo>
                <a:lnTo>
                  <a:pt x="80147" y="133644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4" name="object 224"/>
          <p:cNvSpPr/>
          <p:nvPr/>
        </p:nvSpPr>
        <p:spPr>
          <a:xfrm>
            <a:off x="7927145" y="4570206"/>
            <a:ext cx="131142" cy="135515"/>
          </a:xfrm>
          <a:custGeom>
            <a:avLst/>
            <a:gdLst/>
            <a:ahLst/>
            <a:cxnLst/>
            <a:rect l="l" t="t" r="r" b="b"/>
            <a:pathLst>
              <a:path w="131141" h="135515">
                <a:moveTo>
                  <a:pt x="80147" y="133644"/>
                </a:moveTo>
                <a:lnTo>
                  <a:pt x="87427" y="132639"/>
                </a:lnTo>
                <a:lnTo>
                  <a:pt x="96735" y="129593"/>
                </a:lnTo>
                <a:lnTo>
                  <a:pt x="112755" y="122995"/>
                </a:lnTo>
                <a:lnTo>
                  <a:pt x="120155" y="116115"/>
                </a:lnTo>
                <a:lnTo>
                  <a:pt x="127697" y="107791"/>
                </a:lnTo>
                <a:lnTo>
                  <a:pt x="131141" y="103990"/>
                </a:lnTo>
                <a:lnTo>
                  <a:pt x="122215" y="51600"/>
                </a:lnTo>
                <a:lnTo>
                  <a:pt x="29218" y="0"/>
                </a:lnTo>
                <a:lnTo>
                  <a:pt x="14876" y="22952"/>
                </a:lnTo>
                <a:lnTo>
                  <a:pt x="9917" y="30311"/>
                </a:lnTo>
                <a:lnTo>
                  <a:pt x="4958" y="37671"/>
                </a:lnTo>
                <a:lnTo>
                  <a:pt x="4958" y="50472"/>
                </a:lnTo>
                <a:lnTo>
                  <a:pt x="1933" y="58970"/>
                </a:lnTo>
                <a:lnTo>
                  <a:pt x="0" y="64402"/>
                </a:lnTo>
                <a:lnTo>
                  <a:pt x="0" y="77316"/>
                </a:lnTo>
                <a:lnTo>
                  <a:pt x="1652" y="83206"/>
                </a:lnTo>
                <a:lnTo>
                  <a:pt x="2975" y="87918"/>
                </a:lnTo>
                <a:lnTo>
                  <a:pt x="4729" y="92655"/>
                </a:lnTo>
                <a:lnTo>
                  <a:pt x="6484" y="97392"/>
                </a:lnTo>
                <a:lnTo>
                  <a:pt x="9841" y="106867"/>
                </a:lnTo>
                <a:lnTo>
                  <a:pt x="20216" y="118991"/>
                </a:lnTo>
                <a:lnTo>
                  <a:pt x="39823" y="128917"/>
                </a:lnTo>
                <a:lnTo>
                  <a:pt x="53173" y="133992"/>
                </a:lnTo>
                <a:lnTo>
                  <a:pt x="63881" y="135206"/>
                </a:lnTo>
                <a:lnTo>
                  <a:pt x="66600" y="135515"/>
                </a:lnTo>
                <a:lnTo>
                  <a:pt x="80147" y="133644"/>
                </a:lnTo>
              </a:path>
            </a:pathLst>
          </a:custGeom>
          <a:ln w="7156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5" name="object 225"/>
          <p:cNvSpPr/>
          <p:nvPr/>
        </p:nvSpPr>
        <p:spPr>
          <a:xfrm>
            <a:off x="7953315" y="4540768"/>
            <a:ext cx="57751" cy="143748"/>
          </a:xfrm>
          <a:custGeom>
            <a:avLst/>
            <a:gdLst/>
            <a:ahLst/>
            <a:cxnLst/>
            <a:rect l="l" t="t" r="r" b="b"/>
            <a:pathLst>
              <a:path w="57751" h="143748">
                <a:moveTo>
                  <a:pt x="50048" y="127645"/>
                </a:moveTo>
                <a:lnTo>
                  <a:pt x="57751" y="107825"/>
                </a:lnTo>
                <a:lnTo>
                  <a:pt x="41709" y="58105"/>
                </a:lnTo>
                <a:lnTo>
                  <a:pt x="22963" y="0"/>
                </a:lnTo>
                <a:lnTo>
                  <a:pt x="0" y="10714"/>
                </a:lnTo>
                <a:lnTo>
                  <a:pt x="18577" y="67151"/>
                </a:lnTo>
                <a:lnTo>
                  <a:pt x="43790" y="143748"/>
                </a:lnTo>
                <a:lnTo>
                  <a:pt x="50048" y="127645"/>
                </a:lnTo>
                <a:close/>
              </a:path>
            </a:pathLst>
          </a:custGeom>
          <a:solidFill>
            <a:srgbClr val="C0C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6" name="object 226"/>
          <p:cNvSpPr/>
          <p:nvPr/>
        </p:nvSpPr>
        <p:spPr>
          <a:xfrm>
            <a:off x="7953315" y="4540768"/>
            <a:ext cx="57751" cy="143748"/>
          </a:xfrm>
          <a:custGeom>
            <a:avLst/>
            <a:gdLst/>
            <a:ahLst/>
            <a:cxnLst/>
            <a:rect l="l" t="t" r="r" b="b"/>
            <a:pathLst>
              <a:path w="57751" h="143748">
                <a:moveTo>
                  <a:pt x="50048" y="127645"/>
                </a:moveTo>
                <a:lnTo>
                  <a:pt x="57751" y="107825"/>
                </a:lnTo>
                <a:lnTo>
                  <a:pt x="41709" y="58105"/>
                </a:lnTo>
                <a:lnTo>
                  <a:pt x="22963" y="0"/>
                </a:lnTo>
                <a:lnTo>
                  <a:pt x="0" y="10714"/>
                </a:lnTo>
                <a:lnTo>
                  <a:pt x="18577" y="67151"/>
                </a:lnTo>
                <a:lnTo>
                  <a:pt x="43790" y="143748"/>
                </a:lnTo>
                <a:lnTo>
                  <a:pt x="50048" y="127645"/>
                </a:lnTo>
              </a:path>
            </a:pathLst>
          </a:custGeom>
          <a:ln w="789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7" name="object 227"/>
          <p:cNvSpPr/>
          <p:nvPr/>
        </p:nvSpPr>
        <p:spPr>
          <a:xfrm>
            <a:off x="7996188" y="4651526"/>
            <a:ext cx="94904" cy="125984"/>
          </a:xfrm>
          <a:custGeom>
            <a:avLst/>
            <a:gdLst/>
            <a:ahLst/>
            <a:cxnLst/>
            <a:rect l="l" t="t" r="r" b="b"/>
            <a:pathLst>
              <a:path w="94904" h="125984">
                <a:moveTo>
                  <a:pt x="88753" y="104237"/>
                </a:moveTo>
                <a:lnTo>
                  <a:pt x="94904" y="91189"/>
                </a:lnTo>
                <a:lnTo>
                  <a:pt x="60699" y="52508"/>
                </a:lnTo>
                <a:lnTo>
                  <a:pt x="14266" y="0"/>
                </a:lnTo>
                <a:lnTo>
                  <a:pt x="1496" y="26804"/>
                </a:lnTo>
                <a:lnTo>
                  <a:pt x="0" y="29945"/>
                </a:lnTo>
                <a:lnTo>
                  <a:pt x="78501" y="125984"/>
                </a:lnTo>
                <a:lnTo>
                  <a:pt x="88753" y="104237"/>
                </a:lnTo>
                <a:close/>
              </a:path>
            </a:pathLst>
          </a:custGeom>
          <a:solidFill>
            <a:srgbClr val="C0C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8" name="object 228"/>
          <p:cNvSpPr/>
          <p:nvPr/>
        </p:nvSpPr>
        <p:spPr>
          <a:xfrm>
            <a:off x="7996188" y="4651526"/>
            <a:ext cx="94904" cy="125984"/>
          </a:xfrm>
          <a:custGeom>
            <a:avLst/>
            <a:gdLst/>
            <a:ahLst/>
            <a:cxnLst/>
            <a:rect l="l" t="t" r="r" b="b"/>
            <a:pathLst>
              <a:path w="94904" h="125984">
                <a:moveTo>
                  <a:pt x="88753" y="104237"/>
                </a:moveTo>
                <a:lnTo>
                  <a:pt x="94904" y="91189"/>
                </a:lnTo>
                <a:lnTo>
                  <a:pt x="60699" y="52508"/>
                </a:lnTo>
                <a:lnTo>
                  <a:pt x="14266" y="0"/>
                </a:lnTo>
                <a:lnTo>
                  <a:pt x="1496" y="26804"/>
                </a:lnTo>
                <a:lnTo>
                  <a:pt x="0" y="29945"/>
                </a:lnTo>
                <a:lnTo>
                  <a:pt x="78501" y="125984"/>
                </a:lnTo>
                <a:lnTo>
                  <a:pt x="88753" y="104237"/>
                </a:lnTo>
              </a:path>
            </a:pathLst>
          </a:custGeom>
          <a:ln w="741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9" name="object 229"/>
          <p:cNvSpPr/>
          <p:nvPr/>
        </p:nvSpPr>
        <p:spPr>
          <a:xfrm>
            <a:off x="8074690" y="4713842"/>
            <a:ext cx="138465" cy="64120"/>
          </a:xfrm>
          <a:custGeom>
            <a:avLst/>
            <a:gdLst/>
            <a:ahLst/>
            <a:cxnLst/>
            <a:rect l="l" t="t" r="r" b="b"/>
            <a:pathLst>
              <a:path w="138465" h="64120">
                <a:moveTo>
                  <a:pt x="122063" y="30396"/>
                </a:moveTo>
                <a:lnTo>
                  <a:pt x="133412" y="9364"/>
                </a:lnTo>
                <a:lnTo>
                  <a:pt x="138465" y="0"/>
                </a:lnTo>
                <a:lnTo>
                  <a:pt x="57089" y="19249"/>
                </a:lnTo>
                <a:lnTo>
                  <a:pt x="16402" y="28873"/>
                </a:lnTo>
                <a:lnTo>
                  <a:pt x="8180" y="46540"/>
                </a:lnTo>
                <a:lnTo>
                  <a:pt x="0" y="64120"/>
                </a:lnTo>
                <a:lnTo>
                  <a:pt x="122063" y="30396"/>
                </a:lnTo>
                <a:close/>
              </a:path>
            </a:pathLst>
          </a:custGeom>
          <a:solidFill>
            <a:srgbClr val="DFD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0" name="object 230"/>
          <p:cNvSpPr/>
          <p:nvPr/>
        </p:nvSpPr>
        <p:spPr>
          <a:xfrm>
            <a:off x="8074690" y="4713842"/>
            <a:ext cx="138465" cy="64120"/>
          </a:xfrm>
          <a:custGeom>
            <a:avLst/>
            <a:gdLst/>
            <a:ahLst/>
            <a:cxnLst/>
            <a:rect l="l" t="t" r="r" b="b"/>
            <a:pathLst>
              <a:path w="138465" h="64120">
                <a:moveTo>
                  <a:pt x="122063" y="30396"/>
                </a:moveTo>
                <a:lnTo>
                  <a:pt x="133412" y="9364"/>
                </a:lnTo>
                <a:lnTo>
                  <a:pt x="138465" y="0"/>
                </a:lnTo>
                <a:lnTo>
                  <a:pt x="57089" y="19249"/>
                </a:lnTo>
                <a:lnTo>
                  <a:pt x="16402" y="28873"/>
                </a:lnTo>
                <a:lnTo>
                  <a:pt x="8180" y="46540"/>
                </a:lnTo>
                <a:lnTo>
                  <a:pt x="0" y="64120"/>
                </a:lnTo>
                <a:lnTo>
                  <a:pt x="122063" y="30396"/>
                </a:lnTo>
              </a:path>
            </a:pathLst>
          </a:custGeom>
          <a:ln w="6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1" name="object 231"/>
          <p:cNvSpPr/>
          <p:nvPr/>
        </p:nvSpPr>
        <p:spPr>
          <a:xfrm>
            <a:off x="7953315" y="4441853"/>
            <a:ext cx="22580" cy="109630"/>
          </a:xfrm>
          <a:custGeom>
            <a:avLst/>
            <a:gdLst/>
            <a:ahLst/>
            <a:cxnLst/>
            <a:rect l="l" t="t" r="r" b="b"/>
            <a:pathLst>
              <a:path w="22581" h="109630">
                <a:moveTo>
                  <a:pt x="22581" y="99705"/>
                </a:moveTo>
                <a:lnTo>
                  <a:pt x="22581" y="0"/>
                </a:lnTo>
                <a:lnTo>
                  <a:pt x="19893" y="1832"/>
                </a:lnTo>
                <a:lnTo>
                  <a:pt x="0" y="15395"/>
                </a:lnTo>
                <a:lnTo>
                  <a:pt x="0" y="109630"/>
                </a:lnTo>
                <a:lnTo>
                  <a:pt x="22581" y="99705"/>
                </a:lnTo>
                <a:close/>
              </a:path>
            </a:pathLst>
          </a:custGeom>
          <a:solidFill>
            <a:srgbClr val="C0C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2" name="object 232"/>
          <p:cNvSpPr/>
          <p:nvPr/>
        </p:nvSpPr>
        <p:spPr>
          <a:xfrm>
            <a:off x="7953315" y="4441853"/>
            <a:ext cx="22580" cy="109630"/>
          </a:xfrm>
          <a:custGeom>
            <a:avLst/>
            <a:gdLst/>
            <a:ahLst/>
            <a:cxnLst/>
            <a:rect l="l" t="t" r="r" b="b"/>
            <a:pathLst>
              <a:path w="22581" h="109630">
                <a:moveTo>
                  <a:pt x="22581" y="99705"/>
                </a:moveTo>
                <a:lnTo>
                  <a:pt x="22581" y="0"/>
                </a:lnTo>
                <a:lnTo>
                  <a:pt x="19893" y="1832"/>
                </a:lnTo>
                <a:lnTo>
                  <a:pt x="0" y="15395"/>
                </a:lnTo>
                <a:lnTo>
                  <a:pt x="0" y="109630"/>
                </a:lnTo>
                <a:lnTo>
                  <a:pt x="22581" y="99705"/>
                </a:lnTo>
              </a:path>
            </a:pathLst>
          </a:custGeom>
          <a:ln w="81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3" name="object 233"/>
          <p:cNvSpPr/>
          <p:nvPr/>
        </p:nvSpPr>
        <p:spPr>
          <a:xfrm>
            <a:off x="8010456" y="4635397"/>
            <a:ext cx="202701" cy="107318"/>
          </a:xfrm>
          <a:custGeom>
            <a:avLst/>
            <a:gdLst/>
            <a:ahLst/>
            <a:cxnLst/>
            <a:rect l="l" t="t" r="r" b="b"/>
            <a:pathLst>
              <a:path w="202701" h="107318">
                <a:moveTo>
                  <a:pt x="121325" y="97693"/>
                </a:moveTo>
                <a:lnTo>
                  <a:pt x="202701" y="78444"/>
                </a:lnTo>
                <a:lnTo>
                  <a:pt x="109856" y="0"/>
                </a:lnTo>
                <a:lnTo>
                  <a:pt x="50220" y="8755"/>
                </a:lnTo>
                <a:lnTo>
                  <a:pt x="0" y="16128"/>
                </a:lnTo>
                <a:lnTo>
                  <a:pt x="46404" y="68605"/>
                </a:lnTo>
                <a:lnTo>
                  <a:pt x="80637" y="107318"/>
                </a:lnTo>
                <a:lnTo>
                  <a:pt x="121325" y="97693"/>
                </a:lnTo>
                <a:close/>
              </a:path>
            </a:pathLst>
          </a:custGeom>
          <a:solidFill>
            <a:srgbClr val="FFFF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4" name="object 234"/>
          <p:cNvSpPr/>
          <p:nvPr/>
        </p:nvSpPr>
        <p:spPr>
          <a:xfrm>
            <a:off x="8010456" y="4635397"/>
            <a:ext cx="202701" cy="107318"/>
          </a:xfrm>
          <a:custGeom>
            <a:avLst/>
            <a:gdLst/>
            <a:ahLst/>
            <a:cxnLst/>
            <a:rect l="l" t="t" r="r" b="b"/>
            <a:pathLst>
              <a:path w="202701" h="107318">
                <a:moveTo>
                  <a:pt x="121325" y="97693"/>
                </a:moveTo>
                <a:lnTo>
                  <a:pt x="202701" y="78444"/>
                </a:lnTo>
                <a:lnTo>
                  <a:pt x="109856" y="0"/>
                </a:lnTo>
                <a:lnTo>
                  <a:pt x="50220" y="8755"/>
                </a:lnTo>
                <a:lnTo>
                  <a:pt x="0" y="16128"/>
                </a:lnTo>
                <a:lnTo>
                  <a:pt x="46404" y="68605"/>
                </a:lnTo>
                <a:lnTo>
                  <a:pt x="80637" y="107318"/>
                </a:lnTo>
                <a:lnTo>
                  <a:pt x="121325" y="97693"/>
                </a:lnTo>
              </a:path>
            </a:pathLst>
          </a:custGeom>
          <a:ln w="652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5" name="object 235"/>
          <p:cNvSpPr/>
          <p:nvPr/>
        </p:nvSpPr>
        <p:spPr>
          <a:xfrm>
            <a:off x="7975896" y="4441852"/>
            <a:ext cx="106271" cy="98915"/>
          </a:xfrm>
          <a:custGeom>
            <a:avLst/>
            <a:gdLst/>
            <a:ahLst/>
            <a:cxnLst/>
            <a:rect l="l" t="t" r="r" b="b"/>
            <a:pathLst>
              <a:path w="106271" h="98915">
                <a:moveTo>
                  <a:pt x="104745" y="91584"/>
                </a:moveTo>
                <a:lnTo>
                  <a:pt x="106271" y="0"/>
                </a:lnTo>
                <a:lnTo>
                  <a:pt x="0" y="0"/>
                </a:lnTo>
                <a:lnTo>
                  <a:pt x="0" y="98915"/>
                </a:lnTo>
                <a:lnTo>
                  <a:pt x="104745" y="91584"/>
                </a:lnTo>
                <a:close/>
              </a:path>
            </a:pathLst>
          </a:custGeom>
          <a:solidFill>
            <a:srgbClr val="FFF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6" name="object 236"/>
          <p:cNvSpPr/>
          <p:nvPr/>
        </p:nvSpPr>
        <p:spPr>
          <a:xfrm>
            <a:off x="7975896" y="4441852"/>
            <a:ext cx="106271" cy="98915"/>
          </a:xfrm>
          <a:custGeom>
            <a:avLst/>
            <a:gdLst/>
            <a:ahLst/>
            <a:cxnLst/>
            <a:rect l="l" t="t" r="r" b="b"/>
            <a:pathLst>
              <a:path w="106271" h="98915">
                <a:moveTo>
                  <a:pt x="104745" y="91584"/>
                </a:moveTo>
                <a:lnTo>
                  <a:pt x="106271" y="0"/>
                </a:lnTo>
                <a:lnTo>
                  <a:pt x="0" y="0"/>
                </a:lnTo>
                <a:lnTo>
                  <a:pt x="0" y="98915"/>
                </a:lnTo>
                <a:lnTo>
                  <a:pt x="104745" y="91584"/>
                </a:lnTo>
              </a:path>
            </a:pathLst>
          </a:custGeom>
          <a:ln w="70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7" name="object 237"/>
          <p:cNvSpPr/>
          <p:nvPr/>
        </p:nvSpPr>
        <p:spPr>
          <a:xfrm>
            <a:off x="7975895" y="4533212"/>
            <a:ext cx="146476" cy="117581"/>
          </a:xfrm>
          <a:custGeom>
            <a:avLst/>
            <a:gdLst/>
            <a:ahLst/>
            <a:cxnLst/>
            <a:rect l="l" t="t" r="r" b="b"/>
            <a:pathLst>
              <a:path w="146475" h="117581">
                <a:moveTo>
                  <a:pt x="109373" y="107318"/>
                </a:moveTo>
                <a:lnTo>
                  <a:pt x="146475" y="102186"/>
                </a:lnTo>
                <a:lnTo>
                  <a:pt x="104745" y="0"/>
                </a:lnTo>
                <a:lnTo>
                  <a:pt x="0" y="7556"/>
                </a:lnTo>
                <a:lnTo>
                  <a:pt x="35169" y="117581"/>
                </a:lnTo>
                <a:lnTo>
                  <a:pt x="109373" y="107318"/>
                </a:lnTo>
                <a:close/>
              </a:path>
            </a:pathLst>
          </a:custGeom>
          <a:solidFill>
            <a:srgbClr val="FFF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8" name="object 238"/>
          <p:cNvSpPr/>
          <p:nvPr/>
        </p:nvSpPr>
        <p:spPr>
          <a:xfrm>
            <a:off x="7975895" y="4533212"/>
            <a:ext cx="146476" cy="117581"/>
          </a:xfrm>
          <a:custGeom>
            <a:avLst/>
            <a:gdLst/>
            <a:ahLst/>
            <a:cxnLst/>
            <a:rect l="l" t="t" r="r" b="b"/>
            <a:pathLst>
              <a:path w="146475" h="117581">
                <a:moveTo>
                  <a:pt x="109373" y="107318"/>
                </a:moveTo>
                <a:lnTo>
                  <a:pt x="146475" y="102186"/>
                </a:lnTo>
                <a:lnTo>
                  <a:pt x="104745" y="0"/>
                </a:lnTo>
                <a:lnTo>
                  <a:pt x="0" y="7556"/>
                </a:lnTo>
                <a:lnTo>
                  <a:pt x="35169" y="117581"/>
                </a:lnTo>
                <a:lnTo>
                  <a:pt x="109373" y="107318"/>
                </a:lnTo>
              </a:path>
            </a:pathLst>
          </a:custGeom>
          <a:ln w="689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9" name="object 239"/>
          <p:cNvSpPr/>
          <p:nvPr/>
        </p:nvSpPr>
        <p:spPr>
          <a:xfrm>
            <a:off x="8024417" y="4660324"/>
            <a:ext cx="149069" cy="20922"/>
          </a:xfrm>
          <a:custGeom>
            <a:avLst/>
            <a:gdLst/>
            <a:ahLst/>
            <a:cxnLst/>
            <a:rect l="l" t="t" r="r" b="b"/>
            <a:pathLst>
              <a:path w="149069" h="20922">
                <a:moveTo>
                  <a:pt x="103340" y="6418"/>
                </a:moveTo>
                <a:lnTo>
                  <a:pt x="49740" y="13941"/>
                </a:lnTo>
              </a:path>
              <a:path w="149069" h="20922">
                <a:moveTo>
                  <a:pt x="49740" y="13941"/>
                </a:moveTo>
                <a:lnTo>
                  <a:pt x="103340" y="6418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0" name="object 240"/>
          <p:cNvSpPr/>
          <p:nvPr/>
        </p:nvSpPr>
        <p:spPr>
          <a:xfrm>
            <a:off x="8041963" y="4671997"/>
            <a:ext cx="128013" cy="19794"/>
          </a:xfrm>
          <a:custGeom>
            <a:avLst/>
            <a:gdLst/>
            <a:ahLst/>
            <a:cxnLst/>
            <a:rect l="l" t="t" r="r" b="b"/>
            <a:pathLst>
              <a:path w="128013" h="19794">
                <a:moveTo>
                  <a:pt x="89283" y="5988"/>
                </a:moveTo>
                <a:lnTo>
                  <a:pt x="42569" y="13211"/>
                </a:lnTo>
              </a:path>
              <a:path w="128013" h="19794">
                <a:moveTo>
                  <a:pt x="42569" y="13212"/>
                </a:moveTo>
                <a:lnTo>
                  <a:pt x="89283" y="5989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1" name="object 241"/>
          <p:cNvSpPr/>
          <p:nvPr/>
        </p:nvSpPr>
        <p:spPr>
          <a:xfrm>
            <a:off x="8056307" y="4691003"/>
            <a:ext cx="125191" cy="20922"/>
          </a:xfrm>
          <a:custGeom>
            <a:avLst/>
            <a:gdLst/>
            <a:ahLst/>
            <a:cxnLst/>
            <a:rect l="l" t="t" r="r" b="b"/>
            <a:pathLst>
              <a:path w="125191" h="20922">
                <a:moveTo>
                  <a:pt x="87437" y="6309"/>
                </a:moveTo>
                <a:lnTo>
                  <a:pt x="41654" y="13960"/>
                </a:lnTo>
              </a:path>
              <a:path w="125191" h="20922">
                <a:moveTo>
                  <a:pt x="41654" y="13961"/>
                </a:moveTo>
                <a:lnTo>
                  <a:pt x="87437" y="6309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2" name="object 242"/>
          <p:cNvSpPr/>
          <p:nvPr/>
        </p:nvSpPr>
        <p:spPr>
          <a:xfrm>
            <a:off x="8053329" y="4679724"/>
            <a:ext cx="117790" cy="21993"/>
          </a:xfrm>
          <a:custGeom>
            <a:avLst/>
            <a:gdLst/>
            <a:ahLst/>
            <a:cxnLst/>
            <a:rect l="l" t="t" r="r" b="b"/>
            <a:pathLst>
              <a:path w="117790" h="21993">
                <a:moveTo>
                  <a:pt x="82391" y="6609"/>
                </a:moveTo>
                <a:lnTo>
                  <a:pt x="39212" y="14671"/>
                </a:lnTo>
              </a:path>
              <a:path w="117790" h="21993">
                <a:moveTo>
                  <a:pt x="39212" y="14672"/>
                </a:moveTo>
                <a:lnTo>
                  <a:pt x="82391" y="6610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3" name="object 243"/>
          <p:cNvSpPr/>
          <p:nvPr/>
        </p:nvSpPr>
        <p:spPr>
          <a:xfrm>
            <a:off x="7943473" y="4466722"/>
            <a:ext cx="174397" cy="0"/>
          </a:xfrm>
          <a:custGeom>
            <a:avLst/>
            <a:gdLst/>
            <a:ahLst/>
            <a:cxnLst/>
            <a:rect l="l" t="t" r="r" b="b"/>
            <a:pathLst>
              <a:path w="174397">
                <a:moveTo>
                  <a:pt x="120217" y="0"/>
                </a:moveTo>
                <a:lnTo>
                  <a:pt x="58056" y="0"/>
                </a:lnTo>
              </a:path>
              <a:path w="174397">
                <a:moveTo>
                  <a:pt x="58056" y="0"/>
                </a:moveTo>
                <a:lnTo>
                  <a:pt x="120217" y="0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4" name="object 244"/>
          <p:cNvSpPr/>
          <p:nvPr/>
        </p:nvSpPr>
        <p:spPr>
          <a:xfrm>
            <a:off x="7944084" y="4474448"/>
            <a:ext cx="169896" cy="0"/>
          </a:xfrm>
          <a:custGeom>
            <a:avLst/>
            <a:gdLst/>
            <a:ahLst/>
            <a:cxnLst/>
            <a:rect l="l" t="t" r="r" b="b"/>
            <a:pathLst>
              <a:path w="169896">
                <a:moveTo>
                  <a:pt x="117203" y="0"/>
                </a:moveTo>
                <a:lnTo>
                  <a:pt x="56530" y="0"/>
                </a:lnTo>
              </a:path>
              <a:path w="169896">
                <a:moveTo>
                  <a:pt x="56530" y="0"/>
                </a:moveTo>
                <a:lnTo>
                  <a:pt x="117203" y="0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5" name="object 245"/>
          <p:cNvSpPr/>
          <p:nvPr/>
        </p:nvSpPr>
        <p:spPr>
          <a:xfrm>
            <a:off x="7942939" y="4483246"/>
            <a:ext cx="172871" cy="0"/>
          </a:xfrm>
          <a:custGeom>
            <a:avLst/>
            <a:gdLst/>
            <a:ahLst/>
            <a:cxnLst/>
            <a:rect l="l" t="t" r="r" b="b"/>
            <a:pathLst>
              <a:path w="172871">
                <a:moveTo>
                  <a:pt x="119277" y="0"/>
                </a:moveTo>
                <a:lnTo>
                  <a:pt x="57674" y="0"/>
                </a:lnTo>
              </a:path>
              <a:path w="172871">
                <a:moveTo>
                  <a:pt x="57674" y="0"/>
                </a:moveTo>
                <a:lnTo>
                  <a:pt x="119277" y="0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6" name="object 246"/>
          <p:cNvSpPr/>
          <p:nvPr/>
        </p:nvSpPr>
        <p:spPr>
          <a:xfrm>
            <a:off x="7942557" y="4492043"/>
            <a:ext cx="174397" cy="0"/>
          </a:xfrm>
          <a:custGeom>
            <a:avLst/>
            <a:gdLst/>
            <a:ahLst/>
            <a:cxnLst/>
            <a:rect l="l" t="t" r="r" b="b"/>
            <a:pathLst>
              <a:path w="174397">
                <a:moveTo>
                  <a:pt x="120217" y="0"/>
                </a:moveTo>
                <a:lnTo>
                  <a:pt x="58056" y="0"/>
                </a:lnTo>
              </a:path>
              <a:path w="174397">
                <a:moveTo>
                  <a:pt x="58056" y="0"/>
                </a:moveTo>
                <a:lnTo>
                  <a:pt x="120217" y="0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7" name="object 247"/>
          <p:cNvSpPr/>
          <p:nvPr/>
        </p:nvSpPr>
        <p:spPr>
          <a:xfrm>
            <a:off x="7941413" y="4499769"/>
            <a:ext cx="174397" cy="3270"/>
          </a:xfrm>
          <a:custGeom>
            <a:avLst/>
            <a:gdLst/>
            <a:ahLst/>
            <a:cxnLst/>
            <a:rect l="l" t="t" r="r" b="b"/>
            <a:pathLst>
              <a:path w="174397" h="3270">
                <a:moveTo>
                  <a:pt x="120260" y="1015"/>
                </a:moveTo>
                <a:lnTo>
                  <a:pt x="58285" y="2177"/>
                </a:lnTo>
              </a:path>
              <a:path w="174397" h="3270">
                <a:moveTo>
                  <a:pt x="58285" y="2178"/>
                </a:moveTo>
                <a:lnTo>
                  <a:pt x="120260" y="1015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8" name="object 248"/>
          <p:cNvSpPr/>
          <p:nvPr/>
        </p:nvSpPr>
        <p:spPr>
          <a:xfrm>
            <a:off x="8136332" y="4757040"/>
            <a:ext cx="22886" cy="13478"/>
          </a:xfrm>
          <a:custGeom>
            <a:avLst/>
            <a:gdLst/>
            <a:ahLst/>
            <a:cxnLst/>
            <a:rect l="l" t="t" r="r" b="b"/>
            <a:pathLst>
              <a:path w="22886" h="13478">
                <a:moveTo>
                  <a:pt x="22886" y="12124"/>
                </a:moveTo>
                <a:lnTo>
                  <a:pt x="11901" y="0"/>
                </a:lnTo>
                <a:lnTo>
                  <a:pt x="3008" y="2149"/>
                </a:lnTo>
                <a:lnTo>
                  <a:pt x="0" y="2876"/>
                </a:lnTo>
                <a:lnTo>
                  <a:pt x="5983" y="7627"/>
                </a:lnTo>
                <a:lnTo>
                  <a:pt x="13350" y="13478"/>
                </a:lnTo>
                <a:lnTo>
                  <a:pt x="22886" y="12124"/>
                </a:lnTo>
                <a:close/>
              </a:path>
            </a:pathLst>
          </a:custGeom>
          <a:solidFill>
            <a:srgbClr val="FFF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9" name="object 249"/>
          <p:cNvSpPr/>
          <p:nvPr/>
        </p:nvSpPr>
        <p:spPr>
          <a:xfrm>
            <a:off x="8136332" y="4757040"/>
            <a:ext cx="22886" cy="13478"/>
          </a:xfrm>
          <a:custGeom>
            <a:avLst/>
            <a:gdLst/>
            <a:ahLst/>
            <a:cxnLst/>
            <a:rect l="l" t="t" r="r" b="b"/>
            <a:pathLst>
              <a:path w="22886" h="13478">
                <a:moveTo>
                  <a:pt x="22886" y="12124"/>
                </a:moveTo>
                <a:lnTo>
                  <a:pt x="11901" y="0"/>
                </a:lnTo>
                <a:lnTo>
                  <a:pt x="3008" y="2149"/>
                </a:lnTo>
                <a:lnTo>
                  <a:pt x="0" y="2876"/>
                </a:lnTo>
                <a:lnTo>
                  <a:pt x="5983" y="7627"/>
                </a:lnTo>
                <a:lnTo>
                  <a:pt x="13350" y="13478"/>
                </a:lnTo>
                <a:lnTo>
                  <a:pt x="22886" y="12124"/>
                </a:lnTo>
              </a:path>
            </a:pathLst>
          </a:custGeom>
          <a:ln w="660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0" name="object 250"/>
          <p:cNvSpPr/>
          <p:nvPr/>
        </p:nvSpPr>
        <p:spPr>
          <a:xfrm>
            <a:off x="8091094" y="4540091"/>
            <a:ext cx="69575" cy="55266"/>
          </a:xfrm>
          <a:custGeom>
            <a:avLst/>
            <a:gdLst/>
            <a:ahLst/>
            <a:cxnLst/>
            <a:rect l="l" t="t" r="r" b="b"/>
            <a:pathLst>
              <a:path w="69576" h="55266">
                <a:moveTo>
                  <a:pt x="23268" y="51995"/>
                </a:moveTo>
                <a:lnTo>
                  <a:pt x="25922" y="51224"/>
                </a:lnTo>
                <a:lnTo>
                  <a:pt x="31812" y="49514"/>
                </a:lnTo>
                <a:lnTo>
                  <a:pt x="38534" y="46540"/>
                </a:lnTo>
                <a:lnTo>
                  <a:pt x="41120" y="45397"/>
                </a:lnTo>
                <a:lnTo>
                  <a:pt x="55996" y="37671"/>
                </a:lnTo>
                <a:lnTo>
                  <a:pt x="63472" y="32313"/>
                </a:lnTo>
                <a:lnTo>
                  <a:pt x="66960" y="27899"/>
                </a:lnTo>
                <a:lnTo>
                  <a:pt x="69576" y="24587"/>
                </a:lnTo>
                <a:lnTo>
                  <a:pt x="67639" y="19889"/>
                </a:lnTo>
                <a:lnTo>
                  <a:pt x="66066" y="16072"/>
                </a:lnTo>
                <a:lnTo>
                  <a:pt x="55648" y="9375"/>
                </a:lnTo>
                <a:lnTo>
                  <a:pt x="48520" y="4793"/>
                </a:lnTo>
                <a:lnTo>
                  <a:pt x="16936" y="0"/>
                </a:lnTo>
                <a:lnTo>
                  <a:pt x="0" y="44269"/>
                </a:lnTo>
                <a:lnTo>
                  <a:pt x="2059" y="55266"/>
                </a:lnTo>
                <a:lnTo>
                  <a:pt x="23268" y="51995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1" name="object 251"/>
          <p:cNvSpPr/>
          <p:nvPr/>
        </p:nvSpPr>
        <p:spPr>
          <a:xfrm>
            <a:off x="8091094" y="4540091"/>
            <a:ext cx="69575" cy="55266"/>
          </a:xfrm>
          <a:custGeom>
            <a:avLst/>
            <a:gdLst/>
            <a:ahLst/>
            <a:cxnLst/>
            <a:rect l="l" t="t" r="r" b="b"/>
            <a:pathLst>
              <a:path w="69576" h="55266">
                <a:moveTo>
                  <a:pt x="23268" y="51995"/>
                </a:moveTo>
                <a:lnTo>
                  <a:pt x="25922" y="51224"/>
                </a:lnTo>
                <a:lnTo>
                  <a:pt x="31812" y="49514"/>
                </a:lnTo>
                <a:lnTo>
                  <a:pt x="38534" y="46540"/>
                </a:lnTo>
                <a:lnTo>
                  <a:pt x="41120" y="45397"/>
                </a:lnTo>
                <a:lnTo>
                  <a:pt x="55996" y="37671"/>
                </a:lnTo>
                <a:lnTo>
                  <a:pt x="63472" y="32313"/>
                </a:lnTo>
                <a:lnTo>
                  <a:pt x="66960" y="27899"/>
                </a:lnTo>
                <a:lnTo>
                  <a:pt x="69576" y="24587"/>
                </a:lnTo>
                <a:lnTo>
                  <a:pt x="67639" y="19889"/>
                </a:lnTo>
                <a:lnTo>
                  <a:pt x="66066" y="16072"/>
                </a:lnTo>
                <a:lnTo>
                  <a:pt x="55648" y="9375"/>
                </a:lnTo>
                <a:lnTo>
                  <a:pt x="48520" y="4793"/>
                </a:lnTo>
                <a:lnTo>
                  <a:pt x="16936" y="0"/>
                </a:lnTo>
                <a:lnTo>
                  <a:pt x="0" y="44269"/>
                </a:lnTo>
                <a:lnTo>
                  <a:pt x="2059" y="55266"/>
                </a:lnTo>
                <a:lnTo>
                  <a:pt x="23268" y="51995"/>
                </a:lnTo>
              </a:path>
            </a:pathLst>
          </a:custGeom>
          <a:ln w="687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2" name="object 252"/>
          <p:cNvSpPr/>
          <p:nvPr/>
        </p:nvSpPr>
        <p:spPr>
          <a:xfrm>
            <a:off x="7947974" y="4533437"/>
            <a:ext cx="182408" cy="161682"/>
          </a:xfrm>
          <a:custGeom>
            <a:avLst/>
            <a:gdLst/>
            <a:ahLst/>
            <a:cxnLst/>
            <a:rect l="l" t="t" r="r" b="b"/>
            <a:pathLst>
              <a:path w="182408" h="161682">
                <a:moveTo>
                  <a:pt x="77967" y="160836"/>
                </a:moveTo>
                <a:lnTo>
                  <a:pt x="84851" y="158752"/>
                </a:lnTo>
                <a:lnTo>
                  <a:pt x="96963" y="155084"/>
                </a:lnTo>
                <a:lnTo>
                  <a:pt x="109010" y="151409"/>
                </a:lnTo>
                <a:lnTo>
                  <a:pt x="122292" y="147358"/>
                </a:lnTo>
                <a:lnTo>
                  <a:pt x="140529" y="141493"/>
                </a:lnTo>
                <a:lnTo>
                  <a:pt x="147543" y="139237"/>
                </a:lnTo>
                <a:lnTo>
                  <a:pt x="155020" y="131962"/>
                </a:lnTo>
                <a:lnTo>
                  <a:pt x="161336" y="127293"/>
                </a:lnTo>
                <a:lnTo>
                  <a:pt x="167455" y="122770"/>
                </a:lnTo>
                <a:lnTo>
                  <a:pt x="169069" y="115572"/>
                </a:lnTo>
                <a:lnTo>
                  <a:pt x="169896" y="111886"/>
                </a:lnTo>
                <a:lnTo>
                  <a:pt x="170430" y="105570"/>
                </a:lnTo>
                <a:lnTo>
                  <a:pt x="164480" y="100889"/>
                </a:lnTo>
                <a:lnTo>
                  <a:pt x="155554" y="96716"/>
                </a:lnTo>
                <a:lnTo>
                  <a:pt x="173406" y="93445"/>
                </a:lnTo>
                <a:lnTo>
                  <a:pt x="181263" y="86170"/>
                </a:lnTo>
                <a:lnTo>
                  <a:pt x="182408" y="76639"/>
                </a:lnTo>
                <a:lnTo>
                  <a:pt x="176762" y="65642"/>
                </a:lnTo>
                <a:lnTo>
                  <a:pt x="166005" y="61638"/>
                </a:lnTo>
                <a:lnTo>
                  <a:pt x="152578" y="60567"/>
                </a:lnTo>
                <a:lnTo>
                  <a:pt x="170430" y="52841"/>
                </a:lnTo>
                <a:lnTo>
                  <a:pt x="170855" y="51995"/>
                </a:lnTo>
                <a:lnTo>
                  <a:pt x="173406" y="46920"/>
                </a:lnTo>
                <a:lnTo>
                  <a:pt x="173406" y="40039"/>
                </a:lnTo>
                <a:lnTo>
                  <a:pt x="167455" y="34118"/>
                </a:lnTo>
                <a:lnTo>
                  <a:pt x="160131" y="30185"/>
                </a:lnTo>
                <a:lnTo>
                  <a:pt x="158529" y="29325"/>
                </a:lnTo>
                <a:lnTo>
                  <a:pt x="163030" y="24249"/>
                </a:lnTo>
                <a:lnTo>
                  <a:pt x="162673" y="21674"/>
                </a:lnTo>
                <a:lnTo>
                  <a:pt x="161504" y="13252"/>
                </a:lnTo>
                <a:lnTo>
                  <a:pt x="154104" y="5526"/>
                </a:lnTo>
                <a:lnTo>
                  <a:pt x="150128" y="4214"/>
                </a:lnTo>
                <a:lnTo>
                  <a:pt x="141974" y="1522"/>
                </a:lnTo>
                <a:lnTo>
                  <a:pt x="132251" y="420"/>
                </a:lnTo>
                <a:lnTo>
                  <a:pt x="128547" y="0"/>
                </a:lnTo>
                <a:lnTo>
                  <a:pt x="92462" y="3722"/>
                </a:lnTo>
                <a:lnTo>
                  <a:pt x="59505" y="7726"/>
                </a:lnTo>
                <a:lnTo>
                  <a:pt x="53240" y="9798"/>
                </a:lnTo>
                <a:lnTo>
                  <a:pt x="42798" y="13252"/>
                </a:lnTo>
                <a:lnTo>
                  <a:pt x="29813" y="15760"/>
                </a:lnTo>
                <a:lnTo>
                  <a:pt x="25862" y="16523"/>
                </a:lnTo>
                <a:lnTo>
                  <a:pt x="14876" y="27125"/>
                </a:lnTo>
                <a:lnTo>
                  <a:pt x="10375" y="36317"/>
                </a:lnTo>
                <a:lnTo>
                  <a:pt x="14876" y="46920"/>
                </a:lnTo>
                <a:lnTo>
                  <a:pt x="14418" y="50787"/>
                </a:lnTo>
                <a:lnTo>
                  <a:pt x="13960" y="54646"/>
                </a:lnTo>
                <a:lnTo>
                  <a:pt x="2975" y="64966"/>
                </a:lnTo>
                <a:lnTo>
                  <a:pt x="1487" y="68828"/>
                </a:lnTo>
                <a:lnTo>
                  <a:pt x="0" y="72692"/>
                </a:lnTo>
                <a:lnTo>
                  <a:pt x="1341" y="77954"/>
                </a:lnTo>
                <a:lnTo>
                  <a:pt x="2975" y="84365"/>
                </a:lnTo>
                <a:lnTo>
                  <a:pt x="8925" y="90117"/>
                </a:lnTo>
                <a:lnTo>
                  <a:pt x="14157" y="91489"/>
                </a:lnTo>
                <a:lnTo>
                  <a:pt x="17317" y="92317"/>
                </a:lnTo>
                <a:lnTo>
                  <a:pt x="13350" y="98689"/>
                </a:lnTo>
                <a:lnTo>
                  <a:pt x="12724" y="99520"/>
                </a:lnTo>
                <a:lnTo>
                  <a:pt x="10375" y="102637"/>
                </a:lnTo>
                <a:lnTo>
                  <a:pt x="9635" y="105258"/>
                </a:lnTo>
                <a:lnTo>
                  <a:pt x="8925" y="107769"/>
                </a:lnTo>
                <a:lnTo>
                  <a:pt x="8010" y="112562"/>
                </a:lnTo>
                <a:lnTo>
                  <a:pt x="8925" y="119442"/>
                </a:lnTo>
                <a:lnTo>
                  <a:pt x="12816" y="124236"/>
                </a:lnTo>
                <a:lnTo>
                  <a:pt x="17317" y="127169"/>
                </a:lnTo>
                <a:lnTo>
                  <a:pt x="24336" y="131285"/>
                </a:lnTo>
                <a:lnTo>
                  <a:pt x="32728" y="133485"/>
                </a:lnTo>
                <a:lnTo>
                  <a:pt x="34253" y="140365"/>
                </a:lnTo>
                <a:lnTo>
                  <a:pt x="35703" y="145158"/>
                </a:lnTo>
                <a:lnTo>
                  <a:pt x="37500" y="148674"/>
                </a:lnTo>
                <a:lnTo>
                  <a:pt x="38297" y="150234"/>
                </a:lnTo>
                <a:lnTo>
                  <a:pt x="42264" y="153956"/>
                </a:lnTo>
                <a:lnTo>
                  <a:pt x="48214" y="158355"/>
                </a:lnTo>
                <a:lnTo>
                  <a:pt x="53555" y="160836"/>
                </a:lnTo>
                <a:lnTo>
                  <a:pt x="64540" y="161682"/>
                </a:lnTo>
                <a:lnTo>
                  <a:pt x="77967" y="160836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3" name="object 253"/>
          <p:cNvSpPr/>
          <p:nvPr/>
        </p:nvSpPr>
        <p:spPr>
          <a:xfrm>
            <a:off x="7947974" y="4533437"/>
            <a:ext cx="182408" cy="161682"/>
          </a:xfrm>
          <a:custGeom>
            <a:avLst/>
            <a:gdLst/>
            <a:ahLst/>
            <a:cxnLst/>
            <a:rect l="l" t="t" r="r" b="b"/>
            <a:pathLst>
              <a:path w="182408" h="161682">
                <a:moveTo>
                  <a:pt x="77967" y="160836"/>
                </a:moveTo>
                <a:lnTo>
                  <a:pt x="84851" y="158752"/>
                </a:lnTo>
                <a:lnTo>
                  <a:pt x="96963" y="155084"/>
                </a:lnTo>
                <a:lnTo>
                  <a:pt x="109010" y="151409"/>
                </a:lnTo>
                <a:lnTo>
                  <a:pt x="122292" y="147358"/>
                </a:lnTo>
                <a:lnTo>
                  <a:pt x="140529" y="141493"/>
                </a:lnTo>
                <a:lnTo>
                  <a:pt x="147543" y="139237"/>
                </a:lnTo>
                <a:lnTo>
                  <a:pt x="155020" y="131962"/>
                </a:lnTo>
                <a:lnTo>
                  <a:pt x="161336" y="127293"/>
                </a:lnTo>
                <a:lnTo>
                  <a:pt x="167455" y="122770"/>
                </a:lnTo>
                <a:lnTo>
                  <a:pt x="169069" y="115572"/>
                </a:lnTo>
                <a:lnTo>
                  <a:pt x="169896" y="111886"/>
                </a:lnTo>
                <a:lnTo>
                  <a:pt x="170430" y="105570"/>
                </a:lnTo>
                <a:lnTo>
                  <a:pt x="164480" y="100889"/>
                </a:lnTo>
                <a:lnTo>
                  <a:pt x="155554" y="96716"/>
                </a:lnTo>
              </a:path>
              <a:path w="182408" h="161682">
                <a:moveTo>
                  <a:pt x="155554" y="96716"/>
                </a:moveTo>
                <a:lnTo>
                  <a:pt x="173406" y="93445"/>
                </a:lnTo>
                <a:lnTo>
                  <a:pt x="181263" y="86170"/>
                </a:lnTo>
                <a:lnTo>
                  <a:pt x="182408" y="76639"/>
                </a:lnTo>
                <a:lnTo>
                  <a:pt x="176762" y="65642"/>
                </a:lnTo>
                <a:lnTo>
                  <a:pt x="166005" y="61638"/>
                </a:lnTo>
                <a:lnTo>
                  <a:pt x="152578" y="60567"/>
                </a:lnTo>
              </a:path>
              <a:path w="182408" h="161682">
                <a:moveTo>
                  <a:pt x="152578" y="60567"/>
                </a:moveTo>
                <a:lnTo>
                  <a:pt x="170430" y="52841"/>
                </a:lnTo>
                <a:lnTo>
                  <a:pt x="170855" y="51995"/>
                </a:lnTo>
                <a:lnTo>
                  <a:pt x="173406" y="46920"/>
                </a:lnTo>
                <a:lnTo>
                  <a:pt x="173406" y="40039"/>
                </a:lnTo>
                <a:lnTo>
                  <a:pt x="167455" y="34118"/>
                </a:lnTo>
                <a:lnTo>
                  <a:pt x="160131" y="30185"/>
                </a:lnTo>
                <a:lnTo>
                  <a:pt x="158529" y="29325"/>
                </a:lnTo>
              </a:path>
              <a:path w="182408" h="161682">
                <a:moveTo>
                  <a:pt x="158529" y="29325"/>
                </a:moveTo>
                <a:lnTo>
                  <a:pt x="163030" y="24249"/>
                </a:lnTo>
                <a:lnTo>
                  <a:pt x="162673" y="21674"/>
                </a:lnTo>
                <a:lnTo>
                  <a:pt x="161504" y="13252"/>
                </a:lnTo>
                <a:lnTo>
                  <a:pt x="154104" y="5526"/>
                </a:lnTo>
                <a:lnTo>
                  <a:pt x="150128" y="4214"/>
                </a:lnTo>
                <a:lnTo>
                  <a:pt x="141974" y="1522"/>
                </a:lnTo>
                <a:lnTo>
                  <a:pt x="132251" y="420"/>
                </a:lnTo>
                <a:lnTo>
                  <a:pt x="128547" y="0"/>
                </a:lnTo>
                <a:lnTo>
                  <a:pt x="92462" y="3722"/>
                </a:lnTo>
                <a:lnTo>
                  <a:pt x="59505" y="7726"/>
                </a:lnTo>
                <a:lnTo>
                  <a:pt x="53240" y="9798"/>
                </a:lnTo>
                <a:lnTo>
                  <a:pt x="42798" y="13252"/>
                </a:lnTo>
                <a:lnTo>
                  <a:pt x="29813" y="15760"/>
                </a:lnTo>
                <a:lnTo>
                  <a:pt x="25862" y="16523"/>
                </a:lnTo>
                <a:lnTo>
                  <a:pt x="14876" y="27125"/>
                </a:lnTo>
                <a:lnTo>
                  <a:pt x="10375" y="36317"/>
                </a:lnTo>
                <a:lnTo>
                  <a:pt x="14876" y="46920"/>
                </a:lnTo>
                <a:lnTo>
                  <a:pt x="14418" y="50787"/>
                </a:lnTo>
                <a:lnTo>
                  <a:pt x="13960" y="54646"/>
                </a:lnTo>
                <a:lnTo>
                  <a:pt x="2975" y="64966"/>
                </a:lnTo>
                <a:lnTo>
                  <a:pt x="1487" y="68828"/>
                </a:lnTo>
                <a:lnTo>
                  <a:pt x="0" y="72692"/>
                </a:lnTo>
                <a:lnTo>
                  <a:pt x="1341" y="77954"/>
                </a:lnTo>
                <a:lnTo>
                  <a:pt x="2975" y="84365"/>
                </a:lnTo>
                <a:lnTo>
                  <a:pt x="8925" y="90117"/>
                </a:lnTo>
                <a:lnTo>
                  <a:pt x="14157" y="91489"/>
                </a:lnTo>
                <a:lnTo>
                  <a:pt x="17317" y="92317"/>
                </a:lnTo>
              </a:path>
              <a:path w="182408" h="161682">
                <a:moveTo>
                  <a:pt x="17317" y="92317"/>
                </a:moveTo>
                <a:lnTo>
                  <a:pt x="13350" y="98689"/>
                </a:lnTo>
                <a:lnTo>
                  <a:pt x="12724" y="99520"/>
                </a:lnTo>
                <a:lnTo>
                  <a:pt x="10375" y="102637"/>
                </a:lnTo>
                <a:lnTo>
                  <a:pt x="9635" y="105258"/>
                </a:lnTo>
                <a:lnTo>
                  <a:pt x="8925" y="107769"/>
                </a:lnTo>
                <a:lnTo>
                  <a:pt x="8010" y="112562"/>
                </a:lnTo>
                <a:lnTo>
                  <a:pt x="8925" y="119442"/>
                </a:lnTo>
                <a:lnTo>
                  <a:pt x="12816" y="124236"/>
                </a:lnTo>
                <a:lnTo>
                  <a:pt x="17317" y="127169"/>
                </a:lnTo>
                <a:lnTo>
                  <a:pt x="24336" y="131285"/>
                </a:lnTo>
                <a:lnTo>
                  <a:pt x="32728" y="133485"/>
                </a:lnTo>
                <a:lnTo>
                  <a:pt x="34253" y="140365"/>
                </a:lnTo>
                <a:lnTo>
                  <a:pt x="35703" y="145158"/>
                </a:lnTo>
                <a:lnTo>
                  <a:pt x="37500" y="148674"/>
                </a:lnTo>
                <a:lnTo>
                  <a:pt x="38297" y="150234"/>
                </a:lnTo>
                <a:lnTo>
                  <a:pt x="42264" y="153956"/>
                </a:lnTo>
                <a:lnTo>
                  <a:pt x="48214" y="158355"/>
                </a:lnTo>
                <a:lnTo>
                  <a:pt x="53555" y="160836"/>
                </a:lnTo>
                <a:lnTo>
                  <a:pt x="64540" y="161682"/>
                </a:lnTo>
                <a:lnTo>
                  <a:pt x="77967" y="160836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4" name="object 254"/>
          <p:cNvSpPr/>
          <p:nvPr/>
        </p:nvSpPr>
        <p:spPr>
          <a:xfrm>
            <a:off x="8090481" y="4536483"/>
            <a:ext cx="72628" cy="36205"/>
          </a:xfrm>
          <a:custGeom>
            <a:avLst/>
            <a:gdLst/>
            <a:ahLst/>
            <a:cxnLst/>
            <a:rect l="l" t="t" r="r" b="b"/>
            <a:pathLst>
              <a:path w="72627" h="36205">
                <a:moveTo>
                  <a:pt x="52182" y="35528"/>
                </a:moveTo>
                <a:lnTo>
                  <a:pt x="62175" y="33723"/>
                </a:lnTo>
                <a:lnTo>
                  <a:pt x="65475" y="31907"/>
                </a:lnTo>
                <a:lnTo>
                  <a:pt x="69652" y="29606"/>
                </a:lnTo>
                <a:lnTo>
                  <a:pt x="72306" y="25029"/>
                </a:lnTo>
                <a:lnTo>
                  <a:pt x="72627" y="24475"/>
                </a:lnTo>
                <a:lnTo>
                  <a:pt x="72627" y="15677"/>
                </a:lnTo>
                <a:lnTo>
                  <a:pt x="72333" y="12414"/>
                </a:lnTo>
                <a:lnTo>
                  <a:pt x="72093" y="9756"/>
                </a:lnTo>
                <a:lnTo>
                  <a:pt x="69118" y="6485"/>
                </a:lnTo>
                <a:lnTo>
                  <a:pt x="64617" y="4003"/>
                </a:lnTo>
                <a:lnTo>
                  <a:pt x="57751" y="1127"/>
                </a:lnTo>
                <a:lnTo>
                  <a:pt x="48825" y="0"/>
                </a:lnTo>
                <a:lnTo>
                  <a:pt x="36313" y="0"/>
                </a:lnTo>
                <a:lnTo>
                  <a:pt x="30897" y="281"/>
                </a:lnTo>
                <a:lnTo>
                  <a:pt x="20903" y="1353"/>
                </a:lnTo>
                <a:lnTo>
                  <a:pt x="14571" y="3158"/>
                </a:lnTo>
                <a:lnTo>
                  <a:pt x="9002" y="5075"/>
                </a:lnTo>
                <a:lnTo>
                  <a:pt x="5035" y="7556"/>
                </a:lnTo>
                <a:lnTo>
                  <a:pt x="2059" y="10884"/>
                </a:lnTo>
                <a:lnTo>
                  <a:pt x="391" y="14447"/>
                </a:lnTo>
                <a:lnTo>
                  <a:pt x="0" y="15282"/>
                </a:lnTo>
                <a:lnTo>
                  <a:pt x="0" y="23403"/>
                </a:lnTo>
                <a:lnTo>
                  <a:pt x="3585" y="28197"/>
                </a:lnTo>
                <a:lnTo>
                  <a:pt x="5795" y="29633"/>
                </a:lnTo>
                <a:lnTo>
                  <a:pt x="8010" y="31073"/>
                </a:lnTo>
                <a:lnTo>
                  <a:pt x="16020" y="33723"/>
                </a:lnTo>
                <a:lnTo>
                  <a:pt x="25938" y="35528"/>
                </a:lnTo>
                <a:lnTo>
                  <a:pt x="36313" y="36205"/>
                </a:lnTo>
                <a:lnTo>
                  <a:pt x="43179" y="36205"/>
                </a:lnTo>
                <a:lnTo>
                  <a:pt x="52182" y="35528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5" name="object 255"/>
          <p:cNvSpPr/>
          <p:nvPr/>
        </p:nvSpPr>
        <p:spPr>
          <a:xfrm>
            <a:off x="8090481" y="4536483"/>
            <a:ext cx="72628" cy="36205"/>
          </a:xfrm>
          <a:custGeom>
            <a:avLst/>
            <a:gdLst/>
            <a:ahLst/>
            <a:cxnLst/>
            <a:rect l="l" t="t" r="r" b="b"/>
            <a:pathLst>
              <a:path w="72627" h="36205">
                <a:moveTo>
                  <a:pt x="64617" y="4003"/>
                </a:moveTo>
                <a:lnTo>
                  <a:pt x="57751" y="1127"/>
                </a:lnTo>
                <a:lnTo>
                  <a:pt x="48825" y="0"/>
                </a:lnTo>
                <a:lnTo>
                  <a:pt x="36313" y="0"/>
                </a:lnTo>
                <a:lnTo>
                  <a:pt x="30897" y="281"/>
                </a:lnTo>
                <a:lnTo>
                  <a:pt x="20903" y="1353"/>
                </a:lnTo>
                <a:lnTo>
                  <a:pt x="14571" y="3158"/>
                </a:lnTo>
                <a:lnTo>
                  <a:pt x="9002" y="5075"/>
                </a:lnTo>
                <a:lnTo>
                  <a:pt x="5035" y="7556"/>
                </a:lnTo>
                <a:lnTo>
                  <a:pt x="2059" y="10884"/>
                </a:lnTo>
                <a:lnTo>
                  <a:pt x="391" y="14447"/>
                </a:lnTo>
                <a:lnTo>
                  <a:pt x="0" y="15282"/>
                </a:lnTo>
                <a:lnTo>
                  <a:pt x="0" y="19681"/>
                </a:lnTo>
              </a:path>
              <a:path w="72627" h="36205">
                <a:moveTo>
                  <a:pt x="52182" y="35528"/>
                </a:moveTo>
                <a:lnTo>
                  <a:pt x="54272" y="35150"/>
                </a:lnTo>
                <a:lnTo>
                  <a:pt x="62175" y="33723"/>
                </a:lnTo>
                <a:lnTo>
                  <a:pt x="65475" y="31907"/>
                </a:lnTo>
                <a:lnTo>
                  <a:pt x="69652" y="29606"/>
                </a:lnTo>
                <a:lnTo>
                  <a:pt x="72306" y="25029"/>
                </a:lnTo>
                <a:lnTo>
                  <a:pt x="72627" y="24475"/>
                </a:lnTo>
                <a:lnTo>
                  <a:pt x="72627" y="19681"/>
                </a:lnTo>
              </a:path>
              <a:path w="72627" h="36205">
                <a:moveTo>
                  <a:pt x="0" y="19681"/>
                </a:moveTo>
                <a:lnTo>
                  <a:pt x="0" y="23403"/>
                </a:lnTo>
                <a:lnTo>
                  <a:pt x="3585" y="28197"/>
                </a:lnTo>
                <a:lnTo>
                  <a:pt x="5795" y="29633"/>
                </a:lnTo>
                <a:lnTo>
                  <a:pt x="8010" y="31073"/>
                </a:lnTo>
                <a:lnTo>
                  <a:pt x="16020" y="33723"/>
                </a:lnTo>
                <a:lnTo>
                  <a:pt x="25938" y="35528"/>
                </a:lnTo>
                <a:lnTo>
                  <a:pt x="36313" y="36205"/>
                </a:lnTo>
                <a:lnTo>
                  <a:pt x="43179" y="36205"/>
                </a:lnTo>
                <a:lnTo>
                  <a:pt x="52182" y="35528"/>
                </a:lnTo>
              </a:path>
              <a:path w="72627" h="36205">
                <a:moveTo>
                  <a:pt x="72627" y="15677"/>
                </a:moveTo>
                <a:lnTo>
                  <a:pt x="72333" y="12414"/>
                </a:lnTo>
                <a:lnTo>
                  <a:pt x="72093" y="9756"/>
                </a:lnTo>
                <a:lnTo>
                  <a:pt x="69118" y="6485"/>
                </a:lnTo>
                <a:lnTo>
                  <a:pt x="67279" y="5471"/>
                </a:lnTo>
                <a:lnTo>
                  <a:pt x="64617" y="4003"/>
                </a:lnTo>
              </a:path>
              <a:path w="72627" h="36205">
                <a:moveTo>
                  <a:pt x="72627" y="19681"/>
                </a:moveTo>
                <a:lnTo>
                  <a:pt x="72627" y="15677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6" name="object 256"/>
          <p:cNvSpPr/>
          <p:nvPr/>
        </p:nvSpPr>
        <p:spPr>
          <a:xfrm>
            <a:off x="8359785" y="4527291"/>
            <a:ext cx="131599" cy="77316"/>
          </a:xfrm>
          <a:custGeom>
            <a:avLst/>
            <a:gdLst/>
            <a:ahLst/>
            <a:cxnLst/>
            <a:rect l="l" t="t" r="r" b="b"/>
            <a:pathLst>
              <a:path w="131599" h="77316">
                <a:moveTo>
                  <a:pt x="72208" y="76150"/>
                </a:moveTo>
                <a:lnTo>
                  <a:pt x="76518" y="75793"/>
                </a:lnTo>
                <a:lnTo>
                  <a:pt x="92920" y="73594"/>
                </a:lnTo>
                <a:lnTo>
                  <a:pt x="105355" y="70718"/>
                </a:lnTo>
                <a:lnTo>
                  <a:pt x="113213" y="65191"/>
                </a:lnTo>
                <a:lnTo>
                  <a:pt x="118782" y="59665"/>
                </a:lnTo>
                <a:lnTo>
                  <a:pt x="121023" y="55474"/>
                </a:lnTo>
                <a:lnTo>
                  <a:pt x="122673" y="52390"/>
                </a:lnTo>
                <a:lnTo>
                  <a:pt x="127174" y="44720"/>
                </a:lnTo>
                <a:lnTo>
                  <a:pt x="131599" y="32990"/>
                </a:lnTo>
                <a:lnTo>
                  <a:pt x="131599" y="9192"/>
                </a:lnTo>
                <a:lnTo>
                  <a:pt x="117256" y="3947"/>
                </a:lnTo>
                <a:lnTo>
                  <a:pt x="103295" y="2199"/>
                </a:lnTo>
                <a:lnTo>
                  <a:pt x="66341" y="146"/>
                </a:lnTo>
                <a:lnTo>
                  <a:pt x="63701" y="0"/>
                </a:lnTo>
                <a:lnTo>
                  <a:pt x="37229" y="0"/>
                </a:lnTo>
                <a:lnTo>
                  <a:pt x="27479" y="1581"/>
                </a:lnTo>
                <a:lnTo>
                  <a:pt x="12892" y="3947"/>
                </a:lnTo>
                <a:lnTo>
                  <a:pt x="0" y="12801"/>
                </a:lnTo>
                <a:lnTo>
                  <a:pt x="0" y="41788"/>
                </a:lnTo>
                <a:lnTo>
                  <a:pt x="2680" y="51391"/>
                </a:lnTo>
                <a:lnTo>
                  <a:pt x="4501" y="57916"/>
                </a:lnTo>
                <a:lnTo>
                  <a:pt x="9917" y="64120"/>
                </a:lnTo>
                <a:lnTo>
                  <a:pt x="19987" y="70718"/>
                </a:lnTo>
                <a:lnTo>
                  <a:pt x="31889" y="74384"/>
                </a:lnTo>
                <a:lnTo>
                  <a:pt x="41709" y="75547"/>
                </a:lnTo>
                <a:lnTo>
                  <a:pt x="46538" y="76085"/>
                </a:lnTo>
                <a:lnTo>
                  <a:pt x="58132" y="77316"/>
                </a:lnTo>
                <a:lnTo>
                  <a:pt x="72208" y="76150"/>
                </a:lnTo>
                <a:close/>
              </a:path>
            </a:pathLst>
          </a:custGeom>
          <a:solidFill>
            <a:srgbClr val="C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7" name="object 257"/>
          <p:cNvSpPr/>
          <p:nvPr/>
        </p:nvSpPr>
        <p:spPr>
          <a:xfrm>
            <a:off x="8359785" y="4527291"/>
            <a:ext cx="131599" cy="77316"/>
          </a:xfrm>
          <a:custGeom>
            <a:avLst/>
            <a:gdLst/>
            <a:ahLst/>
            <a:cxnLst/>
            <a:rect l="l" t="t" r="r" b="b"/>
            <a:pathLst>
              <a:path w="131599" h="77316">
                <a:moveTo>
                  <a:pt x="131599" y="9192"/>
                </a:moveTo>
                <a:lnTo>
                  <a:pt x="117256" y="3947"/>
                </a:lnTo>
                <a:lnTo>
                  <a:pt x="103295" y="2199"/>
                </a:lnTo>
                <a:lnTo>
                  <a:pt x="66341" y="146"/>
                </a:lnTo>
                <a:lnTo>
                  <a:pt x="63701" y="0"/>
                </a:lnTo>
                <a:lnTo>
                  <a:pt x="37229" y="0"/>
                </a:lnTo>
                <a:lnTo>
                  <a:pt x="27479" y="1581"/>
                </a:lnTo>
                <a:lnTo>
                  <a:pt x="12892" y="3947"/>
                </a:lnTo>
              </a:path>
              <a:path w="131599" h="77316">
                <a:moveTo>
                  <a:pt x="131599" y="20471"/>
                </a:moveTo>
                <a:lnTo>
                  <a:pt x="131599" y="9192"/>
                </a:lnTo>
              </a:path>
              <a:path w="131599" h="77316">
                <a:moveTo>
                  <a:pt x="72208" y="76150"/>
                </a:moveTo>
                <a:lnTo>
                  <a:pt x="76518" y="75793"/>
                </a:lnTo>
                <a:lnTo>
                  <a:pt x="92920" y="73594"/>
                </a:lnTo>
                <a:lnTo>
                  <a:pt x="105355" y="70718"/>
                </a:lnTo>
                <a:lnTo>
                  <a:pt x="113213" y="65191"/>
                </a:lnTo>
                <a:lnTo>
                  <a:pt x="118782" y="59665"/>
                </a:lnTo>
                <a:lnTo>
                  <a:pt x="121023" y="55474"/>
                </a:lnTo>
                <a:lnTo>
                  <a:pt x="122673" y="52390"/>
                </a:lnTo>
                <a:lnTo>
                  <a:pt x="127174" y="44720"/>
                </a:lnTo>
                <a:lnTo>
                  <a:pt x="131599" y="32990"/>
                </a:lnTo>
              </a:path>
              <a:path w="131599" h="77316">
                <a:moveTo>
                  <a:pt x="131599" y="32990"/>
                </a:moveTo>
                <a:lnTo>
                  <a:pt x="131599" y="20471"/>
                </a:lnTo>
              </a:path>
              <a:path w="131599" h="77316">
                <a:moveTo>
                  <a:pt x="0" y="27520"/>
                </a:moveTo>
                <a:lnTo>
                  <a:pt x="0" y="41788"/>
                </a:lnTo>
                <a:lnTo>
                  <a:pt x="2680" y="51391"/>
                </a:lnTo>
                <a:lnTo>
                  <a:pt x="4501" y="57916"/>
                </a:lnTo>
                <a:lnTo>
                  <a:pt x="9917" y="64120"/>
                </a:lnTo>
                <a:lnTo>
                  <a:pt x="19987" y="70718"/>
                </a:lnTo>
                <a:lnTo>
                  <a:pt x="31889" y="74384"/>
                </a:lnTo>
                <a:lnTo>
                  <a:pt x="41709" y="75547"/>
                </a:lnTo>
                <a:lnTo>
                  <a:pt x="43790" y="75793"/>
                </a:lnTo>
                <a:lnTo>
                  <a:pt x="46538" y="76085"/>
                </a:lnTo>
                <a:lnTo>
                  <a:pt x="58132" y="77316"/>
                </a:lnTo>
                <a:lnTo>
                  <a:pt x="72208" y="76150"/>
                </a:lnTo>
              </a:path>
              <a:path w="131599" h="77316">
                <a:moveTo>
                  <a:pt x="12892" y="3947"/>
                </a:moveTo>
                <a:lnTo>
                  <a:pt x="0" y="12801"/>
                </a:lnTo>
                <a:lnTo>
                  <a:pt x="0" y="27520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8" name="object 258"/>
          <p:cNvSpPr/>
          <p:nvPr/>
        </p:nvSpPr>
        <p:spPr>
          <a:xfrm>
            <a:off x="8509235" y="4528756"/>
            <a:ext cx="131218" cy="76921"/>
          </a:xfrm>
          <a:custGeom>
            <a:avLst/>
            <a:gdLst/>
            <a:ahLst/>
            <a:cxnLst/>
            <a:rect l="l" t="t" r="r" b="b"/>
            <a:pathLst>
              <a:path w="131217" h="76921">
                <a:moveTo>
                  <a:pt x="78217" y="76554"/>
                </a:moveTo>
                <a:lnTo>
                  <a:pt x="87504" y="76245"/>
                </a:lnTo>
                <a:lnTo>
                  <a:pt x="100320" y="74045"/>
                </a:lnTo>
                <a:lnTo>
                  <a:pt x="111916" y="71000"/>
                </a:lnTo>
                <a:lnTo>
                  <a:pt x="120842" y="63048"/>
                </a:lnTo>
                <a:lnTo>
                  <a:pt x="126793" y="52728"/>
                </a:lnTo>
                <a:lnTo>
                  <a:pt x="131217" y="42126"/>
                </a:lnTo>
                <a:lnTo>
                  <a:pt x="131217" y="13083"/>
                </a:lnTo>
                <a:lnTo>
                  <a:pt x="114891" y="4003"/>
                </a:lnTo>
                <a:lnTo>
                  <a:pt x="90479" y="733"/>
                </a:lnTo>
                <a:lnTo>
                  <a:pt x="67592" y="733"/>
                </a:lnTo>
                <a:lnTo>
                  <a:pt x="45849" y="0"/>
                </a:lnTo>
                <a:lnTo>
                  <a:pt x="36157" y="564"/>
                </a:lnTo>
                <a:lnTo>
                  <a:pt x="26472" y="1127"/>
                </a:lnTo>
                <a:lnTo>
                  <a:pt x="22312" y="1953"/>
                </a:lnTo>
                <a:lnTo>
                  <a:pt x="11977" y="4003"/>
                </a:lnTo>
                <a:lnTo>
                  <a:pt x="8519" y="5273"/>
                </a:lnTo>
                <a:lnTo>
                  <a:pt x="0" y="8402"/>
                </a:lnTo>
                <a:lnTo>
                  <a:pt x="0" y="33723"/>
                </a:lnTo>
                <a:lnTo>
                  <a:pt x="3585" y="47878"/>
                </a:lnTo>
                <a:lnTo>
                  <a:pt x="5921" y="51930"/>
                </a:lnTo>
                <a:lnTo>
                  <a:pt x="9536" y="58198"/>
                </a:lnTo>
                <a:lnTo>
                  <a:pt x="16936" y="65248"/>
                </a:lnTo>
                <a:lnTo>
                  <a:pt x="24412" y="69252"/>
                </a:lnTo>
                <a:lnTo>
                  <a:pt x="31737" y="71980"/>
                </a:lnTo>
                <a:lnTo>
                  <a:pt x="34253" y="72917"/>
                </a:lnTo>
                <a:lnTo>
                  <a:pt x="37098" y="73590"/>
                </a:lnTo>
                <a:lnTo>
                  <a:pt x="43790" y="75173"/>
                </a:lnTo>
                <a:lnTo>
                  <a:pt x="54775" y="76245"/>
                </a:lnTo>
                <a:lnTo>
                  <a:pt x="61515" y="76611"/>
                </a:lnTo>
                <a:lnTo>
                  <a:pt x="67211" y="76921"/>
                </a:lnTo>
                <a:lnTo>
                  <a:pt x="78217" y="76554"/>
                </a:lnTo>
                <a:close/>
              </a:path>
            </a:pathLst>
          </a:custGeom>
          <a:solidFill>
            <a:srgbClr val="C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9" name="object 259"/>
          <p:cNvSpPr/>
          <p:nvPr/>
        </p:nvSpPr>
        <p:spPr>
          <a:xfrm>
            <a:off x="8509235" y="4528756"/>
            <a:ext cx="131218" cy="76921"/>
          </a:xfrm>
          <a:custGeom>
            <a:avLst/>
            <a:gdLst/>
            <a:ahLst/>
            <a:cxnLst/>
            <a:rect l="l" t="t" r="r" b="b"/>
            <a:pathLst>
              <a:path w="131217" h="76921">
                <a:moveTo>
                  <a:pt x="78217" y="76554"/>
                </a:moveTo>
                <a:lnTo>
                  <a:pt x="87504" y="76245"/>
                </a:lnTo>
                <a:lnTo>
                  <a:pt x="100320" y="74045"/>
                </a:lnTo>
                <a:lnTo>
                  <a:pt x="111916" y="71000"/>
                </a:lnTo>
                <a:lnTo>
                  <a:pt x="120842" y="63048"/>
                </a:lnTo>
                <a:lnTo>
                  <a:pt x="126793" y="52728"/>
                </a:lnTo>
                <a:lnTo>
                  <a:pt x="131217" y="42126"/>
                </a:lnTo>
                <a:lnTo>
                  <a:pt x="131217" y="27407"/>
                </a:lnTo>
              </a:path>
              <a:path w="131217" h="76921">
                <a:moveTo>
                  <a:pt x="114891" y="4003"/>
                </a:moveTo>
                <a:lnTo>
                  <a:pt x="90479" y="733"/>
                </a:lnTo>
                <a:lnTo>
                  <a:pt x="67592" y="733"/>
                </a:lnTo>
                <a:lnTo>
                  <a:pt x="45849" y="0"/>
                </a:lnTo>
                <a:lnTo>
                  <a:pt x="36157" y="564"/>
                </a:lnTo>
                <a:lnTo>
                  <a:pt x="26472" y="1127"/>
                </a:lnTo>
                <a:lnTo>
                  <a:pt x="22312" y="1953"/>
                </a:lnTo>
                <a:lnTo>
                  <a:pt x="11977" y="4003"/>
                </a:lnTo>
                <a:lnTo>
                  <a:pt x="8519" y="5273"/>
                </a:lnTo>
                <a:lnTo>
                  <a:pt x="0" y="8402"/>
                </a:lnTo>
                <a:lnTo>
                  <a:pt x="0" y="33723"/>
                </a:lnTo>
                <a:lnTo>
                  <a:pt x="3585" y="47878"/>
                </a:lnTo>
                <a:lnTo>
                  <a:pt x="5921" y="51930"/>
                </a:lnTo>
                <a:lnTo>
                  <a:pt x="9536" y="58198"/>
                </a:lnTo>
                <a:lnTo>
                  <a:pt x="16936" y="65248"/>
                </a:lnTo>
                <a:lnTo>
                  <a:pt x="24412" y="69252"/>
                </a:lnTo>
                <a:lnTo>
                  <a:pt x="31737" y="71980"/>
                </a:lnTo>
                <a:lnTo>
                  <a:pt x="34253" y="72917"/>
                </a:lnTo>
                <a:lnTo>
                  <a:pt x="37098" y="73590"/>
                </a:lnTo>
                <a:lnTo>
                  <a:pt x="43790" y="75173"/>
                </a:lnTo>
                <a:lnTo>
                  <a:pt x="54775" y="76245"/>
                </a:lnTo>
                <a:lnTo>
                  <a:pt x="61515" y="76611"/>
                </a:lnTo>
                <a:lnTo>
                  <a:pt x="67211" y="76921"/>
                </a:lnTo>
                <a:lnTo>
                  <a:pt x="78217" y="76554"/>
                </a:lnTo>
              </a:path>
              <a:path w="131217" h="76921">
                <a:moveTo>
                  <a:pt x="131217" y="13083"/>
                </a:moveTo>
                <a:lnTo>
                  <a:pt x="114891" y="4003"/>
                </a:lnTo>
              </a:path>
              <a:path w="131217" h="76921">
                <a:moveTo>
                  <a:pt x="131217" y="27407"/>
                </a:moveTo>
                <a:lnTo>
                  <a:pt x="131217" y="13083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0" name="object 260"/>
          <p:cNvSpPr/>
          <p:nvPr/>
        </p:nvSpPr>
        <p:spPr>
          <a:xfrm>
            <a:off x="8491385" y="4538287"/>
            <a:ext cx="18996" cy="10150"/>
          </a:xfrm>
          <a:custGeom>
            <a:avLst/>
            <a:gdLst/>
            <a:ahLst/>
            <a:cxnLst/>
            <a:rect l="l" t="t" r="r" b="b"/>
            <a:pathLst>
              <a:path w="18996" h="10150">
                <a:moveTo>
                  <a:pt x="3916" y="9436"/>
                </a:moveTo>
                <a:lnTo>
                  <a:pt x="5569" y="9079"/>
                </a:lnTo>
                <a:lnTo>
                  <a:pt x="6324" y="8861"/>
                </a:lnTo>
                <a:lnTo>
                  <a:pt x="10451" y="7669"/>
                </a:lnTo>
                <a:lnTo>
                  <a:pt x="14571" y="9079"/>
                </a:lnTo>
                <a:lnTo>
                  <a:pt x="18996" y="9868"/>
                </a:lnTo>
                <a:lnTo>
                  <a:pt x="18228" y="5595"/>
                </a:lnTo>
                <a:lnTo>
                  <a:pt x="17546" y="1804"/>
                </a:lnTo>
                <a:lnTo>
                  <a:pt x="13045" y="0"/>
                </a:lnTo>
                <a:lnTo>
                  <a:pt x="7094" y="0"/>
                </a:lnTo>
                <a:lnTo>
                  <a:pt x="5035" y="535"/>
                </a:lnTo>
                <a:lnTo>
                  <a:pt x="2975" y="1071"/>
                </a:lnTo>
                <a:lnTo>
                  <a:pt x="0" y="3270"/>
                </a:lnTo>
                <a:lnTo>
                  <a:pt x="610" y="10150"/>
                </a:lnTo>
                <a:lnTo>
                  <a:pt x="3916" y="9436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1" name="object 261"/>
          <p:cNvSpPr/>
          <p:nvPr/>
        </p:nvSpPr>
        <p:spPr>
          <a:xfrm>
            <a:off x="8491385" y="4538287"/>
            <a:ext cx="18996" cy="10150"/>
          </a:xfrm>
          <a:custGeom>
            <a:avLst/>
            <a:gdLst/>
            <a:ahLst/>
            <a:cxnLst/>
            <a:rect l="l" t="t" r="r" b="b"/>
            <a:pathLst>
              <a:path w="18996" h="10150">
                <a:moveTo>
                  <a:pt x="3916" y="9436"/>
                </a:moveTo>
                <a:lnTo>
                  <a:pt x="5569" y="9079"/>
                </a:lnTo>
                <a:lnTo>
                  <a:pt x="6324" y="8861"/>
                </a:lnTo>
                <a:lnTo>
                  <a:pt x="10451" y="7669"/>
                </a:lnTo>
                <a:lnTo>
                  <a:pt x="14571" y="9079"/>
                </a:lnTo>
                <a:lnTo>
                  <a:pt x="18996" y="9868"/>
                </a:lnTo>
                <a:lnTo>
                  <a:pt x="18228" y="5595"/>
                </a:lnTo>
                <a:lnTo>
                  <a:pt x="17546" y="1804"/>
                </a:lnTo>
                <a:lnTo>
                  <a:pt x="13045" y="0"/>
                </a:lnTo>
                <a:lnTo>
                  <a:pt x="7094" y="0"/>
                </a:lnTo>
                <a:lnTo>
                  <a:pt x="5035" y="535"/>
                </a:lnTo>
                <a:lnTo>
                  <a:pt x="2975" y="1071"/>
                </a:lnTo>
                <a:lnTo>
                  <a:pt x="0" y="3270"/>
                </a:lnTo>
                <a:lnTo>
                  <a:pt x="610" y="10150"/>
                </a:lnTo>
                <a:lnTo>
                  <a:pt x="3916" y="9436"/>
                </a:lnTo>
              </a:path>
            </a:pathLst>
          </a:custGeom>
          <a:ln w="6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2" name="object 262"/>
          <p:cNvSpPr/>
          <p:nvPr/>
        </p:nvSpPr>
        <p:spPr>
          <a:xfrm>
            <a:off x="8305695" y="4533889"/>
            <a:ext cx="54699" cy="16523"/>
          </a:xfrm>
          <a:custGeom>
            <a:avLst/>
            <a:gdLst/>
            <a:ahLst/>
            <a:cxnLst/>
            <a:rect l="l" t="t" r="r" b="b"/>
            <a:pathLst>
              <a:path w="54699" h="16523">
                <a:moveTo>
                  <a:pt x="54699" y="5470"/>
                </a:moveTo>
                <a:lnTo>
                  <a:pt x="0" y="0"/>
                </a:lnTo>
                <a:lnTo>
                  <a:pt x="5950" y="6203"/>
                </a:lnTo>
                <a:lnTo>
                  <a:pt x="16106" y="8353"/>
                </a:lnTo>
                <a:lnTo>
                  <a:pt x="54699" y="16523"/>
                </a:lnTo>
                <a:lnTo>
                  <a:pt x="54699" y="547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3" name="object 263"/>
          <p:cNvSpPr/>
          <p:nvPr/>
        </p:nvSpPr>
        <p:spPr>
          <a:xfrm>
            <a:off x="8305695" y="4533889"/>
            <a:ext cx="54699" cy="16523"/>
          </a:xfrm>
          <a:custGeom>
            <a:avLst/>
            <a:gdLst/>
            <a:ahLst/>
            <a:cxnLst/>
            <a:rect l="l" t="t" r="r" b="b"/>
            <a:pathLst>
              <a:path w="54699" h="16523">
                <a:moveTo>
                  <a:pt x="54699" y="5470"/>
                </a:moveTo>
                <a:lnTo>
                  <a:pt x="0" y="0"/>
                </a:lnTo>
                <a:lnTo>
                  <a:pt x="5950" y="6203"/>
                </a:lnTo>
                <a:lnTo>
                  <a:pt x="16106" y="8353"/>
                </a:lnTo>
                <a:lnTo>
                  <a:pt x="54699" y="16523"/>
                </a:lnTo>
                <a:lnTo>
                  <a:pt x="54699" y="5470"/>
                </a:lnTo>
              </a:path>
            </a:pathLst>
          </a:custGeom>
          <a:ln w="623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4" name="object 264"/>
          <p:cNvSpPr/>
          <p:nvPr/>
        </p:nvSpPr>
        <p:spPr>
          <a:xfrm>
            <a:off x="8639921" y="4533211"/>
            <a:ext cx="31811" cy="17200"/>
          </a:xfrm>
          <a:custGeom>
            <a:avLst/>
            <a:gdLst/>
            <a:ahLst/>
            <a:cxnLst/>
            <a:rect l="l" t="t" r="r" b="b"/>
            <a:pathLst>
              <a:path w="31812" h="17200">
                <a:moveTo>
                  <a:pt x="29752" y="6880"/>
                </a:moveTo>
                <a:lnTo>
                  <a:pt x="31812" y="0"/>
                </a:lnTo>
                <a:lnTo>
                  <a:pt x="0" y="9079"/>
                </a:lnTo>
                <a:lnTo>
                  <a:pt x="0" y="17200"/>
                </a:lnTo>
                <a:lnTo>
                  <a:pt x="29752" y="688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5" name="object 265"/>
          <p:cNvSpPr/>
          <p:nvPr/>
        </p:nvSpPr>
        <p:spPr>
          <a:xfrm>
            <a:off x="8639921" y="4533211"/>
            <a:ext cx="31811" cy="17200"/>
          </a:xfrm>
          <a:custGeom>
            <a:avLst/>
            <a:gdLst/>
            <a:ahLst/>
            <a:cxnLst/>
            <a:rect l="l" t="t" r="r" b="b"/>
            <a:pathLst>
              <a:path w="31812" h="17200">
                <a:moveTo>
                  <a:pt x="29752" y="6880"/>
                </a:moveTo>
                <a:lnTo>
                  <a:pt x="31812" y="0"/>
                </a:lnTo>
                <a:lnTo>
                  <a:pt x="0" y="9079"/>
                </a:lnTo>
                <a:lnTo>
                  <a:pt x="0" y="17200"/>
                </a:lnTo>
                <a:lnTo>
                  <a:pt x="29752" y="6880"/>
                </a:lnTo>
              </a:path>
            </a:pathLst>
          </a:custGeom>
          <a:ln w="6536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6" name="object 266"/>
          <p:cNvSpPr/>
          <p:nvPr/>
        </p:nvSpPr>
        <p:spPr>
          <a:xfrm>
            <a:off x="8398006" y="4544490"/>
            <a:ext cx="52639" cy="32144"/>
          </a:xfrm>
          <a:custGeom>
            <a:avLst/>
            <a:gdLst/>
            <a:ahLst/>
            <a:cxnLst/>
            <a:rect l="l" t="t" r="r" b="b"/>
            <a:pathLst>
              <a:path w="52639" h="32144">
                <a:moveTo>
                  <a:pt x="34326" y="30486"/>
                </a:moveTo>
                <a:lnTo>
                  <a:pt x="42240" y="28832"/>
                </a:lnTo>
                <a:lnTo>
                  <a:pt x="51601" y="20511"/>
                </a:lnTo>
                <a:lnTo>
                  <a:pt x="52639" y="16072"/>
                </a:lnTo>
                <a:lnTo>
                  <a:pt x="48410" y="8490"/>
                </a:lnTo>
                <a:lnTo>
                  <a:pt x="47224" y="6362"/>
                </a:lnTo>
                <a:lnTo>
                  <a:pt x="33636" y="634"/>
                </a:lnTo>
                <a:lnTo>
                  <a:pt x="29746" y="293"/>
                </a:lnTo>
                <a:lnTo>
                  <a:pt x="26396" y="0"/>
                </a:lnTo>
                <a:lnTo>
                  <a:pt x="17467" y="1844"/>
                </a:lnTo>
                <a:lnTo>
                  <a:pt x="10486" y="3286"/>
                </a:lnTo>
                <a:lnTo>
                  <a:pt x="1476" y="11200"/>
                </a:lnTo>
                <a:lnTo>
                  <a:pt x="1080" y="11549"/>
                </a:lnTo>
                <a:lnTo>
                  <a:pt x="0" y="16072"/>
                </a:lnTo>
                <a:lnTo>
                  <a:pt x="3190" y="21807"/>
                </a:lnTo>
                <a:lnTo>
                  <a:pt x="5383" y="25747"/>
                </a:lnTo>
                <a:lnTo>
                  <a:pt x="18950" y="31484"/>
                </a:lnTo>
                <a:lnTo>
                  <a:pt x="20412" y="31614"/>
                </a:lnTo>
                <a:lnTo>
                  <a:pt x="26396" y="32144"/>
                </a:lnTo>
                <a:lnTo>
                  <a:pt x="34326" y="30486"/>
                </a:lnTo>
                <a:close/>
              </a:path>
            </a:pathLst>
          </a:custGeom>
          <a:solidFill>
            <a:srgbClr val="C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7" name="object 267"/>
          <p:cNvSpPr/>
          <p:nvPr/>
        </p:nvSpPr>
        <p:spPr>
          <a:xfrm>
            <a:off x="8398006" y="4544490"/>
            <a:ext cx="52639" cy="32144"/>
          </a:xfrm>
          <a:custGeom>
            <a:avLst/>
            <a:gdLst/>
            <a:ahLst/>
            <a:cxnLst/>
            <a:rect l="l" t="t" r="r" b="b"/>
            <a:pathLst>
              <a:path w="52639" h="32144">
                <a:moveTo>
                  <a:pt x="34326" y="30486"/>
                </a:moveTo>
                <a:lnTo>
                  <a:pt x="42240" y="28832"/>
                </a:lnTo>
                <a:lnTo>
                  <a:pt x="51601" y="20511"/>
                </a:lnTo>
                <a:lnTo>
                  <a:pt x="52639" y="16072"/>
                </a:lnTo>
                <a:lnTo>
                  <a:pt x="48410" y="8490"/>
                </a:lnTo>
                <a:lnTo>
                  <a:pt x="47224" y="6362"/>
                </a:lnTo>
                <a:lnTo>
                  <a:pt x="33636" y="634"/>
                </a:lnTo>
                <a:lnTo>
                  <a:pt x="29746" y="293"/>
                </a:lnTo>
                <a:lnTo>
                  <a:pt x="26396" y="0"/>
                </a:lnTo>
                <a:lnTo>
                  <a:pt x="17467" y="1844"/>
                </a:lnTo>
                <a:lnTo>
                  <a:pt x="10486" y="3286"/>
                </a:lnTo>
                <a:lnTo>
                  <a:pt x="1476" y="11200"/>
                </a:lnTo>
                <a:lnTo>
                  <a:pt x="1080" y="11549"/>
                </a:lnTo>
                <a:lnTo>
                  <a:pt x="0" y="16072"/>
                </a:lnTo>
                <a:lnTo>
                  <a:pt x="3190" y="21807"/>
                </a:lnTo>
                <a:lnTo>
                  <a:pt x="5383" y="25747"/>
                </a:lnTo>
                <a:lnTo>
                  <a:pt x="18950" y="31484"/>
                </a:lnTo>
                <a:lnTo>
                  <a:pt x="20412" y="31614"/>
                </a:lnTo>
                <a:lnTo>
                  <a:pt x="26396" y="32144"/>
                </a:lnTo>
                <a:lnTo>
                  <a:pt x="34326" y="30486"/>
                </a:lnTo>
              </a:path>
            </a:pathLst>
          </a:custGeom>
          <a:ln w="66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8" name="object 268"/>
          <p:cNvSpPr/>
          <p:nvPr/>
        </p:nvSpPr>
        <p:spPr>
          <a:xfrm>
            <a:off x="8417919" y="4548438"/>
            <a:ext cx="25251" cy="19117"/>
          </a:xfrm>
          <a:custGeom>
            <a:avLst/>
            <a:gdLst/>
            <a:ahLst/>
            <a:cxnLst/>
            <a:rect l="l" t="t" r="r" b="b"/>
            <a:pathLst>
              <a:path w="25251" h="19117">
                <a:moveTo>
                  <a:pt x="25251" y="14718"/>
                </a:moveTo>
                <a:lnTo>
                  <a:pt x="25251" y="4398"/>
                </a:lnTo>
                <a:lnTo>
                  <a:pt x="24345" y="3728"/>
                </a:lnTo>
                <a:lnTo>
                  <a:pt x="19301" y="0"/>
                </a:lnTo>
                <a:lnTo>
                  <a:pt x="5569" y="0"/>
                </a:lnTo>
                <a:lnTo>
                  <a:pt x="0" y="4398"/>
                </a:lnTo>
                <a:lnTo>
                  <a:pt x="0" y="9643"/>
                </a:lnTo>
                <a:lnTo>
                  <a:pt x="0" y="14718"/>
                </a:lnTo>
                <a:lnTo>
                  <a:pt x="2784" y="16918"/>
                </a:lnTo>
                <a:lnTo>
                  <a:pt x="5569" y="19117"/>
                </a:lnTo>
                <a:lnTo>
                  <a:pt x="19301" y="19117"/>
                </a:lnTo>
                <a:lnTo>
                  <a:pt x="25251" y="14718"/>
                </a:lnTo>
                <a:close/>
              </a:path>
            </a:pathLst>
          </a:custGeom>
          <a:solidFill>
            <a:srgbClr val="608FF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9" name="object 269"/>
          <p:cNvSpPr/>
          <p:nvPr/>
        </p:nvSpPr>
        <p:spPr>
          <a:xfrm>
            <a:off x="8417919" y="4548438"/>
            <a:ext cx="25251" cy="19117"/>
          </a:xfrm>
          <a:custGeom>
            <a:avLst/>
            <a:gdLst/>
            <a:ahLst/>
            <a:cxnLst/>
            <a:rect l="l" t="t" r="r" b="b"/>
            <a:pathLst>
              <a:path w="25251" h="19117">
                <a:moveTo>
                  <a:pt x="0" y="9643"/>
                </a:moveTo>
                <a:lnTo>
                  <a:pt x="0" y="14718"/>
                </a:lnTo>
                <a:lnTo>
                  <a:pt x="2784" y="16918"/>
                </a:lnTo>
                <a:lnTo>
                  <a:pt x="5569" y="19117"/>
                </a:lnTo>
                <a:lnTo>
                  <a:pt x="12435" y="19117"/>
                </a:lnTo>
              </a:path>
              <a:path w="25251" h="19117">
                <a:moveTo>
                  <a:pt x="25251" y="14718"/>
                </a:moveTo>
                <a:lnTo>
                  <a:pt x="25251" y="9643"/>
                </a:lnTo>
              </a:path>
              <a:path w="25251" h="19117">
                <a:moveTo>
                  <a:pt x="12435" y="19117"/>
                </a:moveTo>
                <a:lnTo>
                  <a:pt x="19301" y="19117"/>
                </a:lnTo>
                <a:lnTo>
                  <a:pt x="25251" y="14718"/>
                </a:lnTo>
              </a:path>
              <a:path w="25251" h="19117">
                <a:moveTo>
                  <a:pt x="25251" y="4398"/>
                </a:moveTo>
                <a:lnTo>
                  <a:pt x="24345" y="3728"/>
                </a:lnTo>
                <a:lnTo>
                  <a:pt x="19301" y="0"/>
                </a:lnTo>
                <a:lnTo>
                  <a:pt x="12435" y="0"/>
                </a:lnTo>
              </a:path>
              <a:path w="25251" h="19117">
                <a:moveTo>
                  <a:pt x="25251" y="9643"/>
                </a:moveTo>
                <a:lnTo>
                  <a:pt x="25251" y="4398"/>
                </a:lnTo>
              </a:path>
              <a:path w="25251" h="19117">
                <a:moveTo>
                  <a:pt x="12435" y="0"/>
                </a:moveTo>
                <a:lnTo>
                  <a:pt x="5569" y="0"/>
                </a:lnTo>
                <a:lnTo>
                  <a:pt x="0" y="4398"/>
                </a:lnTo>
                <a:lnTo>
                  <a:pt x="0" y="9643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0" name="object 270"/>
          <p:cNvSpPr/>
          <p:nvPr/>
        </p:nvSpPr>
        <p:spPr>
          <a:xfrm>
            <a:off x="8544101" y="4547762"/>
            <a:ext cx="52639" cy="32595"/>
          </a:xfrm>
          <a:custGeom>
            <a:avLst/>
            <a:gdLst/>
            <a:ahLst/>
            <a:cxnLst/>
            <a:rect l="l" t="t" r="r" b="b"/>
            <a:pathLst>
              <a:path w="52639" h="32595">
                <a:moveTo>
                  <a:pt x="34279" y="30947"/>
                </a:moveTo>
                <a:lnTo>
                  <a:pt x="42240" y="29283"/>
                </a:lnTo>
                <a:lnTo>
                  <a:pt x="46669" y="25346"/>
                </a:lnTo>
                <a:lnTo>
                  <a:pt x="51601" y="20962"/>
                </a:lnTo>
                <a:lnTo>
                  <a:pt x="52639" y="16523"/>
                </a:lnTo>
                <a:lnTo>
                  <a:pt x="50503" y="12518"/>
                </a:lnTo>
                <a:lnTo>
                  <a:pt x="47301" y="6518"/>
                </a:lnTo>
                <a:lnTo>
                  <a:pt x="33886" y="683"/>
                </a:lnTo>
                <a:lnTo>
                  <a:pt x="26396" y="0"/>
                </a:lnTo>
                <a:lnTo>
                  <a:pt x="13854" y="2594"/>
                </a:lnTo>
                <a:lnTo>
                  <a:pt x="10587" y="3270"/>
                </a:lnTo>
                <a:lnTo>
                  <a:pt x="1155" y="11642"/>
                </a:lnTo>
                <a:lnTo>
                  <a:pt x="0" y="16523"/>
                </a:lnTo>
                <a:lnTo>
                  <a:pt x="2152" y="20392"/>
                </a:lnTo>
                <a:lnTo>
                  <a:pt x="5383" y="26198"/>
                </a:lnTo>
                <a:lnTo>
                  <a:pt x="16569" y="30928"/>
                </a:lnTo>
                <a:lnTo>
                  <a:pt x="18950" y="31936"/>
                </a:lnTo>
                <a:lnTo>
                  <a:pt x="25593" y="32524"/>
                </a:lnTo>
                <a:lnTo>
                  <a:pt x="26396" y="32595"/>
                </a:lnTo>
                <a:lnTo>
                  <a:pt x="34279" y="30947"/>
                </a:lnTo>
                <a:close/>
              </a:path>
            </a:pathLst>
          </a:custGeom>
          <a:solidFill>
            <a:srgbClr val="C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1" name="object 271"/>
          <p:cNvSpPr/>
          <p:nvPr/>
        </p:nvSpPr>
        <p:spPr>
          <a:xfrm>
            <a:off x="8544101" y="4547762"/>
            <a:ext cx="52639" cy="32595"/>
          </a:xfrm>
          <a:custGeom>
            <a:avLst/>
            <a:gdLst/>
            <a:ahLst/>
            <a:cxnLst/>
            <a:rect l="l" t="t" r="r" b="b"/>
            <a:pathLst>
              <a:path w="52639" h="32595">
                <a:moveTo>
                  <a:pt x="34279" y="30947"/>
                </a:moveTo>
                <a:lnTo>
                  <a:pt x="42240" y="29283"/>
                </a:lnTo>
                <a:lnTo>
                  <a:pt x="46669" y="25346"/>
                </a:lnTo>
                <a:lnTo>
                  <a:pt x="51601" y="20962"/>
                </a:lnTo>
                <a:lnTo>
                  <a:pt x="52639" y="16523"/>
                </a:lnTo>
                <a:lnTo>
                  <a:pt x="50503" y="12518"/>
                </a:lnTo>
                <a:lnTo>
                  <a:pt x="47301" y="6518"/>
                </a:lnTo>
                <a:lnTo>
                  <a:pt x="33886" y="683"/>
                </a:lnTo>
                <a:lnTo>
                  <a:pt x="26396" y="0"/>
                </a:lnTo>
                <a:lnTo>
                  <a:pt x="13854" y="2594"/>
                </a:lnTo>
                <a:lnTo>
                  <a:pt x="10587" y="3270"/>
                </a:lnTo>
                <a:lnTo>
                  <a:pt x="1155" y="11642"/>
                </a:lnTo>
                <a:lnTo>
                  <a:pt x="0" y="16523"/>
                </a:lnTo>
                <a:lnTo>
                  <a:pt x="2152" y="20392"/>
                </a:lnTo>
                <a:lnTo>
                  <a:pt x="5383" y="26198"/>
                </a:lnTo>
                <a:lnTo>
                  <a:pt x="16569" y="30928"/>
                </a:lnTo>
                <a:lnTo>
                  <a:pt x="18950" y="31936"/>
                </a:lnTo>
                <a:lnTo>
                  <a:pt x="25593" y="32524"/>
                </a:lnTo>
                <a:lnTo>
                  <a:pt x="26396" y="32595"/>
                </a:lnTo>
                <a:lnTo>
                  <a:pt x="34279" y="30947"/>
                </a:lnTo>
              </a:path>
            </a:pathLst>
          </a:custGeom>
          <a:ln w="664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2" name="object 272"/>
          <p:cNvSpPr/>
          <p:nvPr/>
        </p:nvSpPr>
        <p:spPr>
          <a:xfrm>
            <a:off x="8564013" y="4551765"/>
            <a:ext cx="25251" cy="19512"/>
          </a:xfrm>
          <a:custGeom>
            <a:avLst/>
            <a:gdLst/>
            <a:ahLst/>
            <a:cxnLst/>
            <a:rect l="l" t="t" r="r" b="b"/>
            <a:pathLst>
              <a:path w="25251" h="19512">
                <a:moveTo>
                  <a:pt x="25251" y="15113"/>
                </a:moveTo>
                <a:lnTo>
                  <a:pt x="25251" y="4398"/>
                </a:lnTo>
                <a:lnTo>
                  <a:pt x="19301" y="0"/>
                </a:lnTo>
                <a:lnTo>
                  <a:pt x="5340" y="0"/>
                </a:lnTo>
                <a:lnTo>
                  <a:pt x="3448" y="1558"/>
                </a:lnTo>
                <a:lnTo>
                  <a:pt x="0" y="4398"/>
                </a:lnTo>
                <a:lnTo>
                  <a:pt x="0" y="9925"/>
                </a:lnTo>
                <a:lnTo>
                  <a:pt x="0" y="15113"/>
                </a:lnTo>
                <a:lnTo>
                  <a:pt x="5340" y="19512"/>
                </a:lnTo>
                <a:lnTo>
                  <a:pt x="19301" y="19512"/>
                </a:lnTo>
                <a:lnTo>
                  <a:pt x="25251" y="15113"/>
                </a:lnTo>
                <a:close/>
              </a:path>
            </a:pathLst>
          </a:custGeom>
          <a:solidFill>
            <a:srgbClr val="608FF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3" name="object 273"/>
          <p:cNvSpPr/>
          <p:nvPr/>
        </p:nvSpPr>
        <p:spPr>
          <a:xfrm>
            <a:off x="8564013" y="4551765"/>
            <a:ext cx="25251" cy="19512"/>
          </a:xfrm>
          <a:custGeom>
            <a:avLst/>
            <a:gdLst/>
            <a:ahLst/>
            <a:cxnLst/>
            <a:rect l="l" t="t" r="r" b="b"/>
            <a:pathLst>
              <a:path w="25251" h="19512">
                <a:moveTo>
                  <a:pt x="0" y="9925"/>
                </a:moveTo>
                <a:lnTo>
                  <a:pt x="0" y="15113"/>
                </a:lnTo>
                <a:lnTo>
                  <a:pt x="5340" y="19512"/>
                </a:lnTo>
                <a:lnTo>
                  <a:pt x="12435" y="19512"/>
                </a:lnTo>
              </a:path>
              <a:path w="25251" h="19512">
                <a:moveTo>
                  <a:pt x="25251" y="15113"/>
                </a:moveTo>
                <a:lnTo>
                  <a:pt x="25251" y="9925"/>
                </a:lnTo>
              </a:path>
              <a:path w="25251" h="19512">
                <a:moveTo>
                  <a:pt x="12435" y="19512"/>
                </a:moveTo>
                <a:lnTo>
                  <a:pt x="19301" y="19512"/>
                </a:lnTo>
                <a:lnTo>
                  <a:pt x="25251" y="15113"/>
                </a:lnTo>
              </a:path>
              <a:path w="25251" h="19512">
                <a:moveTo>
                  <a:pt x="25251" y="4398"/>
                </a:moveTo>
                <a:lnTo>
                  <a:pt x="19301" y="0"/>
                </a:lnTo>
                <a:lnTo>
                  <a:pt x="12435" y="0"/>
                </a:lnTo>
              </a:path>
              <a:path w="25251" h="19512">
                <a:moveTo>
                  <a:pt x="25251" y="9925"/>
                </a:moveTo>
                <a:lnTo>
                  <a:pt x="25251" y="4398"/>
                </a:lnTo>
              </a:path>
              <a:path w="25251" h="19512">
                <a:moveTo>
                  <a:pt x="12435" y="0"/>
                </a:moveTo>
                <a:lnTo>
                  <a:pt x="5340" y="0"/>
                </a:lnTo>
                <a:lnTo>
                  <a:pt x="3448" y="1558"/>
                </a:lnTo>
                <a:lnTo>
                  <a:pt x="0" y="4398"/>
                </a:lnTo>
                <a:lnTo>
                  <a:pt x="0" y="9925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4" name="object 274"/>
          <p:cNvSpPr/>
          <p:nvPr/>
        </p:nvSpPr>
        <p:spPr>
          <a:xfrm>
            <a:off x="8142284" y="4757435"/>
            <a:ext cx="128013" cy="364870"/>
          </a:xfrm>
          <a:custGeom>
            <a:avLst/>
            <a:gdLst/>
            <a:ahLst/>
            <a:cxnLst/>
            <a:rect l="l" t="t" r="r" b="b"/>
            <a:pathLst>
              <a:path w="128013" h="364870">
                <a:moveTo>
                  <a:pt x="0" y="0"/>
                </a:moveTo>
                <a:lnTo>
                  <a:pt x="26777" y="28873"/>
                </a:lnTo>
                <a:lnTo>
                  <a:pt x="40738" y="45679"/>
                </a:lnTo>
                <a:lnTo>
                  <a:pt x="44095" y="63725"/>
                </a:lnTo>
                <a:lnTo>
                  <a:pt x="26777" y="68519"/>
                </a:lnTo>
                <a:lnTo>
                  <a:pt x="9307" y="58875"/>
                </a:lnTo>
                <a:lnTo>
                  <a:pt x="19301" y="42126"/>
                </a:lnTo>
                <a:lnTo>
                  <a:pt x="34253" y="38404"/>
                </a:lnTo>
                <a:lnTo>
                  <a:pt x="46689" y="43479"/>
                </a:lnTo>
                <a:lnTo>
                  <a:pt x="58590" y="49006"/>
                </a:lnTo>
                <a:lnTo>
                  <a:pt x="66066" y="65248"/>
                </a:lnTo>
                <a:lnTo>
                  <a:pt x="68431" y="82673"/>
                </a:lnTo>
                <a:lnTo>
                  <a:pt x="48520" y="92317"/>
                </a:lnTo>
                <a:lnTo>
                  <a:pt x="36618" y="88200"/>
                </a:lnTo>
                <a:lnTo>
                  <a:pt x="36618" y="74327"/>
                </a:lnTo>
                <a:lnTo>
                  <a:pt x="48520" y="68519"/>
                </a:lnTo>
                <a:lnTo>
                  <a:pt x="60116" y="69646"/>
                </a:lnTo>
                <a:lnTo>
                  <a:pt x="70872" y="77203"/>
                </a:lnTo>
                <a:lnTo>
                  <a:pt x="79417" y="91471"/>
                </a:lnTo>
                <a:lnTo>
                  <a:pt x="80409" y="104707"/>
                </a:lnTo>
                <a:lnTo>
                  <a:pt x="73466" y="112410"/>
                </a:lnTo>
                <a:lnTo>
                  <a:pt x="63472" y="119014"/>
                </a:lnTo>
                <a:lnTo>
                  <a:pt x="44095" y="115715"/>
                </a:lnTo>
                <a:lnTo>
                  <a:pt x="45163" y="97844"/>
                </a:lnTo>
                <a:lnTo>
                  <a:pt x="61031" y="97392"/>
                </a:lnTo>
                <a:lnTo>
                  <a:pt x="72017" y="97844"/>
                </a:lnTo>
                <a:lnTo>
                  <a:pt x="85749" y="108006"/>
                </a:lnTo>
                <a:lnTo>
                  <a:pt x="85749" y="133738"/>
                </a:lnTo>
                <a:lnTo>
                  <a:pt x="70872" y="142542"/>
                </a:lnTo>
                <a:lnTo>
                  <a:pt x="58590" y="141718"/>
                </a:lnTo>
                <a:lnTo>
                  <a:pt x="51190" y="134838"/>
                </a:lnTo>
                <a:lnTo>
                  <a:pt x="64922" y="121213"/>
                </a:lnTo>
                <a:lnTo>
                  <a:pt x="78349" y="120802"/>
                </a:lnTo>
                <a:lnTo>
                  <a:pt x="95285" y="142542"/>
                </a:lnTo>
                <a:lnTo>
                  <a:pt x="93378" y="169645"/>
                </a:lnTo>
                <a:lnTo>
                  <a:pt x="80409" y="178036"/>
                </a:lnTo>
                <a:lnTo>
                  <a:pt x="63472" y="178448"/>
                </a:lnTo>
                <a:lnTo>
                  <a:pt x="55996" y="166340"/>
                </a:lnTo>
                <a:lnTo>
                  <a:pt x="61031" y="157125"/>
                </a:lnTo>
                <a:lnTo>
                  <a:pt x="80409" y="150933"/>
                </a:lnTo>
                <a:lnTo>
                  <a:pt x="93378" y="153132"/>
                </a:lnTo>
                <a:lnTo>
                  <a:pt x="102685" y="186151"/>
                </a:lnTo>
                <a:lnTo>
                  <a:pt x="101236" y="205139"/>
                </a:lnTo>
                <a:lnTo>
                  <a:pt x="97879" y="214636"/>
                </a:lnTo>
                <a:lnTo>
                  <a:pt x="81858" y="220552"/>
                </a:lnTo>
                <a:lnTo>
                  <a:pt x="68431" y="220134"/>
                </a:lnTo>
                <a:lnTo>
                  <a:pt x="60116" y="208027"/>
                </a:lnTo>
                <a:lnTo>
                  <a:pt x="64922" y="198947"/>
                </a:lnTo>
                <a:lnTo>
                  <a:pt x="76823" y="192620"/>
                </a:lnTo>
                <a:lnTo>
                  <a:pt x="87809" y="191520"/>
                </a:lnTo>
                <a:lnTo>
                  <a:pt x="102685" y="194819"/>
                </a:lnTo>
                <a:lnTo>
                  <a:pt x="110162" y="206927"/>
                </a:lnTo>
                <a:lnTo>
                  <a:pt x="112755" y="222063"/>
                </a:lnTo>
                <a:lnTo>
                  <a:pt x="105279" y="248754"/>
                </a:lnTo>
                <a:lnTo>
                  <a:pt x="95285" y="257969"/>
                </a:lnTo>
                <a:lnTo>
                  <a:pt x="82774" y="261550"/>
                </a:lnTo>
                <a:lnTo>
                  <a:pt x="70872" y="257969"/>
                </a:lnTo>
                <a:lnTo>
                  <a:pt x="61947" y="246138"/>
                </a:lnTo>
                <a:lnTo>
                  <a:pt x="66066" y="233759"/>
                </a:lnTo>
                <a:lnTo>
                  <a:pt x="79417" y="227155"/>
                </a:lnTo>
                <a:lnTo>
                  <a:pt x="95285" y="227155"/>
                </a:lnTo>
                <a:lnTo>
                  <a:pt x="122063" y="246967"/>
                </a:lnTo>
                <a:lnTo>
                  <a:pt x="128013" y="260174"/>
                </a:lnTo>
                <a:lnTo>
                  <a:pt x="124657" y="275858"/>
                </a:lnTo>
                <a:lnTo>
                  <a:pt x="111611" y="286448"/>
                </a:lnTo>
                <a:lnTo>
                  <a:pt x="105279" y="291676"/>
                </a:lnTo>
                <a:lnTo>
                  <a:pt x="98260" y="291952"/>
                </a:lnTo>
                <a:lnTo>
                  <a:pt x="85749" y="291676"/>
                </a:lnTo>
                <a:lnTo>
                  <a:pt x="75374" y="288653"/>
                </a:lnTo>
                <a:lnTo>
                  <a:pt x="69423" y="282461"/>
                </a:lnTo>
                <a:lnTo>
                  <a:pt x="69423" y="274341"/>
                </a:lnTo>
                <a:lnTo>
                  <a:pt x="75374" y="268566"/>
                </a:lnTo>
                <a:lnTo>
                  <a:pt x="84299" y="265949"/>
                </a:lnTo>
                <a:lnTo>
                  <a:pt x="96735" y="264573"/>
                </a:lnTo>
                <a:lnTo>
                  <a:pt x="108636" y="270765"/>
                </a:lnTo>
                <a:lnTo>
                  <a:pt x="113137" y="276957"/>
                </a:lnTo>
                <a:lnTo>
                  <a:pt x="117562" y="282873"/>
                </a:lnTo>
                <a:lnTo>
                  <a:pt x="119621" y="292364"/>
                </a:lnTo>
                <a:lnTo>
                  <a:pt x="119087" y="300073"/>
                </a:lnTo>
                <a:lnTo>
                  <a:pt x="117562" y="306948"/>
                </a:lnTo>
                <a:lnTo>
                  <a:pt x="113137" y="311076"/>
                </a:lnTo>
                <a:lnTo>
                  <a:pt x="107186" y="313969"/>
                </a:lnTo>
                <a:lnTo>
                  <a:pt x="101236" y="316168"/>
                </a:lnTo>
                <a:lnTo>
                  <a:pt x="90403" y="318368"/>
                </a:lnTo>
                <a:lnTo>
                  <a:pt x="75374" y="318368"/>
                </a:lnTo>
                <a:lnTo>
                  <a:pt x="63472" y="316856"/>
                </a:lnTo>
                <a:lnTo>
                  <a:pt x="55615" y="309976"/>
                </a:lnTo>
                <a:lnTo>
                  <a:pt x="58056" y="301861"/>
                </a:lnTo>
                <a:lnTo>
                  <a:pt x="64922" y="297457"/>
                </a:lnTo>
                <a:lnTo>
                  <a:pt x="74382" y="296357"/>
                </a:lnTo>
                <a:lnTo>
                  <a:pt x="83384" y="295257"/>
                </a:lnTo>
                <a:lnTo>
                  <a:pt x="94904" y="297457"/>
                </a:lnTo>
                <a:lnTo>
                  <a:pt x="100320" y="301173"/>
                </a:lnTo>
                <a:lnTo>
                  <a:pt x="110696" y="317268"/>
                </a:lnTo>
                <a:lnTo>
                  <a:pt x="114586" y="330064"/>
                </a:lnTo>
                <a:lnTo>
                  <a:pt x="108254" y="342860"/>
                </a:lnTo>
                <a:lnTo>
                  <a:pt x="102685" y="349187"/>
                </a:lnTo>
                <a:lnTo>
                  <a:pt x="93378" y="351663"/>
                </a:lnTo>
                <a:lnTo>
                  <a:pt x="82774" y="351663"/>
                </a:lnTo>
                <a:lnTo>
                  <a:pt x="75374" y="351386"/>
                </a:lnTo>
                <a:lnTo>
                  <a:pt x="70491" y="348775"/>
                </a:lnTo>
                <a:lnTo>
                  <a:pt x="66066" y="344783"/>
                </a:lnTo>
                <a:lnTo>
                  <a:pt x="64922" y="338867"/>
                </a:lnTo>
                <a:lnTo>
                  <a:pt x="64922" y="334880"/>
                </a:lnTo>
                <a:lnTo>
                  <a:pt x="70872" y="328688"/>
                </a:lnTo>
                <a:lnTo>
                  <a:pt x="84299" y="326071"/>
                </a:lnTo>
                <a:lnTo>
                  <a:pt x="96735" y="327176"/>
                </a:lnTo>
                <a:lnTo>
                  <a:pt x="107186" y="331163"/>
                </a:lnTo>
                <a:lnTo>
                  <a:pt x="112755" y="335291"/>
                </a:lnTo>
                <a:lnTo>
                  <a:pt x="114281" y="338596"/>
                </a:lnTo>
                <a:lnTo>
                  <a:pt x="116112" y="345888"/>
                </a:lnTo>
                <a:lnTo>
                  <a:pt x="112755" y="354967"/>
                </a:lnTo>
                <a:lnTo>
                  <a:pt x="107186" y="358678"/>
                </a:lnTo>
                <a:lnTo>
                  <a:pt x="97879" y="362395"/>
                </a:lnTo>
                <a:lnTo>
                  <a:pt x="87275" y="364870"/>
                </a:lnTo>
                <a:lnTo>
                  <a:pt x="78349" y="364182"/>
                </a:lnTo>
                <a:lnTo>
                  <a:pt x="61031" y="360471"/>
                </a:lnTo>
              </a:path>
            </a:pathLst>
          </a:custGeom>
          <a:ln w="3977">
            <a:solidFill>
              <a:srgbClr val="404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5" name="object 275"/>
          <p:cNvSpPr/>
          <p:nvPr/>
        </p:nvSpPr>
        <p:spPr>
          <a:xfrm>
            <a:off x="8010149" y="5096303"/>
            <a:ext cx="192630" cy="151339"/>
          </a:xfrm>
          <a:custGeom>
            <a:avLst/>
            <a:gdLst/>
            <a:ahLst/>
            <a:cxnLst/>
            <a:rect l="l" t="t" r="r" b="b"/>
            <a:pathLst>
              <a:path w="192630" h="151339">
                <a:moveTo>
                  <a:pt x="192630" y="25315"/>
                </a:moveTo>
                <a:lnTo>
                  <a:pt x="192630" y="0"/>
                </a:lnTo>
                <a:lnTo>
                  <a:pt x="0" y="108829"/>
                </a:lnTo>
                <a:lnTo>
                  <a:pt x="0" y="151339"/>
                </a:lnTo>
                <a:lnTo>
                  <a:pt x="192630" y="25315"/>
                </a:lnTo>
                <a:close/>
              </a:path>
            </a:pathLst>
          </a:custGeom>
          <a:solidFill>
            <a:srgbClr val="DFD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6" name="object 276"/>
          <p:cNvSpPr/>
          <p:nvPr/>
        </p:nvSpPr>
        <p:spPr>
          <a:xfrm>
            <a:off x="8010149" y="5096303"/>
            <a:ext cx="192630" cy="151339"/>
          </a:xfrm>
          <a:custGeom>
            <a:avLst/>
            <a:gdLst/>
            <a:ahLst/>
            <a:cxnLst/>
            <a:rect l="l" t="t" r="r" b="b"/>
            <a:pathLst>
              <a:path w="192630" h="151339">
                <a:moveTo>
                  <a:pt x="192630" y="25315"/>
                </a:moveTo>
                <a:lnTo>
                  <a:pt x="192630" y="0"/>
                </a:lnTo>
                <a:lnTo>
                  <a:pt x="0" y="108829"/>
                </a:lnTo>
                <a:lnTo>
                  <a:pt x="0" y="151339"/>
                </a:lnTo>
                <a:lnTo>
                  <a:pt x="192630" y="25315"/>
                </a:lnTo>
              </a:path>
            </a:pathLst>
          </a:custGeom>
          <a:ln w="686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7" name="object 277"/>
          <p:cNvSpPr/>
          <p:nvPr/>
        </p:nvSpPr>
        <p:spPr>
          <a:xfrm>
            <a:off x="7971395" y="5079108"/>
            <a:ext cx="231387" cy="126024"/>
          </a:xfrm>
          <a:custGeom>
            <a:avLst/>
            <a:gdLst/>
            <a:ahLst/>
            <a:cxnLst/>
            <a:rect l="l" t="t" r="r" b="b"/>
            <a:pathLst>
              <a:path w="231386" h="126024">
                <a:moveTo>
                  <a:pt x="231386" y="17194"/>
                </a:moveTo>
                <a:lnTo>
                  <a:pt x="205676" y="0"/>
                </a:lnTo>
                <a:lnTo>
                  <a:pt x="145757" y="17194"/>
                </a:lnTo>
                <a:lnTo>
                  <a:pt x="0" y="59022"/>
                </a:lnTo>
                <a:lnTo>
                  <a:pt x="38755" y="126024"/>
                </a:lnTo>
                <a:lnTo>
                  <a:pt x="231386" y="17194"/>
                </a:lnTo>
                <a:close/>
              </a:path>
            </a:pathLst>
          </a:custGeom>
          <a:solidFill>
            <a:srgbClr val="FFF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8" name="object 278"/>
          <p:cNvSpPr/>
          <p:nvPr/>
        </p:nvSpPr>
        <p:spPr>
          <a:xfrm>
            <a:off x="7971395" y="5079108"/>
            <a:ext cx="231387" cy="126024"/>
          </a:xfrm>
          <a:custGeom>
            <a:avLst/>
            <a:gdLst/>
            <a:ahLst/>
            <a:cxnLst/>
            <a:rect l="l" t="t" r="r" b="b"/>
            <a:pathLst>
              <a:path w="231386" h="126024">
                <a:moveTo>
                  <a:pt x="231386" y="17194"/>
                </a:moveTo>
                <a:lnTo>
                  <a:pt x="205676" y="0"/>
                </a:lnTo>
                <a:lnTo>
                  <a:pt x="145757" y="17194"/>
                </a:lnTo>
                <a:lnTo>
                  <a:pt x="0" y="59022"/>
                </a:lnTo>
                <a:lnTo>
                  <a:pt x="38755" y="126024"/>
                </a:lnTo>
                <a:lnTo>
                  <a:pt x="231386" y="17194"/>
                </a:lnTo>
              </a:path>
            </a:pathLst>
          </a:custGeom>
          <a:ln w="654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9" name="object 279"/>
          <p:cNvSpPr/>
          <p:nvPr/>
        </p:nvSpPr>
        <p:spPr>
          <a:xfrm>
            <a:off x="7648875" y="5079107"/>
            <a:ext cx="528196" cy="59022"/>
          </a:xfrm>
          <a:custGeom>
            <a:avLst/>
            <a:gdLst/>
            <a:ahLst/>
            <a:cxnLst/>
            <a:rect l="l" t="t" r="r" b="b"/>
            <a:pathLst>
              <a:path w="528197" h="59022">
                <a:moveTo>
                  <a:pt x="482492" y="13116"/>
                </a:moveTo>
                <a:lnTo>
                  <a:pt x="528197" y="0"/>
                </a:lnTo>
                <a:lnTo>
                  <a:pt x="247376" y="0"/>
                </a:lnTo>
                <a:lnTo>
                  <a:pt x="0" y="59022"/>
                </a:lnTo>
                <a:lnTo>
                  <a:pt x="322521" y="59022"/>
                </a:lnTo>
                <a:lnTo>
                  <a:pt x="482492" y="13116"/>
                </a:lnTo>
                <a:close/>
              </a:path>
            </a:pathLst>
          </a:custGeom>
          <a:solidFill>
            <a:srgbClr val="FFFF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0" name="object 280"/>
          <p:cNvSpPr/>
          <p:nvPr/>
        </p:nvSpPr>
        <p:spPr>
          <a:xfrm>
            <a:off x="7648875" y="5079107"/>
            <a:ext cx="528196" cy="59022"/>
          </a:xfrm>
          <a:custGeom>
            <a:avLst/>
            <a:gdLst/>
            <a:ahLst/>
            <a:cxnLst/>
            <a:rect l="l" t="t" r="r" b="b"/>
            <a:pathLst>
              <a:path w="528197" h="59022">
                <a:moveTo>
                  <a:pt x="482492" y="13116"/>
                </a:moveTo>
                <a:lnTo>
                  <a:pt x="528197" y="0"/>
                </a:lnTo>
                <a:lnTo>
                  <a:pt x="247376" y="0"/>
                </a:lnTo>
                <a:lnTo>
                  <a:pt x="0" y="59022"/>
                </a:lnTo>
                <a:lnTo>
                  <a:pt x="322521" y="59022"/>
                </a:lnTo>
                <a:lnTo>
                  <a:pt x="482492" y="13116"/>
                </a:lnTo>
              </a:path>
            </a:pathLst>
          </a:custGeom>
          <a:ln w="607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1" name="object 281"/>
          <p:cNvSpPr/>
          <p:nvPr/>
        </p:nvSpPr>
        <p:spPr>
          <a:xfrm>
            <a:off x="7597317" y="5226385"/>
            <a:ext cx="412793" cy="0"/>
          </a:xfrm>
          <a:custGeom>
            <a:avLst/>
            <a:gdLst/>
            <a:ahLst/>
            <a:cxnLst/>
            <a:rect l="l" t="t" r="r" b="b"/>
            <a:pathLst>
              <a:path w="412794">
                <a:moveTo>
                  <a:pt x="412794" y="0"/>
                </a:moveTo>
                <a:lnTo>
                  <a:pt x="0" y="0"/>
                </a:lnTo>
              </a:path>
              <a:path w="412794">
                <a:moveTo>
                  <a:pt x="0" y="1"/>
                </a:moveTo>
                <a:lnTo>
                  <a:pt x="412794" y="0"/>
                </a:lnTo>
              </a:path>
            </a:pathLst>
          </a:custGeom>
          <a:ln w="51505">
            <a:solidFill>
              <a:srgbClr val="FFFF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2" name="object 282"/>
          <p:cNvSpPr/>
          <p:nvPr/>
        </p:nvSpPr>
        <p:spPr>
          <a:xfrm>
            <a:off x="7597317" y="5205129"/>
            <a:ext cx="412793" cy="42512"/>
          </a:xfrm>
          <a:custGeom>
            <a:avLst/>
            <a:gdLst/>
            <a:ahLst/>
            <a:cxnLst/>
            <a:rect l="l" t="t" r="r" b="b"/>
            <a:pathLst>
              <a:path w="412794" h="42512">
                <a:moveTo>
                  <a:pt x="412794" y="0"/>
                </a:moveTo>
                <a:lnTo>
                  <a:pt x="0" y="0"/>
                </a:lnTo>
                <a:lnTo>
                  <a:pt x="0" y="42512"/>
                </a:lnTo>
                <a:lnTo>
                  <a:pt x="412794" y="42512"/>
                </a:lnTo>
                <a:lnTo>
                  <a:pt x="412794" y="0"/>
                </a:lnTo>
              </a:path>
            </a:pathLst>
          </a:custGeom>
          <a:ln w="60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3" name="object 283"/>
          <p:cNvSpPr/>
          <p:nvPr/>
        </p:nvSpPr>
        <p:spPr>
          <a:xfrm>
            <a:off x="7597316" y="5138130"/>
            <a:ext cx="412832" cy="67001"/>
          </a:xfrm>
          <a:custGeom>
            <a:avLst/>
            <a:gdLst/>
            <a:ahLst/>
            <a:cxnLst/>
            <a:rect l="l" t="t" r="r" b="b"/>
            <a:pathLst>
              <a:path w="412832" h="67001">
                <a:moveTo>
                  <a:pt x="374077" y="0"/>
                </a:moveTo>
                <a:lnTo>
                  <a:pt x="51556" y="0"/>
                </a:lnTo>
                <a:lnTo>
                  <a:pt x="46223" y="6931"/>
                </a:lnTo>
                <a:lnTo>
                  <a:pt x="0" y="67001"/>
                </a:lnTo>
                <a:lnTo>
                  <a:pt x="412832" y="67001"/>
                </a:lnTo>
                <a:lnTo>
                  <a:pt x="374077" y="0"/>
                </a:lnTo>
                <a:close/>
              </a:path>
            </a:pathLst>
          </a:custGeom>
          <a:solidFill>
            <a:srgbClr val="FFF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4" name="object 284"/>
          <p:cNvSpPr/>
          <p:nvPr/>
        </p:nvSpPr>
        <p:spPr>
          <a:xfrm>
            <a:off x="7597316" y="5138130"/>
            <a:ext cx="412832" cy="67001"/>
          </a:xfrm>
          <a:custGeom>
            <a:avLst/>
            <a:gdLst/>
            <a:ahLst/>
            <a:cxnLst/>
            <a:rect l="l" t="t" r="r" b="b"/>
            <a:pathLst>
              <a:path w="412832" h="67001">
                <a:moveTo>
                  <a:pt x="374077" y="0"/>
                </a:moveTo>
                <a:lnTo>
                  <a:pt x="51556" y="0"/>
                </a:lnTo>
                <a:lnTo>
                  <a:pt x="46223" y="6931"/>
                </a:lnTo>
                <a:lnTo>
                  <a:pt x="0" y="67001"/>
                </a:lnTo>
                <a:lnTo>
                  <a:pt x="412832" y="67001"/>
                </a:lnTo>
                <a:lnTo>
                  <a:pt x="374077" y="0"/>
                </a:lnTo>
              </a:path>
            </a:pathLst>
          </a:custGeom>
          <a:ln w="6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5" name="object 285"/>
          <p:cNvSpPr/>
          <p:nvPr/>
        </p:nvSpPr>
        <p:spPr>
          <a:xfrm>
            <a:off x="7867558" y="5121206"/>
            <a:ext cx="134582" cy="8803"/>
          </a:xfrm>
          <a:custGeom>
            <a:avLst/>
            <a:gdLst/>
            <a:ahLst/>
            <a:cxnLst/>
            <a:rect l="l" t="t" r="r" b="b"/>
            <a:pathLst>
              <a:path w="134582" h="8803">
                <a:moveTo>
                  <a:pt x="133751" y="237"/>
                </a:moveTo>
                <a:lnTo>
                  <a:pt x="134582" y="0"/>
                </a:lnTo>
                <a:lnTo>
                  <a:pt x="33117" y="0"/>
                </a:lnTo>
                <a:lnTo>
                  <a:pt x="0" y="8803"/>
                </a:lnTo>
                <a:lnTo>
                  <a:pt x="103837" y="8803"/>
                </a:lnTo>
                <a:lnTo>
                  <a:pt x="133751" y="237"/>
                </a:lnTo>
                <a:close/>
              </a:path>
            </a:pathLst>
          </a:custGeom>
          <a:solidFill>
            <a:srgbClr val="80FF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6" name="object 286"/>
          <p:cNvSpPr/>
          <p:nvPr/>
        </p:nvSpPr>
        <p:spPr>
          <a:xfrm>
            <a:off x="7867558" y="5121206"/>
            <a:ext cx="134582" cy="8803"/>
          </a:xfrm>
          <a:custGeom>
            <a:avLst/>
            <a:gdLst/>
            <a:ahLst/>
            <a:cxnLst/>
            <a:rect l="l" t="t" r="r" b="b"/>
            <a:pathLst>
              <a:path w="134582" h="8803">
                <a:moveTo>
                  <a:pt x="133751" y="237"/>
                </a:moveTo>
                <a:lnTo>
                  <a:pt x="134582" y="0"/>
                </a:lnTo>
                <a:lnTo>
                  <a:pt x="33117" y="0"/>
                </a:lnTo>
                <a:lnTo>
                  <a:pt x="0" y="8803"/>
                </a:lnTo>
                <a:lnTo>
                  <a:pt x="103837" y="8803"/>
                </a:lnTo>
                <a:lnTo>
                  <a:pt x="133751" y="237"/>
                </a:lnTo>
              </a:path>
            </a:pathLst>
          </a:custGeom>
          <a:ln w="606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7" name="object 287"/>
          <p:cNvSpPr/>
          <p:nvPr/>
        </p:nvSpPr>
        <p:spPr>
          <a:xfrm>
            <a:off x="7914636" y="5087500"/>
            <a:ext cx="210711" cy="25315"/>
          </a:xfrm>
          <a:custGeom>
            <a:avLst/>
            <a:gdLst/>
            <a:ahLst/>
            <a:cxnLst/>
            <a:rect l="l" t="t" r="r" b="b"/>
            <a:pathLst>
              <a:path w="210711" h="25315">
                <a:moveTo>
                  <a:pt x="197307" y="3750"/>
                </a:moveTo>
                <a:lnTo>
                  <a:pt x="210711" y="0"/>
                </a:lnTo>
                <a:lnTo>
                  <a:pt x="95514" y="0"/>
                </a:lnTo>
                <a:lnTo>
                  <a:pt x="58836" y="9721"/>
                </a:lnTo>
                <a:lnTo>
                  <a:pt x="0" y="25315"/>
                </a:lnTo>
                <a:lnTo>
                  <a:pt x="120232" y="25315"/>
                </a:lnTo>
                <a:lnTo>
                  <a:pt x="197307" y="375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8" name="object 288"/>
          <p:cNvSpPr/>
          <p:nvPr/>
        </p:nvSpPr>
        <p:spPr>
          <a:xfrm>
            <a:off x="7914636" y="5087500"/>
            <a:ext cx="210711" cy="25315"/>
          </a:xfrm>
          <a:custGeom>
            <a:avLst/>
            <a:gdLst/>
            <a:ahLst/>
            <a:cxnLst/>
            <a:rect l="l" t="t" r="r" b="b"/>
            <a:pathLst>
              <a:path w="210711" h="25315">
                <a:moveTo>
                  <a:pt x="197307" y="3750"/>
                </a:moveTo>
                <a:lnTo>
                  <a:pt x="210711" y="0"/>
                </a:lnTo>
                <a:lnTo>
                  <a:pt x="95514" y="0"/>
                </a:lnTo>
                <a:lnTo>
                  <a:pt x="58836" y="9721"/>
                </a:lnTo>
                <a:lnTo>
                  <a:pt x="0" y="25315"/>
                </a:lnTo>
                <a:lnTo>
                  <a:pt x="120232" y="25315"/>
                </a:lnTo>
                <a:lnTo>
                  <a:pt x="197307" y="3750"/>
                </a:lnTo>
              </a:path>
            </a:pathLst>
          </a:custGeom>
          <a:ln w="608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9" name="object 289"/>
          <p:cNvSpPr/>
          <p:nvPr/>
        </p:nvSpPr>
        <p:spPr>
          <a:xfrm>
            <a:off x="7872022" y="5094515"/>
            <a:ext cx="339685" cy="1099"/>
          </a:xfrm>
          <a:custGeom>
            <a:avLst/>
            <a:gdLst/>
            <a:ahLst/>
            <a:cxnLst/>
            <a:rect l="l" t="t" r="r" b="b"/>
            <a:pathLst>
              <a:path w="339686" h="1099">
                <a:moveTo>
                  <a:pt x="230432" y="353"/>
                </a:moveTo>
                <a:lnTo>
                  <a:pt x="113183" y="733"/>
                </a:lnTo>
              </a:path>
              <a:path w="339686" h="1099">
                <a:moveTo>
                  <a:pt x="113183" y="734"/>
                </a:moveTo>
                <a:lnTo>
                  <a:pt x="230432" y="354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0" name="object 290"/>
          <p:cNvSpPr/>
          <p:nvPr/>
        </p:nvSpPr>
        <p:spPr>
          <a:xfrm>
            <a:off x="7839637" y="5104011"/>
            <a:ext cx="338351" cy="0"/>
          </a:xfrm>
          <a:custGeom>
            <a:avLst/>
            <a:gdLst/>
            <a:ahLst/>
            <a:cxnLst/>
            <a:rect l="l" t="t" r="r" b="b"/>
            <a:pathLst>
              <a:path w="338351">
                <a:moveTo>
                  <a:pt x="229455" y="0"/>
                </a:moveTo>
                <a:lnTo>
                  <a:pt x="112763" y="0"/>
                </a:lnTo>
              </a:path>
              <a:path w="338351">
                <a:moveTo>
                  <a:pt x="112763" y="0"/>
                </a:moveTo>
                <a:lnTo>
                  <a:pt x="229455" y="0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1" name="object 291"/>
          <p:cNvSpPr/>
          <p:nvPr/>
        </p:nvSpPr>
        <p:spPr>
          <a:xfrm>
            <a:off x="7868487" y="5062183"/>
            <a:ext cx="269675" cy="75946"/>
          </a:xfrm>
          <a:custGeom>
            <a:avLst/>
            <a:gdLst/>
            <a:ahLst/>
            <a:cxnLst/>
            <a:rect l="l" t="t" r="r" b="b"/>
            <a:pathLst>
              <a:path w="269675" h="75946">
                <a:moveTo>
                  <a:pt x="183850" y="24170"/>
                </a:moveTo>
                <a:lnTo>
                  <a:pt x="89861" y="50639"/>
                </a:lnTo>
              </a:path>
              <a:path w="269675" h="75946">
                <a:moveTo>
                  <a:pt x="89861" y="50640"/>
                </a:moveTo>
                <a:lnTo>
                  <a:pt x="183850" y="24170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2" name="object 292"/>
          <p:cNvSpPr/>
          <p:nvPr/>
        </p:nvSpPr>
        <p:spPr>
          <a:xfrm>
            <a:off x="7907159" y="5062183"/>
            <a:ext cx="269912" cy="75946"/>
          </a:xfrm>
          <a:custGeom>
            <a:avLst/>
            <a:gdLst/>
            <a:ahLst/>
            <a:cxnLst/>
            <a:rect l="l" t="t" r="r" b="b"/>
            <a:pathLst>
              <a:path w="269912" h="75946">
                <a:moveTo>
                  <a:pt x="183933" y="24191"/>
                </a:moveTo>
                <a:lnTo>
                  <a:pt x="89945" y="50637"/>
                </a:lnTo>
              </a:path>
              <a:path w="269912" h="75946">
                <a:moveTo>
                  <a:pt x="89945" y="50638"/>
                </a:moveTo>
                <a:lnTo>
                  <a:pt x="183933" y="24192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3" name="object 293"/>
          <p:cNvSpPr/>
          <p:nvPr/>
        </p:nvSpPr>
        <p:spPr>
          <a:xfrm>
            <a:off x="7725925" y="5087500"/>
            <a:ext cx="271179" cy="42509"/>
          </a:xfrm>
          <a:custGeom>
            <a:avLst/>
            <a:gdLst/>
            <a:ahLst/>
            <a:cxnLst/>
            <a:rect l="l" t="t" r="r" b="b"/>
            <a:pathLst>
              <a:path w="271178" h="42509">
                <a:moveTo>
                  <a:pt x="222175" y="12366"/>
                </a:moveTo>
                <a:lnTo>
                  <a:pt x="271178" y="0"/>
                </a:lnTo>
                <a:lnTo>
                  <a:pt x="167348" y="0"/>
                </a:lnTo>
                <a:lnTo>
                  <a:pt x="108776" y="14878"/>
                </a:lnTo>
                <a:lnTo>
                  <a:pt x="0" y="42509"/>
                </a:lnTo>
                <a:lnTo>
                  <a:pt x="102731" y="42509"/>
                </a:lnTo>
                <a:lnTo>
                  <a:pt x="222175" y="12366"/>
                </a:lnTo>
                <a:close/>
              </a:path>
            </a:pathLst>
          </a:custGeom>
          <a:solidFill>
            <a:srgbClr val="FFF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4" name="object 294"/>
          <p:cNvSpPr/>
          <p:nvPr/>
        </p:nvSpPr>
        <p:spPr>
          <a:xfrm>
            <a:off x="7725925" y="5087500"/>
            <a:ext cx="271179" cy="42509"/>
          </a:xfrm>
          <a:custGeom>
            <a:avLst/>
            <a:gdLst/>
            <a:ahLst/>
            <a:cxnLst/>
            <a:rect l="l" t="t" r="r" b="b"/>
            <a:pathLst>
              <a:path w="271178" h="42509">
                <a:moveTo>
                  <a:pt x="222175" y="12366"/>
                </a:moveTo>
                <a:lnTo>
                  <a:pt x="271178" y="0"/>
                </a:lnTo>
                <a:lnTo>
                  <a:pt x="167348" y="0"/>
                </a:lnTo>
                <a:lnTo>
                  <a:pt x="108776" y="14878"/>
                </a:lnTo>
                <a:lnTo>
                  <a:pt x="0" y="42509"/>
                </a:lnTo>
                <a:lnTo>
                  <a:pt x="102731" y="42509"/>
                </a:lnTo>
                <a:lnTo>
                  <a:pt x="222175" y="12366"/>
                </a:lnTo>
              </a:path>
            </a:pathLst>
          </a:custGeom>
          <a:ln w="610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5" name="object 295"/>
          <p:cNvSpPr/>
          <p:nvPr/>
        </p:nvSpPr>
        <p:spPr>
          <a:xfrm>
            <a:off x="7724997" y="5112403"/>
            <a:ext cx="82445" cy="17606"/>
          </a:xfrm>
          <a:custGeom>
            <a:avLst/>
            <a:gdLst/>
            <a:ahLst/>
            <a:cxnLst/>
            <a:rect l="l" t="t" r="r" b="b"/>
            <a:pathLst>
              <a:path w="82446" h="17606">
                <a:moveTo>
                  <a:pt x="82446" y="0"/>
                </a:moveTo>
                <a:lnTo>
                  <a:pt x="68485" y="0"/>
                </a:lnTo>
                <a:lnTo>
                  <a:pt x="36291" y="8276"/>
                </a:lnTo>
                <a:lnTo>
                  <a:pt x="0" y="17606"/>
                </a:lnTo>
                <a:lnTo>
                  <a:pt x="12839" y="17606"/>
                </a:lnTo>
                <a:lnTo>
                  <a:pt x="82446" y="0"/>
                </a:lnTo>
                <a:close/>
              </a:path>
            </a:pathLst>
          </a:custGeom>
          <a:solidFill>
            <a:srgbClr val="C0C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6" name="object 296"/>
          <p:cNvSpPr/>
          <p:nvPr/>
        </p:nvSpPr>
        <p:spPr>
          <a:xfrm>
            <a:off x="7724997" y="5112403"/>
            <a:ext cx="82445" cy="17606"/>
          </a:xfrm>
          <a:custGeom>
            <a:avLst/>
            <a:gdLst/>
            <a:ahLst/>
            <a:cxnLst/>
            <a:rect l="l" t="t" r="r" b="b"/>
            <a:pathLst>
              <a:path w="82446" h="17606">
                <a:moveTo>
                  <a:pt x="82446" y="0"/>
                </a:moveTo>
                <a:lnTo>
                  <a:pt x="68485" y="0"/>
                </a:lnTo>
                <a:lnTo>
                  <a:pt x="36291" y="8276"/>
                </a:lnTo>
                <a:lnTo>
                  <a:pt x="0" y="17606"/>
                </a:lnTo>
                <a:lnTo>
                  <a:pt x="12839" y="17606"/>
                </a:lnTo>
                <a:lnTo>
                  <a:pt x="82446" y="0"/>
                </a:lnTo>
              </a:path>
            </a:pathLst>
          </a:custGeom>
          <a:ln w="6146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7" name="object 297"/>
          <p:cNvSpPr/>
          <p:nvPr/>
        </p:nvSpPr>
        <p:spPr>
          <a:xfrm>
            <a:off x="7829215" y="5087500"/>
            <a:ext cx="64594" cy="16923"/>
          </a:xfrm>
          <a:custGeom>
            <a:avLst/>
            <a:gdLst/>
            <a:ahLst/>
            <a:cxnLst/>
            <a:rect l="l" t="t" r="r" b="b"/>
            <a:pathLst>
              <a:path w="64594" h="16923">
                <a:moveTo>
                  <a:pt x="45098" y="8709"/>
                </a:moveTo>
                <a:lnTo>
                  <a:pt x="64594" y="3716"/>
                </a:lnTo>
                <a:lnTo>
                  <a:pt x="64594" y="0"/>
                </a:lnTo>
                <a:lnTo>
                  <a:pt x="31742" y="8397"/>
                </a:lnTo>
                <a:lnTo>
                  <a:pt x="0" y="16512"/>
                </a:lnTo>
                <a:lnTo>
                  <a:pt x="13030" y="16923"/>
                </a:lnTo>
                <a:lnTo>
                  <a:pt x="45098" y="8709"/>
                </a:lnTo>
                <a:close/>
              </a:path>
            </a:pathLst>
          </a:custGeom>
          <a:solidFill>
            <a:srgbClr val="C0C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8" name="object 298"/>
          <p:cNvSpPr/>
          <p:nvPr/>
        </p:nvSpPr>
        <p:spPr>
          <a:xfrm>
            <a:off x="7829215" y="5087500"/>
            <a:ext cx="64594" cy="16923"/>
          </a:xfrm>
          <a:custGeom>
            <a:avLst/>
            <a:gdLst/>
            <a:ahLst/>
            <a:cxnLst/>
            <a:rect l="l" t="t" r="r" b="b"/>
            <a:pathLst>
              <a:path w="64594" h="16923">
                <a:moveTo>
                  <a:pt x="45098" y="8709"/>
                </a:moveTo>
                <a:lnTo>
                  <a:pt x="64594" y="3716"/>
                </a:lnTo>
                <a:lnTo>
                  <a:pt x="64594" y="0"/>
                </a:lnTo>
                <a:lnTo>
                  <a:pt x="31742" y="8397"/>
                </a:lnTo>
                <a:lnTo>
                  <a:pt x="0" y="16512"/>
                </a:lnTo>
                <a:lnTo>
                  <a:pt x="13030" y="16923"/>
                </a:lnTo>
                <a:lnTo>
                  <a:pt x="45098" y="8709"/>
                </a:lnTo>
              </a:path>
            </a:pathLst>
          </a:custGeom>
          <a:ln w="619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9" name="object 299"/>
          <p:cNvSpPr/>
          <p:nvPr/>
        </p:nvSpPr>
        <p:spPr>
          <a:xfrm>
            <a:off x="7892893" y="5087499"/>
            <a:ext cx="103829" cy="4816"/>
          </a:xfrm>
          <a:custGeom>
            <a:avLst/>
            <a:gdLst/>
            <a:ahLst/>
            <a:cxnLst/>
            <a:rect l="l" t="t" r="r" b="b"/>
            <a:pathLst>
              <a:path w="103829" h="4816">
                <a:moveTo>
                  <a:pt x="103829" y="0"/>
                </a:moveTo>
                <a:lnTo>
                  <a:pt x="0" y="0"/>
                </a:lnTo>
                <a:lnTo>
                  <a:pt x="0" y="4816"/>
                </a:lnTo>
                <a:lnTo>
                  <a:pt x="83002" y="4816"/>
                </a:lnTo>
                <a:lnTo>
                  <a:pt x="103829" y="0"/>
                </a:lnTo>
                <a:close/>
              </a:path>
            </a:pathLst>
          </a:custGeom>
          <a:solidFill>
            <a:srgbClr val="DFD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0" name="object 300"/>
          <p:cNvSpPr/>
          <p:nvPr/>
        </p:nvSpPr>
        <p:spPr>
          <a:xfrm>
            <a:off x="7892893" y="5087499"/>
            <a:ext cx="103829" cy="4816"/>
          </a:xfrm>
          <a:custGeom>
            <a:avLst/>
            <a:gdLst/>
            <a:ahLst/>
            <a:cxnLst/>
            <a:rect l="l" t="t" r="r" b="b"/>
            <a:pathLst>
              <a:path w="103829" h="4816">
                <a:moveTo>
                  <a:pt x="103829" y="0"/>
                </a:moveTo>
                <a:lnTo>
                  <a:pt x="0" y="0"/>
                </a:lnTo>
                <a:lnTo>
                  <a:pt x="0" y="4816"/>
                </a:lnTo>
                <a:lnTo>
                  <a:pt x="83002" y="4816"/>
                </a:lnTo>
                <a:lnTo>
                  <a:pt x="103829" y="0"/>
                </a:lnTo>
              </a:path>
            </a:pathLst>
          </a:custGeom>
          <a:ln w="605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1" name="object 301"/>
          <p:cNvSpPr/>
          <p:nvPr/>
        </p:nvSpPr>
        <p:spPr>
          <a:xfrm>
            <a:off x="7792924" y="5104424"/>
            <a:ext cx="136588" cy="8391"/>
          </a:xfrm>
          <a:custGeom>
            <a:avLst/>
            <a:gdLst/>
            <a:ahLst/>
            <a:cxnLst/>
            <a:rect l="l" t="t" r="r" b="b"/>
            <a:pathLst>
              <a:path w="136588" h="8391">
                <a:moveTo>
                  <a:pt x="136588" y="0"/>
                </a:moveTo>
                <a:lnTo>
                  <a:pt x="35360" y="0"/>
                </a:lnTo>
                <a:lnTo>
                  <a:pt x="0" y="8391"/>
                </a:lnTo>
                <a:lnTo>
                  <a:pt x="100885" y="8391"/>
                </a:lnTo>
                <a:lnTo>
                  <a:pt x="136588" y="0"/>
                </a:lnTo>
                <a:close/>
              </a:path>
            </a:pathLst>
          </a:custGeom>
          <a:solidFill>
            <a:srgbClr val="FFFF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2" name="object 302"/>
          <p:cNvSpPr/>
          <p:nvPr/>
        </p:nvSpPr>
        <p:spPr>
          <a:xfrm>
            <a:off x="7792924" y="5104424"/>
            <a:ext cx="136588" cy="8391"/>
          </a:xfrm>
          <a:custGeom>
            <a:avLst/>
            <a:gdLst/>
            <a:ahLst/>
            <a:cxnLst/>
            <a:rect l="l" t="t" r="r" b="b"/>
            <a:pathLst>
              <a:path w="136588" h="8391">
                <a:moveTo>
                  <a:pt x="136588" y="0"/>
                </a:moveTo>
                <a:lnTo>
                  <a:pt x="35360" y="0"/>
                </a:lnTo>
                <a:lnTo>
                  <a:pt x="0" y="8391"/>
                </a:lnTo>
                <a:lnTo>
                  <a:pt x="100885" y="8391"/>
                </a:lnTo>
                <a:lnTo>
                  <a:pt x="136588" y="0"/>
                </a:lnTo>
              </a:path>
            </a:pathLst>
          </a:custGeom>
          <a:ln w="606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3" name="object 303"/>
          <p:cNvSpPr/>
          <p:nvPr/>
        </p:nvSpPr>
        <p:spPr>
          <a:xfrm>
            <a:off x="7660133" y="4463542"/>
            <a:ext cx="305308" cy="62864"/>
          </a:xfrm>
          <a:custGeom>
            <a:avLst/>
            <a:gdLst/>
            <a:ahLst/>
            <a:cxnLst/>
            <a:rect l="l" t="t" r="r" b="b"/>
            <a:pathLst>
              <a:path w="305308" h="62864">
                <a:moveTo>
                  <a:pt x="0" y="62864"/>
                </a:moveTo>
                <a:lnTo>
                  <a:pt x="305308" y="62864"/>
                </a:lnTo>
                <a:lnTo>
                  <a:pt x="0" y="0"/>
                </a:lnTo>
                <a:lnTo>
                  <a:pt x="0" y="6286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4" name="object 304"/>
          <p:cNvSpPr/>
          <p:nvPr/>
        </p:nvSpPr>
        <p:spPr>
          <a:xfrm>
            <a:off x="7660133" y="4463542"/>
            <a:ext cx="305308" cy="62864"/>
          </a:xfrm>
          <a:custGeom>
            <a:avLst/>
            <a:gdLst/>
            <a:ahLst/>
            <a:cxnLst/>
            <a:rect l="l" t="t" r="r" b="b"/>
            <a:pathLst>
              <a:path w="305308" h="62864">
                <a:moveTo>
                  <a:pt x="0" y="62864"/>
                </a:moveTo>
                <a:lnTo>
                  <a:pt x="305308" y="62864"/>
                </a:lnTo>
                <a:lnTo>
                  <a:pt x="0" y="0"/>
                </a:lnTo>
                <a:lnTo>
                  <a:pt x="0" y="62864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5" name="object 305"/>
          <p:cNvSpPr/>
          <p:nvPr/>
        </p:nvSpPr>
        <p:spPr>
          <a:xfrm>
            <a:off x="7491603" y="4390517"/>
            <a:ext cx="287274" cy="179069"/>
          </a:xfrm>
          <a:custGeom>
            <a:avLst/>
            <a:gdLst/>
            <a:ahLst/>
            <a:cxnLst/>
            <a:rect l="l" t="t" r="r" b="b"/>
            <a:pathLst>
              <a:path w="287274" h="179070">
                <a:moveTo>
                  <a:pt x="0" y="89534"/>
                </a:moveTo>
                <a:lnTo>
                  <a:pt x="1863" y="104020"/>
                </a:lnTo>
                <a:lnTo>
                  <a:pt x="5617" y="114449"/>
                </a:lnTo>
                <a:lnTo>
                  <a:pt x="11251" y="124377"/>
                </a:lnTo>
                <a:lnTo>
                  <a:pt x="18642" y="133725"/>
                </a:lnTo>
                <a:lnTo>
                  <a:pt x="27665" y="142418"/>
                </a:lnTo>
                <a:lnTo>
                  <a:pt x="38194" y="150377"/>
                </a:lnTo>
                <a:lnTo>
                  <a:pt x="50106" y="157526"/>
                </a:lnTo>
                <a:lnTo>
                  <a:pt x="63276" y="163787"/>
                </a:lnTo>
                <a:lnTo>
                  <a:pt x="77580" y="169083"/>
                </a:lnTo>
                <a:lnTo>
                  <a:pt x="92892" y="173336"/>
                </a:lnTo>
                <a:lnTo>
                  <a:pt x="109089" y="176470"/>
                </a:lnTo>
                <a:lnTo>
                  <a:pt x="126045" y="178407"/>
                </a:lnTo>
                <a:lnTo>
                  <a:pt x="143637" y="179069"/>
                </a:lnTo>
                <a:lnTo>
                  <a:pt x="149449" y="178998"/>
                </a:lnTo>
                <a:lnTo>
                  <a:pt x="166824" y="177909"/>
                </a:lnTo>
                <a:lnTo>
                  <a:pt x="183531" y="175572"/>
                </a:lnTo>
                <a:lnTo>
                  <a:pt x="199443" y="172063"/>
                </a:lnTo>
                <a:lnTo>
                  <a:pt x="214436" y="167460"/>
                </a:lnTo>
                <a:lnTo>
                  <a:pt x="228384" y="161840"/>
                </a:lnTo>
                <a:lnTo>
                  <a:pt x="241161" y="155280"/>
                </a:lnTo>
                <a:lnTo>
                  <a:pt x="252642" y="147857"/>
                </a:lnTo>
                <a:lnTo>
                  <a:pt x="262700" y="139649"/>
                </a:lnTo>
                <a:lnTo>
                  <a:pt x="271212" y="130733"/>
                </a:lnTo>
                <a:lnTo>
                  <a:pt x="278051" y="121187"/>
                </a:lnTo>
                <a:lnTo>
                  <a:pt x="283091" y="111086"/>
                </a:lnTo>
                <a:lnTo>
                  <a:pt x="286207" y="100510"/>
                </a:lnTo>
                <a:lnTo>
                  <a:pt x="287274" y="89534"/>
                </a:lnTo>
                <a:lnTo>
                  <a:pt x="287158" y="85911"/>
                </a:lnTo>
                <a:lnTo>
                  <a:pt x="285406" y="75080"/>
                </a:lnTo>
                <a:lnTo>
                  <a:pt x="281646" y="64665"/>
                </a:lnTo>
                <a:lnTo>
                  <a:pt x="276004" y="54746"/>
                </a:lnTo>
                <a:lnTo>
                  <a:pt x="268604" y="45400"/>
                </a:lnTo>
                <a:lnTo>
                  <a:pt x="259572" y="36706"/>
                </a:lnTo>
                <a:lnTo>
                  <a:pt x="249034" y="28742"/>
                </a:lnTo>
                <a:lnTo>
                  <a:pt x="237115" y="21586"/>
                </a:lnTo>
                <a:lnTo>
                  <a:pt x="223941" y="15316"/>
                </a:lnTo>
                <a:lnTo>
                  <a:pt x="209637" y="10010"/>
                </a:lnTo>
                <a:lnTo>
                  <a:pt x="194329" y="5748"/>
                </a:lnTo>
                <a:lnTo>
                  <a:pt x="178143" y="2607"/>
                </a:lnTo>
                <a:lnTo>
                  <a:pt x="161203" y="664"/>
                </a:lnTo>
                <a:lnTo>
                  <a:pt x="143637" y="0"/>
                </a:lnTo>
                <a:lnTo>
                  <a:pt x="137815" y="72"/>
                </a:lnTo>
                <a:lnTo>
                  <a:pt x="120418" y="1163"/>
                </a:lnTo>
                <a:lnTo>
                  <a:pt x="103697" y="3507"/>
                </a:lnTo>
                <a:lnTo>
                  <a:pt x="87776" y="7024"/>
                </a:lnTo>
                <a:lnTo>
                  <a:pt x="72780" y="11636"/>
                </a:lnTo>
                <a:lnTo>
                  <a:pt x="58834" y="17266"/>
                </a:lnTo>
                <a:lnTo>
                  <a:pt x="46062" y="23834"/>
                </a:lnTo>
                <a:lnTo>
                  <a:pt x="34589" y="31264"/>
                </a:lnTo>
                <a:lnTo>
                  <a:pt x="24539" y="39476"/>
                </a:lnTo>
                <a:lnTo>
                  <a:pt x="16037" y="48392"/>
                </a:lnTo>
                <a:lnTo>
                  <a:pt x="9207" y="57934"/>
                </a:lnTo>
                <a:lnTo>
                  <a:pt x="4175" y="68024"/>
                </a:lnTo>
                <a:lnTo>
                  <a:pt x="1064" y="78583"/>
                </a:lnTo>
                <a:lnTo>
                  <a:pt x="0" y="8953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6" name="object 306"/>
          <p:cNvSpPr/>
          <p:nvPr/>
        </p:nvSpPr>
        <p:spPr>
          <a:xfrm>
            <a:off x="8869427" y="4390263"/>
            <a:ext cx="266825" cy="329564"/>
          </a:xfrm>
          <a:custGeom>
            <a:avLst/>
            <a:gdLst/>
            <a:ahLst/>
            <a:cxnLst/>
            <a:rect l="l" t="t" r="r" b="b"/>
            <a:pathLst>
              <a:path w="266826" h="329564">
                <a:moveTo>
                  <a:pt x="115697" y="217169"/>
                </a:moveTo>
                <a:lnTo>
                  <a:pt x="121284" y="220853"/>
                </a:lnTo>
                <a:lnTo>
                  <a:pt x="127126" y="222504"/>
                </a:lnTo>
                <a:lnTo>
                  <a:pt x="133223" y="222250"/>
                </a:lnTo>
                <a:lnTo>
                  <a:pt x="139319" y="221995"/>
                </a:lnTo>
                <a:lnTo>
                  <a:pt x="145542" y="219456"/>
                </a:lnTo>
                <a:lnTo>
                  <a:pt x="151765" y="214630"/>
                </a:lnTo>
                <a:lnTo>
                  <a:pt x="157225" y="210438"/>
                </a:lnTo>
                <a:lnTo>
                  <a:pt x="160654" y="205231"/>
                </a:lnTo>
                <a:lnTo>
                  <a:pt x="162051" y="199009"/>
                </a:lnTo>
                <a:lnTo>
                  <a:pt x="163575" y="192786"/>
                </a:lnTo>
                <a:lnTo>
                  <a:pt x="162814" y="185800"/>
                </a:lnTo>
                <a:lnTo>
                  <a:pt x="159893" y="178054"/>
                </a:lnTo>
                <a:lnTo>
                  <a:pt x="160527" y="177673"/>
                </a:lnTo>
                <a:lnTo>
                  <a:pt x="166497" y="170687"/>
                </a:lnTo>
                <a:lnTo>
                  <a:pt x="160147" y="169544"/>
                </a:lnTo>
                <a:lnTo>
                  <a:pt x="154431" y="165607"/>
                </a:lnTo>
                <a:lnTo>
                  <a:pt x="148971" y="158495"/>
                </a:lnTo>
                <a:lnTo>
                  <a:pt x="139700" y="146431"/>
                </a:lnTo>
                <a:lnTo>
                  <a:pt x="154813" y="114300"/>
                </a:lnTo>
                <a:lnTo>
                  <a:pt x="95123" y="160274"/>
                </a:lnTo>
                <a:lnTo>
                  <a:pt x="91694" y="162941"/>
                </a:lnTo>
                <a:lnTo>
                  <a:pt x="89026" y="164719"/>
                </a:lnTo>
                <a:lnTo>
                  <a:pt x="94360" y="181482"/>
                </a:lnTo>
                <a:lnTo>
                  <a:pt x="133603" y="151130"/>
                </a:lnTo>
                <a:lnTo>
                  <a:pt x="141858" y="161798"/>
                </a:lnTo>
                <a:lnTo>
                  <a:pt x="146430" y="167767"/>
                </a:lnTo>
                <a:lnTo>
                  <a:pt x="149351" y="173100"/>
                </a:lnTo>
                <a:lnTo>
                  <a:pt x="150622" y="177545"/>
                </a:lnTo>
                <a:lnTo>
                  <a:pt x="151765" y="182118"/>
                </a:lnTo>
                <a:lnTo>
                  <a:pt x="151510" y="186309"/>
                </a:lnTo>
                <a:lnTo>
                  <a:pt x="149859" y="190119"/>
                </a:lnTo>
                <a:lnTo>
                  <a:pt x="148335" y="193929"/>
                </a:lnTo>
                <a:lnTo>
                  <a:pt x="145160" y="197612"/>
                </a:lnTo>
                <a:lnTo>
                  <a:pt x="140716" y="201041"/>
                </a:lnTo>
                <a:lnTo>
                  <a:pt x="136271" y="204469"/>
                </a:lnTo>
                <a:lnTo>
                  <a:pt x="131952" y="206629"/>
                </a:lnTo>
                <a:lnTo>
                  <a:pt x="127889" y="207391"/>
                </a:lnTo>
                <a:lnTo>
                  <a:pt x="123825" y="208153"/>
                </a:lnTo>
                <a:lnTo>
                  <a:pt x="119633" y="207518"/>
                </a:lnTo>
                <a:lnTo>
                  <a:pt x="115570" y="205359"/>
                </a:lnTo>
                <a:lnTo>
                  <a:pt x="111505" y="203200"/>
                </a:lnTo>
                <a:lnTo>
                  <a:pt x="107188" y="199009"/>
                </a:lnTo>
                <a:lnTo>
                  <a:pt x="102489" y="193039"/>
                </a:lnTo>
                <a:lnTo>
                  <a:pt x="99314" y="188849"/>
                </a:lnTo>
                <a:lnTo>
                  <a:pt x="104521" y="208153"/>
                </a:lnTo>
                <a:lnTo>
                  <a:pt x="109981" y="213487"/>
                </a:lnTo>
                <a:lnTo>
                  <a:pt x="115697" y="217169"/>
                </a:lnTo>
                <a:close/>
              </a:path>
              <a:path w="266826" h="329564">
                <a:moveTo>
                  <a:pt x="98932" y="201041"/>
                </a:moveTo>
                <a:lnTo>
                  <a:pt x="104521" y="208153"/>
                </a:lnTo>
                <a:lnTo>
                  <a:pt x="99314" y="188849"/>
                </a:lnTo>
                <a:lnTo>
                  <a:pt x="96647" y="185038"/>
                </a:lnTo>
                <a:lnTo>
                  <a:pt x="94360" y="181482"/>
                </a:lnTo>
                <a:lnTo>
                  <a:pt x="89026" y="164719"/>
                </a:lnTo>
                <a:lnTo>
                  <a:pt x="85217" y="166624"/>
                </a:lnTo>
                <a:lnTo>
                  <a:pt x="81915" y="166750"/>
                </a:lnTo>
                <a:lnTo>
                  <a:pt x="77977" y="165226"/>
                </a:lnTo>
                <a:lnTo>
                  <a:pt x="75056" y="162941"/>
                </a:lnTo>
                <a:lnTo>
                  <a:pt x="71627" y="165481"/>
                </a:lnTo>
                <a:lnTo>
                  <a:pt x="98932" y="201041"/>
                </a:lnTo>
                <a:close/>
              </a:path>
              <a:path w="266826" h="329564">
                <a:moveTo>
                  <a:pt x="154177" y="272795"/>
                </a:moveTo>
                <a:lnTo>
                  <a:pt x="157606" y="270129"/>
                </a:lnTo>
                <a:lnTo>
                  <a:pt x="155828" y="266954"/>
                </a:lnTo>
                <a:lnTo>
                  <a:pt x="154940" y="264160"/>
                </a:lnTo>
                <a:lnTo>
                  <a:pt x="155194" y="261747"/>
                </a:lnTo>
                <a:lnTo>
                  <a:pt x="156845" y="257048"/>
                </a:lnTo>
                <a:lnTo>
                  <a:pt x="159639" y="255016"/>
                </a:lnTo>
                <a:lnTo>
                  <a:pt x="162814" y="252856"/>
                </a:lnTo>
                <a:lnTo>
                  <a:pt x="166877" y="250825"/>
                </a:lnTo>
                <a:lnTo>
                  <a:pt x="170052" y="249681"/>
                </a:lnTo>
                <a:lnTo>
                  <a:pt x="174371" y="248285"/>
                </a:lnTo>
                <a:lnTo>
                  <a:pt x="182879" y="245363"/>
                </a:lnTo>
                <a:lnTo>
                  <a:pt x="207645" y="277494"/>
                </a:lnTo>
                <a:lnTo>
                  <a:pt x="190373" y="242697"/>
                </a:lnTo>
                <a:lnTo>
                  <a:pt x="247015" y="224155"/>
                </a:lnTo>
                <a:lnTo>
                  <a:pt x="212598" y="271525"/>
                </a:lnTo>
                <a:lnTo>
                  <a:pt x="207645" y="277494"/>
                </a:lnTo>
                <a:lnTo>
                  <a:pt x="200659" y="286893"/>
                </a:lnTo>
                <a:lnTo>
                  <a:pt x="199008" y="289432"/>
                </a:lnTo>
                <a:lnTo>
                  <a:pt x="195833" y="293243"/>
                </a:lnTo>
                <a:lnTo>
                  <a:pt x="192785" y="296544"/>
                </a:lnTo>
                <a:lnTo>
                  <a:pt x="189483" y="298957"/>
                </a:lnTo>
                <a:lnTo>
                  <a:pt x="186563" y="299974"/>
                </a:lnTo>
                <a:lnTo>
                  <a:pt x="183769" y="299847"/>
                </a:lnTo>
                <a:lnTo>
                  <a:pt x="180975" y="298450"/>
                </a:lnTo>
                <a:lnTo>
                  <a:pt x="176910" y="295148"/>
                </a:lnTo>
                <a:lnTo>
                  <a:pt x="173481" y="297814"/>
                </a:lnTo>
                <a:lnTo>
                  <a:pt x="197993" y="329564"/>
                </a:lnTo>
                <a:lnTo>
                  <a:pt x="201295" y="327025"/>
                </a:lnTo>
                <a:lnTo>
                  <a:pt x="200278" y="324612"/>
                </a:lnTo>
                <a:lnTo>
                  <a:pt x="199898" y="320294"/>
                </a:lnTo>
                <a:lnTo>
                  <a:pt x="200787" y="316103"/>
                </a:lnTo>
                <a:lnTo>
                  <a:pt x="203200" y="311531"/>
                </a:lnTo>
                <a:lnTo>
                  <a:pt x="205231" y="308482"/>
                </a:lnTo>
                <a:lnTo>
                  <a:pt x="207899" y="304545"/>
                </a:lnTo>
                <a:lnTo>
                  <a:pt x="266826" y="221869"/>
                </a:lnTo>
                <a:lnTo>
                  <a:pt x="258445" y="211074"/>
                </a:lnTo>
                <a:lnTo>
                  <a:pt x="159893" y="241045"/>
                </a:lnTo>
                <a:lnTo>
                  <a:pt x="153670" y="242950"/>
                </a:lnTo>
                <a:lnTo>
                  <a:pt x="148590" y="243967"/>
                </a:lnTo>
                <a:lnTo>
                  <a:pt x="140589" y="244094"/>
                </a:lnTo>
                <a:lnTo>
                  <a:pt x="137287" y="242950"/>
                </a:lnTo>
                <a:lnTo>
                  <a:pt x="134874" y="240664"/>
                </a:lnTo>
                <a:lnTo>
                  <a:pt x="131572" y="243331"/>
                </a:lnTo>
                <a:lnTo>
                  <a:pt x="154177" y="272795"/>
                </a:lnTo>
                <a:close/>
              </a:path>
              <a:path w="266826" h="329564">
                <a:moveTo>
                  <a:pt x="190373" y="242697"/>
                </a:moveTo>
                <a:lnTo>
                  <a:pt x="207645" y="277494"/>
                </a:lnTo>
                <a:lnTo>
                  <a:pt x="212598" y="271525"/>
                </a:lnTo>
                <a:lnTo>
                  <a:pt x="190373" y="242697"/>
                </a:lnTo>
                <a:close/>
              </a:path>
              <a:path w="266826" h="329564">
                <a:moveTo>
                  <a:pt x="57912" y="114681"/>
                </a:moveTo>
                <a:lnTo>
                  <a:pt x="53848" y="114681"/>
                </a:lnTo>
                <a:lnTo>
                  <a:pt x="50292" y="113918"/>
                </a:lnTo>
                <a:lnTo>
                  <a:pt x="46990" y="112394"/>
                </a:lnTo>
                <a:lnTo>
                  <a:pt x="48005" y="124206"/>
                </a:lnTo>
                <a:lnTo>
                  <a:pt x="53594" y="126745"/>
                </a:lnTo>
                <a:lnTo>
                  <a:pt x="59181" y="128143"/>
                </a:lnTo>
                <a:lnTo>
                  <a:pt x="65024" y="128397"/>
                </a:lnTo>
                <a:lnTo>
                  <a:pt x="71627" y="128778"/>
                </a:lnTo>
                <a:lnTo>
                  <a:pt x="78485" y="127507"/>
                </a:lnTo>
                <a:lnTo>
                  <a:pt x="85851" y="124713"/>
                </a:lnTo>
                <a:lnTo>
                  <a:pt x="86360" y="124524"/>
                </a:lnTo>
                <a:lnTo>
                  <a:pt x="97163" y="119257"/>
                </a:lnTo>
                <a:lnTo>
                  <a:pt x="108330" y="111632"/>
                </a:lnTo>
                <a:lnTo>
                  <a:pt x="116077" y="105663"/>
                </a:lnTo>
                <a:lnTo>
                  <a:pt x="121920" y="99694"/>
                </a:lnTo>
                <a:lnTo>
                  <a:pt x="125983" y="93472"/>
                </a:lnTo>
                <a:lnTo>
                  <a:pt x="130175" y="87375"/>
                </a:lnTo>
                <a:lnTo>
                  <a:pt x="132588" y="80899"/>
                </a:lnTo>
                <a:lnTo>
                  <a:pt x="133350" y="74294"/>
                </a:lnTo>
                <a:lnTo>
                  <a:pt x="134112" y="67563"/>
                </a:lnTo>
                <a:lnTo>
                  <a:pt x="133350" y="60706"/>
                </a:lnTo>
                <a:lnTo>
                  <a:pt x="131064" y="53720"/>
                </a:lnTo>
                <a:lnTo>
                  <a:pt x="125397" y="41835"/>
                </a:lnTo>
                <a:lnTo>
                  <a:pt x="117475" y="30225"/>
                </a:lnTo>
                <a:lnTo>
                  <a:pt x="94233" y="0"/>
                </a:lnTo>
                <a:lnTo>
                  <a:pt x="90804" y="2539"/>
                </a:lnTo>
                <a:lnTo>
                  <a:pt x="91821" y="5206"/>
                </a:lnTo>
                <a:lnTo>
                  <a:pt x="92709" y="8381"/>
                </a:lnTo>
                <a:lnTo>
                  <a:pt x="92455" y="11937"/>
                </a:lnTo>
                <a:lnTo>
                  <a:pt x="89916" y="15620"/>
                </a:lnTo>
                <a:lnTo>
                  <a:pt x="86359" y="18923"/>
                </a:lnTo>
                <a:lnTo>
                  <a:pt x="83184" y="21336"/>
                </a:lnTo>
                <a:lnTo>
                  <a:pt x="23495" y="67310"/>
                </a:lnTo>
                <a:lnTo>
                  <a:pt x="20320" y="69723"/>
                </a:lnTo>
                <a:lnTo>
                  <a:pt x="17906" y="71374"/>
                </a:lnTo>
                <a:lnTo>
                  <a:pt x="14604" y="73279"/>
                </a:lnTo>
                <a:lnTo>
                  <a:pt x="10922" y="73913"/>
                </a:lnTo>
                <a:lnTo>
                  <a:pt x="7239" y="72643"/>
                </a:lnTo>
                <a:lnTo>
                  <a:pt x="3428" y="69850"/>
                </a:lnTo>
                <a:lnTo>
                  <a:pt x="0" y="72389"/>
                </a:lnTo>
                <a:lnTo>
                  <a:pt x="19176" y="97409"/>
                </a:lnTo>
                <a:lnTo>
                  <a:pt x="25146" y="105156"/>
                </a:lnTo>
                <a:lnTo>
                  <a:pt x="30225" y="110998"/>
                </a:lnTo>
                <a:lnTo>
                  <a:pt x="28575" y="96900"/>
                </a:lnTo>
                <a:lnTo>
                  <a:pt x="25780" y="93344"/>
                </a:lnTo>
                <a:lnTo>
                  <a:pt x="23875" y="90550"/>
                </a:lnTo>
                <a:lnTo>
                  <a:pt x="22605" y="88518"/>
                </a:lnTo>
                <a:lnTo>
                  <a:pt x="104140" y="25781"/>
                </a:lnTo>
                <a:lnTo>
                  <a:pt x="106425" y="28448"/>
                </a:lnTo>
                <a:lnTo>
                  <a:pt x="108839" y="31368"/>
                </a:lnTo>
                <a:lnTo>
                  <a:pt x="111251" y="34543"/>
                </a:lnTo>
                <a:lnTo>
                  <a:pt x="116458" y="41275"/>
                </a:lnTo>
                <a:lnTo>
                  <a:pt x="119633" y="48260"/>
                </a:lnTo>
                <a:lnTo>
                  <a:pt x="120650" y="55244"/>
                </a:lnTo>
                <a:lnTo>
                  <a:pt x="121666" y="62230"/>
                </a:lnTo>
                <a:lnTo>
                  <a:pt x="120142" y="69468"/>
                </a:lnTo>
                <a:lnTo>
                  <a:pt x="116204" y="76707"/>
                </a:lnTo>
                <a:lnTo>
                  <a:pt x="114377" y="79820"/>
                </a:lnTo>
                <a:lnTo>
                  <a:pt x="106837" y="89216"/>
                </a:lnTo>
                <a:lnTo>
                  <a:pt x="96266" y="98551"/>
                </a:lnTo>
                <a:lnTo>
                  <a:pt x="91694" y="102107"/>
                </a:lnTo>
                <a:lnTo>
                  <a:pt x="87122" y="105029"/>
                </a:lnTo>
                <a:lnTo>
                  <a:pt x="82803" y="107568"/>
                </a:lnTo>
                <a:lnTo>
                  <a:pt x="78485" y="109981"/>
                </a:lnTo>
                <a:lnTo>
                  <a:pt x="74168" y="111760"/>
                </a:lnTo>
                <a:lnTo>
                  <a:pt x="70103" y="113030"/>
                </a:lnTo>
                <a:lnTo>
                  <a:pt x="65913" y="114173"/>
                </a:lnTo>
                <a:lnTo>
                  <a:pt x="61849" y="114807"/>
                </a:lnTo>
                <a:lnTo>
                  <a:pt x="57912" y="114681"/>
                </a:lnTo>
                <a:close/>
              </a:path>
              <a:path w="266826" h="329564">
                <a:moveTo>
                  <a:pt x="34544" y="104012"/>
                </a:moveTo>
                <a:lnTo>
                  <a:pt x="31623" y="100711"/>
                </a:lnTo>
                <a:lnTo>
                  <a:pt x="28575" y="96900"/>
                </a:lnTo>
                <a:lnTo>
                  <a:pt x="30225" y="110998"/>
                </a:lnTo>
                <a:lnTo>
                  <a:pt x="34671" y="115062"/>
                </a:lnTo>
                <a:lnTo>
                  <a:pt x="38989" y="118999"/>
                </a:lnTo>
                <a:lnTo>
                  <a:pt x="43433" y="122174"/>
                </a:lnTo>
                <a:lnTo>
                  <a:pt x="48005" y="124206"/>
                </a:lnTo>
                <a:lnTo>
                  <a:pt x="46990" y="112394"/>
                </a:lnTo>
                <a:lnTo>
                  <a:pt x="43688" y="110998"/>
                </a:lnTo>
                <a:lnTo>
                  <a:pt x="40513" y="109093"/>
                </a:lnTo>
                <a:lnTo>
                  <a:pt x="37592" y="106553"/>
                </a:lnTo>
                <a:lnTo>
                  <a:pt x="34544" y="104012"/>
                </a:lnTo>
                <a:close/>
              </a:path>
              <a:path w="266826" h="329564">
                <a:moveTo>
                  <a:pt x="185420" y="164845"/>
                </a:moveTo>
                <a:lnTo>
                  <a:pt x="178943" y="169925"/>
                </a:lnTo>
                <a:lnTo>
                  <a:pt x="172720" y="171831"/>
                </a:lnTo>
                <a:lnTo>
                  <a:pt x="166497" y="170687"/>
                </a:lnTo>
                <a:lnTo>
                  <a:pt x="160527" y="177673"/>
                </a:lnTo>
                <a:lnTo>
                  <a:pt x="165226" y="180212"/>
                </a:lnTo>
                <a:lnTo>
                  <a:pt x="169418" y="182118"/>
                </a:lnTo>
                <a:lnTo>
                  <a:pt x="173227" y="183006"/>
                </a:lnTo>
                <a:lnTo>
                  <a:pt x="177165" y="184023"/>
                </a:lnTo>
                <a:lnTo>
                  <a:pt x="181101" y="184150"/>
                </a:lnTo>
                <a:lnTo>
                  <a:pt x="185293" y="183514"/>
                </a:lnTo>
                <a:lnTo>
                  <a:pt x="189356" y="182753"/>
                </a:lnTo>
                <a:lnTo>
                  <a:pt x="193421" y="180848"/>
                </a:lnTo>
                <a:lnTo>
                  <a:pt x="197484" y="177800"/>
                </a:lnTo>
                <a:lnTo>
                  <a:pt x="202310" y="173989"/>
                </a:lnTo>
                <a:lnTo>
                  <a:pt x="205358" y="169925"/>
                </a:lnTo>
                <a:lnTo>
                  <a:pt x="206755" y="165354"/>
                </a:lnTo>
                <a:lnTo>
                  <a:pt x="208152" y="160909"/>
                </a:lnTo>
                <a:lnTo>
                  <a:pt x="207899" y="155829"/>
                </a:lnTo>
                <a:lnTo>
                  <a:pt x="206121" y="150113"/>
                </a:lnTo>
                <a:lnTo>
                  <a:pt x="204216" y="144525"/>
                </a:lnTo>
                <a:lnTo>
                  <a:pt x="200532" y="138049"/>
                </a:lnTo>
                <a:lnTo>
                  <a:pt x="194818" y="130682"/>
                </a:lnTo>
                <a:lnTo>
                  <a:pt x="165862" y="92963"/>
                </a:lnTo>
                <a:lnTo>
                  <a:pt x="162432" y="95631"/>
                </a:lnTo>
                <a:lnTo>
                  <a:pt x="164083" y="100075"/>
                </a:lnTo>
                <a:lnTo>
                  <a:pt x="164465" y="102616"/>
                </a:lnTo>
                <a:lnTo>
                  <a:pt x="163575" y="106044"/>
                </a:lnTo>
                <a:lnTo>
                  <a:pt x="161417" y="108712"/>
                </a:lnTo>
                <a:lnTo>
                  <a:pt x="157988" y="111887"/>
                </a:lnTo>
                <a:lnTo>
                  <a:pt x="154813" y="114300"/>
                </a:lnTo>
                <a:lnTo>
                  <a:pt x="139700" y="146431"/>
                </a:lnTo>
                <a:lnTo>
                  <a:pt x="175514" y="118999"/>
                </a:lnTo>
                <a:lnTo>
                  <a:pt x="178434" y="122428"/>
                </a:lnTo>
                <a:lnTo>
                  <a:pt x="180721" y="125222"/>
                </a:lnTo>
                <a:lnTo>
                  <a:pt x="183006" y="128016"/>
                </a:lnTo>
                <a:lnTo>
                  <a:pt x="186181" y="131953"/>
                </a:lnTo>
                <a:lnTo>
                  <a:pt x="188341" y="134874"/>
                </a:lnTo>
                <a:lnTo>
                  <a:pt x="190119" y="137794"/>
                </a:lnTo>
                <a:lnTo>
                  <a:pt x="191516" y="140588"/>
                </a:lnTo>
                <a:lnTo>
                  <a:pt x="192913" y="143510"/>
                </a:lnTo>
                <a:lnTo>
                  <a:pt x="193675" y="146431"/>
                </a:lnTo>
                <a:lnTo>
                  <a:pt x="193801" y="149098"/>
                </a:lnTo>
                <a:lnTo>
                  <a:pt x="194055" y="151892"/>
                </a:lnTo>
                <a:lnTo>
                  <a:pt x="193421" y="154686"/>
                </a:lnTo>
                <a:lnTo>
                  <a:pt x="192150" y="157225"/>
                </a:lnTo>
                <a:lnTo>
                  <a:pt x="190880" y="159893"/>
                </a:lnTo>
                <a:lnTo>
                  <a:pt x="188595" y="162432"/>
                </a:lnTo>
                <a:lnTo>
                  <a:pt x="185420" y="16484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 txBox="1"/>
          <p:nvPr/>
        </p:nvSpPr>
        <p:spPr>
          <a:xfrm>
            <a:off x="6947661" y="4322587"/>
            <a:ext cx="514372" cy="1595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90"/>
              </a:lnSpc>
              <a:spcBef>
                <a:spcPts val="59"/>
              </a:spcBef>
            </a:pPr>
            <a:r>
              <a:rPr sz="1050" i="1" spc="-4" dirty="0" smtClean="0">
                <a:latin typeface="Cambria"/>
                <a:cs typeface="Cambria"/>
              </a:rPr>
              <a:t>“T</a:t>
            </a:r>
            <a:r>
              <a:rPr sz="1050" i="1" spc="0" dirty="0" smtClean="0">
                <a:latin typeface="Cambria"/>
                <a:cs typeface="Cambria"/>
              </a:rPr>
              <a:t>ime</a:t>
            </a:r>
            <a:r>
              <a:rPr sz="1050" i="1" spc="-29" dirty="0" smtClean="0">
                <a:latin typeface="Cambria"/>
                <a:cs typeface="Cambria"/>
              </a:rPr>
              <a:t> </a:t>
            </a:r>
            <a:r>
              <a:rPr sz="1050" i="1" spc="-4" dirty="0" smtClean="0">
                <a:latin typeface="Cambria"/>
                <a:cs typeface="Cambria"/>
              </a:rPr>
              <a:t>t</a:t>
            </a:r>
            <a:r>
              <a:rPr sz="1050" i="1" spc="0" dirty="0" smtClean="0">
                <a:latin typeface="Cambria"/>
                <a:cs typeface="Cambria"/>
              </a:rPr>
              <a:t>o</a:t>
            </a:r>
            <a:endParaRPr sz="1050">
              <a:latin typeface="Cambria"/>
              <a:cs typeface="Cambria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6781546" y="4482606"/>
            <a:ext cx="874597" cy="1595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90"/>
              </a:lnSpc>
              <a:spcBef>
                <a:spcPts val="59"/>
              </a:spcBef>
            </a:pPr>
            <a:r>
              <a:rPr sz="1050" i="1" spc="0" dirty="0" smtClean="0">
                <a:latin typeface="Cambria"/>
                <a:cs typeface="Cambria"/>
              </a:rPr>
              <a:t>RE</a:t>
            </a:r>
            <a:r>
              <a:rPr sz="1050" i="1" spc="4" dirty="0" smtClean="0">
                <a:latin typeface="Cambria"/>
                <a:cs typeface="Cambria"/>
              </a:rPr>
              <a:t>O</a:t>
            </a:r>
            <a:r>
              <a:rPr sz="1050" i="1" spc="0" dirty="0" smtClean="0">
                <a:latin typeface="Cambria"/>
                <a:cs typeface="Cambria"/>
              </a:rPr>
              <a:t>RG</a:t>
            </a:r>
            <a:r>
              <a:rPr sz="1050" i="1" spc="-19" dirty="0" smtClean="0">
                <a:latin typeface="Cambria"/>
                <a:cs typeface="Cambria"/>
              </a:rPr>
              <a:t> </a:t>
            </a:r>
            <a:r>
              <a:rPr sz="1050" i="1" spc="-4" dirty="0" smtClean="0">
                <a:latin typeface="Cambria"/>
                <a:cs typeface="Cambria"/>
              </a:rPr>
              <a:t>a</a:t>
            </a:r>
            <a:r>
              <a:rPr sz="1050" i="1" spc="0" dirty="0" smtClean="0">
                <a:latin typeface="Cambria"/>
                <a:cs typeface="Cambria"/>
              </a:rPr>
              <a:t>gain!”</a:t>
            </a:r>
            <a:endParaRPr sz="1050">
              <a:latin typeface="Cambria"/>
              <a:cs typeface="Cambria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571500" y="3688359"/>
            <a:ext cx="2864574" cy="6306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-4" dirty="0" smtClean="0">
                <a:latin typeface="Cambria"/>
                <a:cs typeface="Cambria"/>
              </a:rPr>
              <a:t>P</a:t>
            </a:r>
            <a:r>
              <a:rPr sz="1400" spc="0" dirty="0" smtClean="0">
                <a:latin typeface="Cambria"/>
                <a:cs typeface="Cambria"/>
              </a:rPr>
              <a:t>la</a:t>
            </a:r>
            <a:r>
              <a:rPr sz="1400" spc="4" dirty="0" smtClean="0">
                <a:latin typeface="Cambria"/>
                <a:cs typeface="Cambria"/>
              </a:rPr>
              <a:t>ci</a:t>
            </a:r>
            <a:r>
              <a:rPr sz="1400" spc="0" dirty="0" smtClean="0">
                <a:latin typeface="Cambria"/>
                <a:cs typeface="Cambria"/>
              </a:rPr>
              <a:t>ng</a:t>
            </a:r>
            <a:r>
              <a:rPr sz="1400" spc="-34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all</a:t>
            </a:r>
            <a:r>
              <a:rPr sz="1400" spc="-4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da</a:t>
            </a:r>
            <a:r>
              <a:rPr sz="1400" spc="4" dirty="0" smtClean="0">
                <a:latin typeface="Cambria"/>
                <a:cs typeface="Cambria"/>
              </a:rPr>
              <a:t>t</a:t>
            </a:r>
            <a:r>
              <a:rPr sz="1400" spc="0" dirty="0" smtClean="0">
                <a:latin typeface="Cambria"/>
                <a:cs typeface="Cambria"/>
              </a:rPr>
              <a:t>a </a:t>
            </a:r>
            <a:r>
              <a:rPr sz="1400" spc="4" dirty="0" smtClean="0">
                <a:latin typeface="Cambria"/>
                <a:cs typeface="Cambria"/>
              </a:rPr>
              <a:t>i</a:t>
            </a:r>
            <a:r>
              <a:rPr sz="1400" spc="0" dirty="0" smtClean="0">
                <a:latin typeface="Cambria"/>
                <a:cs typeface="Cambria"/>
              </a:rPr>
              <a:t>n</a:t>
            </a:r>
            <a:r>
              <a:rPr sz="1400" spc="-9" dirty="0" smtClean="0">
                <a:latin typeface="Cambria"/>
                <a:cs typeface="Cambria"/>
              </a:rPr>
              <a:t>t</a:t>
            </a:r>
            <a:r>
              <a:rPr sz="1400" spc="0" dirty="0" smtClean="0">
                <a:latin typeface="Cambria"/>
                <a:cs typeface="Cambria"/>
              </a:rPr>
              <a:t>o</a:t>
            </a:r>
            <a:r>
              <a:rPr sz="1400" spc="-9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a sin</a:t>
            </a:r>
            <a:r>
              <a:rPr sz="1400" spc="-9" dirty="0" smtClean="0">
                <a:latin typeface="Cambria"/>
                <a:cs typeface="Cambria"/>
              </a:rPr>
              <a:t>g</a:t>
            </a:r>
            <a:r>
              <a:rPr sz="1400" spc="0" dirty="0" smtClean="0">
                <a:latin typeface="Cambria"/>
                <a:cs typeface="Cambria"/>
              </a:rPr>
              <a:t>le</a:t>
            </a:r>
            <a:r>
              <a:rPr sz="1400" spc="-4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pa</a:t>
            </a:r>
            <a:r>
              <a:rPr sz="1400" spc="-4" dirty="0" smtClean="0">
                <a:latin typeface="Cambria"/>
                <a:cs typeface="Cambria"/>
              </a:rPr>
              <a:t>r</a:t>
            </a:r>
            <a:r>
              <a:rPr sz="1400" spc="4" dirty="0" smtClean="0">
                <a:latin typeface="Cambria"/>
                <a:cs typeface="Cambria"/>
              </a:rPr>
              <a:t>titi</a:t>
            </a:r>
            <a:r>
              <a:rPr sz="1400" spc="0" dirty="0" smtClean="0">
                <a:latin typeface="Cambria"/>
                <a:cs typeface="Cambria"/>
              </a:rPr>
              <a:t>on</a:t>
            </a:r>
            <a:endParaRPr sz="1400" dirty="0">
              <a:latin typeface="Cambria"/>
              <a:cs typeface="Cambria"/>
            </a:endParaRPr>
          </a:p>
          <a:p>
            <a:pPr marL="12700" marR="268042">
              <a:lnSpc>
                <a:spcPct val="100041"/>
              </a:lnSpc>
            </a:pPr>
            <a:r>
              <a:rPr sz="1400" spc="4" dirty="0" smtClean="0">
                <a:latin typeface="Cambria"/>
                <a:cs typeface="Cambria"/>
              </a:rPr>
              <a:t>c</a:t>
            </a:r>
            <a:r>
              <a:rPr sz="1400" spc="-29" dirty="0" smtClean="0">
                <a:latin typeface="Cambria"/>
                <a:cs typeface="Cambria"/>
              </a:rPr>
              <a:t>r</a:t>
            </a:r>
            <a:r>
              <a:rPr sz="1400" spc="0" dirty="0" smtClean="0">
                <a:latin typeface="Cambria"/>
                <a:cs typeface="Cambria"/>
              </a:rPr>
              <a:t>ea</a:t>
            </a:r>
            <a:r>
              <a:rPr sz="1400" spc="-9" dirty="0" smtClean="0">
                <a:latin typeface="Cambria"/>
                <a:cs typeface="Cambria"/>
              </a:rPr>
              <a:t>t</a:t>
            </a:r>
            <a:r>
              <a:rPr sz="1400" spc="0" dirty="0" smtClean="0">
                <a:latin typeface="Cambria"/>
                <a:cs typeface="Cambria"/>
              </a:rPr>
              <a:t>es</a:t>
            </a:r>
            <a:r>
              <a:rPr sz="1400" spc="-9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bot</a:t>
            </a:r>
            <a:r>
              <a:rPr sz="1400" spc="4" dirty="0" smtClean="0">
                <a:latin typeface="Cambria"/>
                <a:cs typeface="Cambria"/>
              </a:rPr>
              <a:t>t</a:t>
            </a:r>
            <a:r>
              <a:rPr sz="1400" spc="0" dirty="0" smtClean="0">
                <a:latin typeface="Cambria"/>
                <a:cs typeface="Cambria"/>
              </a:rPr>
              <a:t>lenec</a:t>
            </a:r>
            <a:r>
              <a:rPr sz="1400" spc="-14" dirty="0" smtClean="0">
                <a:latin typeface="Cambria"/>
                <a:cs typeface="Cambria"/>
              </a:rPr>
              <a:t>k</a:t>
            </a:r>
            <a:r>
              <a:rPr sz="1400" spc="0" dirty="0" smtClean="0">
                <a:latin typeface="Cambria"/>
                <a:cs typeface="Cambria"/>
              </a:rPr>
              <a:t>s</a:t>
            </a:r>
            <a:r>
              <a:rPr sz="1400" spc="-25" dirty="0" smtClean="0">
                <a:latin typeface="Cambria"/>
                <a:cs typeface="Cambria"/>
              </a:rPr>
              <a:t> </a:t>
            </a:r>
            <a:r>
              <a:rPr sz="1400" spc="-14" dirty="0" smtClean="0">
                <a:latin typeface="Cambria"/>
                <a:cs typeface="Cambria"/>
              </a:rPr>
              <a:t>f</a:t>
            </a:r>
            <a:r>
              <a:rPr sz="1400" spc="0" dirty="0" smtClean="0">
                <a:latin typeface="Cambria"/>
                <a:cs typeface="Cambria"/>
              </a:rPr>
              <a:t>or</a:t>
            </a:r>
            <a:r>
              <a:rPr sz="1400" spc="-14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all</a:t>
            </a:r>
            <a:r>
              <a:rPr sz="1400" spc="-4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q</a:t>
            </a:r>
            <a:r>
              <a:rPr sz="1400" spc="4" dirty="0" smtClean="0">
                <a:latin typeface="Cambria"/>
                <a:cs typeface="Cambria"/>
              </a:rPr>
              <a:t>u</a:t>
            </a:r>
            <a:r>
              <a:rPr sz="1400" spc="0" dirty="0" smtClean="0">
                <a:latin typeface="Cambria"/>
                <a:cs typeface="Cambria"/>
              </a:rPr>
              <a:t>e</a:t>
            </a:r>
            <a:r>
              <a:rPr sz="1400" spc="-4" dirty="0" smtClean="0">
                <a:latin typeface="Cambria"/>
                <a:cs typeface="Cambria"/>
              </a:rPr>
              <a:t>r</a:t>
            </a:r>
            <a:r>
              <a:rPr sz="1400" spc="4" dirty="0" smtClean="0">
                <a:latin typeface="Cambria"/>
                <a:cs typeface="Cambria"/>
              </a:rPr>
              <a:t>i</a:t>
            </a:r>
            <a:r>
              <a:rPr sz="1400" spc="0" dirty="0" smtClean="0">
                <a:latin typeface="Cambria"/>
                <a:cs typeface="Cambria"/>
              </a:rPr>
              <a:t>es a</a:t>
            </a:r>
            <a:r>
              <a:rPr sz="1400" spc="-9" dirty="0" smtClean="0">
                <a:latin typeface="Cambria"/>
                <a:cs typeface="Cambria"/>
              </a:rPr>
              <a:t>g</a:t>
            </a:r>
            <a:r>
              <a:rPr sz="1400" spc="0" dirty="0" smtClean="0">
                <a:latin typeface="Cambria"/>
                <a:cs typeface="Cambria"/>
              </a:rPr>
              <a:t>a</a:t>
            </a:r>
            <a:r>
              <a:rPr sz="1400" spc="4" dirty="0" smtClean="0">
                <a:latin typeface="Cambria"/>
                <a:cs typeface="Cambria"/>
              </a:rPr>
              <a:t>i</a:t>
            </a:r>
            <a:r>
              <a:rPr sz="1400" spc="0" dirty="0" smtClean="0">
                <a:latin typeface="Cambria"/>
                <a:cs typeface="Cambria"/>
              </a:rPr>
              <a:t>n</a:t>
            </a:r>
            <a:r>
              <a:rPr sz="1400" spc="-4" dirty="0" smtClean="0">
                <a:latin typeface="Cambria"/>
                <a:cs typeface="Cambria"/>
              </a:rPr>
              <a:t>s</a:t>
            </a:r>
            <a:r>
              <a:rPr sz="1400" spc="0" dirty="0" smtClean="0">
                <a:latin typeface="Cambria"/>
                <a:cs typeface="Cambria"/>
              </a:rPr>
              <a:t>t</a:t>
            </a:r>
            <a:r>
              <a:rPr sz="1400" spc="-14" dirty="0" smtClean="0">
                <a:latin typeface="Cambria"/>
                <a:cs typeface="Cambria"/>
              </a:rPr>
              <a:t> </a:t>
            </a:r>
            <a:r>
              <a:rPr sz="1400" spc="4" dirty="0" smtClean="0">
                <a:latin typeface="Cambria"/>
                <a:cs typeface="Cambria"/>
              </a:rPr>
              <a:t>th</a:t>
            </a:r>
            <a:r>
              <a:rPr sz="1400" spc="0" dirty="0" smtClean="0">
                <a:latin typeface="Cambria"/>
                <a:cs typeface="Cambria"/>
              </a:rPr>
              <a:t>at da</a:t>
            </a:r>
            <a:r>
              <a:rPr sz="1400" spc="4" dirty="0" smtClean="0">
                <a:latin typeface="Cambria"/>
                <a:cs typeface="Cambria"/>
              </a:rPr>
              <a:t>t</a:t>
            </a:r>
            <a:r>
              <a:rPr sz="1400" spc="0" dirty="0" smtClean="0">
                <a:latin typeface="Cambria"/>
                <a:cs typeface="Cambria"/>
              </a:rPr>
              <a:t>a.</a:t>
            </a:r>
            <a:endParaRPr sz="1400" dirty="0">
              <a:latin typeface="Cambria"/>
              <a:cs typeface="Cambria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3074926" y="5884222"/>
            <a:ext cx="4241194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-109" dirty="0" smtClean="0">
                <a:solidFill>
                  <a:srgbClr val="B7BD16"/>
                </a:solidFill>
                <a:latin typeface="Cambria"/>
                <a:cs typeface="Cambria"/>
              </a:rPr>
              <a:t>T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e</a:t>
            </a:r>
            <a:r>
              <a:rPr sz="1400" spc="-29" dirty="0" smtClean="0">
                <a:solidFill>
                  <a:srgbClr val="B7BD16"/>
                </a:solidFill>
                <a:latin typeface="Cambria"/>
                <a:cs typeface="Cambria"/>
              </a:rPr>
              <a:t>r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adata</a:t>
            </a:r>
            <a:r>
              <a:rPr sz="1400" spc="-4" dirty="0" smtClean="0">
                <a:solidFill>
                  <a:srgbClr val="B7BD16"/>
                </a:solidFill>
                <a:latin typeface="Cambria"/>
                <a:cs typeface="Cambria"/>
              </a:rPr>
              <a:t> DB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As</a:t>
            </a:r>
            <a:r>
              <a:rPr sz="1400" spc="-25" dirty="0" smtClean="0">
                <a:solidFill>
                  <a:srgbClr val="B7BD16"/>
                </a:solidFill>
                <a:latin typeface="Cambria"/>
                <a:cs typeface="Cambria"/>
              </a:rPr>
              <a:t> 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n</a:t>
            </a:r>
            <a:r>
              <a:rPr sz="1400" spc="-14" dirty="0" smtClean="0">
                <a:solidFill>
                  <a:srgbClr val="B7BD16"/>
                </a:solidFill>
                <a:latin typeface="Cambria"/>
                <a:cs typeface="Cambria"/>
              </a:rPr>
              <a:t>e</a:t>
            </a:r>
            <a:r>
              <a:rPr sz="1400" spc="-25" dirty="0" smtClean="0">
                <a:solidFill>
                  <a:srgbClr val="B7BD16"/>
                </a:solidFill>
                <a:latin typeface="Cambria"/>
                <a:cs typeface="Cambria"/>
              </a:rPr>
              <a:t>v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er</a:t>
            </a:r>
            <a:r>
              <a:rPr sz="1400" spc="-4" dirty="0" smtClean="0">
                <a:solidFill>
                  <a:srgbClr val="B7BD16"/>
                </a:solidFill>
                <a:latin typeface="Cambria"/>
                <a:cs typeface="Cambria"/>
              </a:rPr>
              <a:t> 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need</a:t>
            </a:r>
            <a:r>
              <a:rPr sz="1400" spc="14" dirty="0" smtClean="0">
                <a:solidFill>
                  <a:srgbClr val="B7BD16"/>
                </a:solidFill>
                <a:latin typeface="Cambria"/>
                <a:cs typeface="Cambria"/>
              </a:rPr>
              <a:t> </a:t>
            </a:r>
            <a:r>
              <a:rPr sz="1400" spc="-9" dirty="0" smtClean="0">
                <a:solidFill>
                  <a:srgbClr val="B7BD16"/>
                </a:solidFill>
                <a:latin typeface="Cambria"/>
                <a:cs typeface="Cambria"/>
              </a:rPr>
              <a:t>t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o</a:t>
            </a:r>
            <a:r>
              <a:rPr sz="1400" spc="-9" dirty="0" smtClean="0">
                <a:solidFill>
                  <a:srgbClr val="B7BD16"/>
                </a:solidFill>
                <a:latin typeface="Cambria"/>
                <a:cs typeface="Cambria"/>
              </a:rPr>
              <a:t> 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do</a:t>
            </a:r>
            <a:r>
              <a:rPr sz="1400" spc="-9" dirty="0" smtClean="0">
                <a:solidFill>
                  <a:srgbClr val="B7BD16"/>
                </a:solidFill>
                <a:latin typeface="Cambria"/>
                <a:cs typeface="Cambria"/>
              </a:rPr>
              <a:t> </a:t>
            </a:r>
            <a:r>
              <a:rPr sz="1400" spc="4" dirty="0" smtClean="0">
                <a:solidFill>
                  <a:srgbClr val="B7BD16"/>
                </a:solidFill>
                <a:latin typeface="Cambria"/>
                <a:cs typeface="Cambria"/>
              </a:rPr>
              <a:t>c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o</a:t>
            </a:r>
            <a:r>
              <a:rPr sz="1400" spc="-4" dirty="0" smtClean="0">
                <a:solidFill>
                  <a:srgbClr val="B7BD16"/>
                </a:solidFill>
                <a:latin typeface="Cambria"/>
                <a:cs typeface="Cambria"/>
              </a:rPr>
              <a:t>s</a:t>
            </a:r>
            <a:r>
              <a:rPr sz="1400" spc="4" dirty="0" smtClean="0">
                <a:solidFill>
                  <a:srgbClr val="B7BD16"/>
                </a:solidFill>
                <a:latin typeface="Cambria"/>
                <a:cs typeface="Cambria"/>
              </a:rPr>
              <a:t>t</a:t>
            </a:r>
            <a:r>
              <a:rPr sz="1400" spc="-19" dirty="0" smtClean="0">
                <a:solidFill>
                  <a:srgbClr val="B7BD16"/>
                </a:solidFill>
                <a:latin typeface="Cambria"/>
                <a:cs typeface="Cambria"/>
              </a:rPr>
              <a:t>l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y</a:t>
            </a:r>
            <a:r>
              <a:rPr sz="1400" spc="-44" dirty="0" smtClean="0">
                <a:solidFill>
                  <a:srgbClr val="B7BD16"/>
                </a:solidFill>
                <a:latin typeface="Cambria"/>
                <a:cs typeface="Cambria"/>
              </a:rPr>
              <a:t> </a:t>
            </a:r>
            <a:r>
              <a:rPr sz="1400" spc="-29" dirty="0" smtClean="0">
                <a:solidFill>
                  <a:srgbClr val="B7BD16"/>
                </a:solidFill>
                <a:latin typeface="Cambria"/>
                <a:cs typeface="Cambria"/>
              </a:rPr>
              <a:t>r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eo</a:t>
            </a:r>
            <a:r>
              <a:rPr sz="1400" spc="-19" dirty="0" smtClean="0">
                <a:solidFill>
                  <a:srgbClr val="B7BD16"/>
                </a:solidFill>
                <a:latin typeface="Cambria"/>
                <a:cs typeface="Cambria"/>
              </a:rPr>
              <a:t>r</a:t>
            </a:r>
            <a:r>
              <a:rPr sz="1400" spc="-9" dirty="0" smtClean="0">
                <a:solidFill>
                  <a:srgbClr val="B7BD16"/>
                </a:solidFill>
                <a:latin typeface="Cambria"/>
                <a:cs typeface="Cambria"/>
              </a:rPr>
              <a:t>g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a</a:t>
            </a:r>
            <a:r>
              <a:rPr sz="1400" spc="-4" dirty="0" smtClean="0">
                <a:solidFill>
                  <a:srgbClr val="B7BD16"/>
                </a:solidFill>
                <a:latin typeface="Cambria"/>
                <a:cs typeface="Cambria"/>
              </a:rPr>
              <a:t>n</a:t>
            </a:r>
            <a:r>
              <a:rPr sz="1400" spc="4" dirty="0" smtClean="0">
                <a:solidFill>
                  <a:srgbClr val="B7BD16"/>
                </a:solidFill>
                <a:latin typeface="Cambria"/>
                <a:cs typeface="Cambria"/>
              </a:rPr>
              <a:t>i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zat</a:t>
            </a:r>
            <a:r>
              <a:rPr sz="1400" spc="4" dirty="0" smtClean="0">
                <a:solidFill>
                  <a:srgbClr val="B7BD16"/>
                </a:solidFill>
                <a:latin typeface="Cambria"/>
                <a:cs typeface="Cambria"/>
              </a:rPr>
              <a:t>i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o</a:t>
            </a:r>
            <a:r>
              <a:rPr sz="1400" spc="-4" dirty="0" smtClean="0">
                <a:solidFill>
                  <a:srgbClr val="B7BD16"/>
                </a:solidFill>
                <a:latin typeface="Cambria"/>
                <a:cs typeface="Cambria"/>
              </a:rPr>
              <a:t>n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s!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7123290" y="5343672"/>
            <a:ext cx="1780519" cy="714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12"/>
              </a:spcBef>
            </a:pPr>
            <a:endParaRPr sz="550"/>
          </a:p>
        </p:txBody>
      </p:sp>
      <p:sp>
        <p:nvSpPr>
          <p:cNvPr id="67" name="object 67"/>
          <p:cNvSpPr txBox="1"/>
          <p:nvPr/>
        </p:nvSpPr>
        <p:spPr>
          <a:xfrm>
            <a:off x="7597317" y="5226385"/>
            <a:ext cx="412793" cy="212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 txBox="1"/>
          <p:nvPr/>
        </p:nvSpPr>
        <p:spPr>
          <a:xfrm>
            <a:off x="5927982" y="5073228"/>
            <a:ext cx="27562" cy="691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44"/>
              </a:spcBef>
            </a:pPr>
            <a:endParaRPr sz="500"/>
          </a:p>
        </p:txBody>
      </p:sp>
      <p:sp>
        <p:nvSpPr>
          <p:cNvPr id="65" name="object 65"/>
          <p:cNvSpPr txBox="1"/>
          <p:nvPr/>
        </p:nvSpPr>
        <p:spPr>
          <a:xfrm>
            <a:off x="6360415" y="4958532"/>
            <a:ext cx="496125" cy="644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7"/>
              </a:spcBef>
            </a:pPr>
            <a:endParaRPr sz="500"/>
          </a:p>
        </p:txBody>
      </p:sp>
      <p:sp>
        <p:nvSpPr>
          <p:cNvPr id="64" name="object 64"/>
          <p:cNvSpPr txBox="1"/>
          <p:nvPr/>
        </p:nvSpPr>
        <p:spPr>
          <a:xfrm>
            <a:off x="6360415" y="5022939"/>
            <a:ext cx="496125" cy="880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42"/>
              </a:spcBef>
            </a:pPr>
            <a:endParaRPr sz="650"/>
          </a:p>
        </p:txBody>
      </p:sp>
      <p:sp>
        <p:nvSpPr>
          <p:cNvPr id="63" name="object 63"/>
          <p:cNvSpPr txBox="1"/>
          <p:nvPr/>
        </p:nvSpPr>
        <p:spPr>
          <a:xfrm>
            <a:off x="6360415" y="5110946"/>
            <a:ext cx="63630" cy="659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9"/>
              </a:spcBef>
            </a:pPr>
            <a:endParaRPr sz="500"/>
          </a:p>
        </p:txBody>
      </p:sp>
      <p:sp>
        <p:nvSpPr>
          <p:cNvPr id="62" name="object 62"/>
          <p:cNvSpPr txBox="1"/>
          <p:nvPr/>
        </p:nvSpPr>
        <p:spPr>
          <a:xfrm>
            <a:off x="6424044" y="5110946"/>
            <a:ext cx="203580" cy="659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9"/>
              </a:spcBef>
            </a:pPr>
            <a:endParaRPr sz="500"/>
          </a:p>
        </p:txBody>
      </p:sp>
      <p:sp>
        <p:nvSpPr>
          <p:cNvPr id="61" name="object 61"/>
          <p:cNvSpPr txBox="1"/>
          <p:nvPr/>
        </p:nvSpPr>
        <p:spPr>
          <a:xfrm>
            <a:off x="6627626" y="5110946"/>
            <a:ext cx="228914" cy="659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9"/>
              </a:spcBef>
            </a:pPr>
            <a:endParaRPr sz="500"/>
          </a:p>
        </p:txBody>
      </p:sp>
      <p:sp>
        <p:nvSpPr>
          <p:cNvPr id="60" name="object 60"/>
          <p:cNvSpPr txBox="1"/>
          <p:nvPr/>
        </p:nvSpPr>
        <p:spPr>
          <a:xfrm>
            <a:off x="5737099" y="4958532"/>
            <a:ext cx="496125" cy="644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7"/>
              </a:spcBef>
            </a:pPr>
            <a:endParaRPr sz="500"/>
          </a:p>
        </p:txBody>
      </p:sp>
      <p:sp>
        <p:nvSpPr>
          <p:cNvPr id="59" name="object 59"/>
          <p:cNvSpPr txBox="1"/>
          <p:nvPr/>
        </p:nvSpPr>
        <p:spPr>
          <a:xfrm>
            <a:off x="5737099" y="5022939"/>
            <a:ext cx="496125" cy="880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42"/>
              </a:spcBef>
            </a:pPr>
            <a:endParaRPr sz="650"/>
          </a:p>
        </p:txBody>
      </p:sp>
      <p:sp>
        <p:nvSpPr>
          <p:cNvPr id="58" name="object 58"/>
          <p:cNvSpPr txBox="1"/>
          <p:nvPr/>
        </p:nvSpPr>
        <p:spPr>
          <a:xfrm>
            <a:off x="5737099" y="5110946"/>
            <a:ext cx="63630" cy="659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9"/>
              </a:spcBef>
            </a:pPr>
            <a:endParaRPr sz="500"/>
          </a:p>
        </p:txBody>
      </p:sp>
      <p:sp>
        <p:nvSpPr>
          <p:cNvPr id="57" name="object 57"/>
          <p:cNvSpPr txBox="1"/>
          <p:nvPr/>
        </p:nvSpPr>
        <p:spPr>
          <a:xfrm>
            <a:off x="5800729" y="5110946"/>
            <a:ext cx="292607" cy="659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9"/>
              </a:spcBef>
            </a:pPr>
            <a:endParaRPr sz="500"/>
          </a:p>
        </p:txBody>
      </p:sp>
      <p:sp>
        <p:nvSpPr>
          <p:cNvPr id="56" name="object 56"/>
          <p:cNvSpPr txBox="1"/>
          <p:nvPr/>
        </p:nvSpPr>
        <p:spPr>
          <a:xfrm>
            <a:off x="6093338" y="5110946"/>
            <a:ext cx="139886" cy="659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9"/>
              </a:spcBef>
            </a:pPr>
            <a:endParaRPr sz="500"/>
          </a:p>
        </p:txBody>
      </p:sp>
      <p:sp>
        <p:nvSpPr>
          <p:cNvPr id="55" name="object 55"/>
          <p:cNvSpPr txBox="1"/>
          <p:nvPr/>
        </p:nvSpPr>
        <p:spPr>
          <a:xfrm>
            <a:off x="4490468" y="4958532"/>
            <a:ext cx="496125" cy="644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7"/>
              </a:spcBef>
            </a:pPr>
            <a:endParaRPr sz="500"/>
          </a:p>
        </p:txBody>
      </p:sp>
      <p:sp>
        <p:nvSpPr>
          <p:cNvPr id="54" name="object 54"/>
          <p:cNvSpPr txBox="1"/>
          <p:nvPr/>
        </p:nvSpPr>
        <p:spPr>
          <a:xfrm>
            <a:off x="4490468" y="5022938"/>
            <a:ext cx="496125" cy="7848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17"/>
              </a:spcBef>
            </a:pPr>
            <a:endParaRPr sz="600"/>
          </a:p>
        </p:txBody>
      </p:sp>
      <p:sp>
        <p:nvSpPr>
          <p:cNvPr id="53" name="object 53"/>
          <p:cNvSpPr txBox="1"/>
          <p:nvPr/>
        </p:nvSpPr>
        <p:spPr>
          <a:xfrm>
            <a:off x="4490467" y="5101421"/>
            <a:ext cx="267084" cy="754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4"/>
              </a:spcBef>
            </a:pPr>
            <a:endParaRPr sz="550"/>
          </a:p>
        </p:txBody>
      </p:sp>
      <p:sp>
        <p:nvSpPr>
          <p:cNvPr id="52" name="object 52"/>
          <p:cNvSpPr txBox="1"/>
          <p:nvPr/>
        </p:nvSpPr>
        <p:spPr>
          <a:xfrm>
            <a:off x="4757551" y="5101421"/>
            <a:ext cx="165480" cy="754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4"/>
              </a:spcBef>
            </a:pPr>
            <a:endParaRPr sz="550"/>
          </a:p>
        </p:txBody>
      </p:sp>
      <p:sp>
        <p:nvSpPr>
          <p:cNvPr id="51" name="object 51"/>
          <p:cNvSpPr txBox="1"/>
          <p:nvPr/>
        </p:nvSpPr>
        <p:spPr>
          <a:xfrm>
            <a:off x="4923031" y="5101421"/>
            <a:ext cx="63560" cy="754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4"/>
              </a:spcBef>
            </a:pPr>
            <a:endParaRPr sz="550"/>
          </a:p>
        </p:txBody>
      </p:sp>
      <p:sp>
        <p:nvSpPr>
          <p:cNvPr id="50" name="object 50"/>
          <p:cNvSpPr txBox="1"/>
          <p:nvPr/>
        </p:nvSpPr>
        <p:spPr>
          <a:xfrm>
            <a:off x="3879851" y="4589273"/>
            <a:ext cx="1494664" cy="1602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9" name="object 49"/>
          <p:cNvSpPr txBox="1"/>
          <p:nvPr/>
        </p:nvSpPr>
        <p:spPr>
          <a:xfrm>
            <a:off x="5374513" y="4589273"/>
            <a:ext cx="1246760" cy="1602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8" name="object 48"/>
          <p:cNvSpPr txBox="1"/>
          <p:nvPr/>
        </p:nvSpPr>
        <p:spPr>
          <a:xfrm>
            <a:off x="3879850" y="4749546"/>
            <a:ext cx="248030" cy="1696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7" name="object 47"/>
          <p:cNvSpPr txBox="1"/>
          <p:nvPr/>
        </p:nvSpPr>
        <p:spPr>
          <a:xfrm>
            <a:off x="4127880" y="4749546"/>
            <a:ext cx="623317" cy="1696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6" name="object 46"/>
          <p:cNvSpPr txBox="1"/>
          <p:nvPr/>
        </p:nvSpPr>
        <p:spPr>
          <a:xfrm>
            <a:off x="4751198" y="4749546"/>
            <a:ext cx="623315" cy="1696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5" name="object 45"/>
          <p:cNvSpPr txBox="1"/>
          <p:nvPr/>
        </p:nvSpPr>
        <p:spPr>
          <a:xfrm>
            <a:off x="5374513" y="4749546"/>
            <a:ext cx="638175" cy="1696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4" name="object 44"/>
          <p:cNvSpPr txBox="1"/>
          <p:nvPr/>
        </p:nvSpPr>
        <p:spPr>
          <a:xfrm>
            <a:off x="6012689" y="4749546"/>
            <a:ext cx="608583" cy="1696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3" name="object 43"/>
          <p:cNvSpPr txBox="1"/>
          <p:nvPr/>
        </p:nvSpPr>
        <p:spPr>
          <a:xfrm>
            <a:off x="3879850" y="4919218"/>
            <a:ext cx="248030" cy="393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 txBox="1"/>
          <p:nvPr/>
        </p:nvSpPr>
        <p:spPr>
          <a:xfrm>
            <a:off x="3879852" y="4958532"/>
            <a:ext cx="496125" cy="644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7"/>
              </a:spcBef>
            </a:pPr>
            <a:endParaRPr sz="500"/>
          </a:p>
        </p:txBody>
      </p:sp>
      <p:sp>
        <p:nvSpPr>
          <p:cNvPr id="41" name="object 41"/>
          <p:cNvSpPr txBox="1"/>
          <p:nvPr/>
        </p:nvSpPr>
        <p:spPr>
          <a:xfrm>
            <a:off x="4375975" y="4958533"/>
            <a:ext cx="737806" cy="2497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0" name="object 40"/>
          <p:cNvSpPr txBox="1"/>
          <p:nvPr/>
        </p:nvSpPr>
        <p:spPr>
          <a:xfrm>
            <a:off x="5113783" y="4958532"/>
            <a:ext cx="496125" cy="644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7"/>
              </a:spcBef>
            </a:pPr>
            <a:endParaRPr sz="500"/>
          </a:p>
        </p:txBody>
      </p:sp>
      <p:sp>
        <p:nvSpPr>
          <p:cNvPr id="39" name="object 39"/>
          <p:cNvSpPr txBox="1"/>
          <p:nvPr/>
        </p:nvSpPr>
        <p:spPr>
          <a:xfrm>
            <a:off x="5609907" y="4958533"/>
            <a:ext cx="1011364" cy="2497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8" name="object 38"/>
          <p:cNvSpPr txBox="1"/>
          <p:nvPr/>
        </p:nvSpPr>
        <p:spPr>
          <a:xfrm>
            <a:off x="3879852" y="5022939"/>
            <a:ext cx="496125" cy="502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 txBox="1"/>
          <p:nvPr/>
        </p:nvSpPr>
        <p:spPr>
          <a:xfrm>
            <a:off x="3879851" y="5073163"/>
            <a:ext cx="65665" cy="596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 txBox="1"/>
          <p:nvPr/>
        </p:nvSpPr>
        <p:spPr>
          <a:xfrm>
            <a:off x="3945515" y="5073164"/>
            <a:ext cx="176018" cy="1037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16"/>
              </a:spcBef>
            </a:pPr>
            <a:endParaRPr sz="800"/>
          </a:p>
        </p:txBody>
      </p:sp>
      <p:sp>
        <p:nvSpPr>
          <p:cNvPr id="35" name="object 35"/>
          <p:cNvSpPr txBox="1"/>
          <p:nvPr/>
        </p:nvSpPr>
        <p:spPr>
          <a:xfrm>
            <a:off x="4121535" y="5073164"/>
            <a:ext cx="142115" cy="785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18"/>
              </a:spcBef>
            </a:pPr>
            <a:endParaRPr sz="600"/>
          </a:p>
        </p:txBody>
      </p:sp>
      <p:sp>
        <p:nvSpPr>
          <p:cNvPr id="34" name="object 34"/>
          <p:cNvSpPr txBox="1"/>
          <p:nvPr/>
        </p:nvSpPr>
        <p:spPr>
          <a:xfrm>
            <a:off x="4236088" y="5082625"/>
            <a:ext cx="27562" cy="691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44"/>
              </a:spcBef>
            </a:pPr>
            <a:endParaRPr sz="500"/>
          </a:p>
        </p:txBody>
      </p:sp>
      <p:sp>
        <p:nvSpPr>
          <p:cNvPr id="33" name="object 33"/>
          <p:cNvSpPr txBox="1"/>
          <p:nvPr/>
        </p:nvSpPr>
        <p:spPr>
          <a:xfrm>
            <a:off x="5113783" y="5022938"/>
            <a:ext cx="496125" cy="5968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5113782" y="5082625"/>
            <a:ext cx="50929" cy="439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 txBox="1"/>
          <p:nvPr/>
        </p:nvSpPr>
        <p:spPr>
          <a:xfrm>
            <a:off x="5164714" y="5082625"/>
            <a:ext cx="183644" cy="439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>
            <a:off x="5348358" y="5082626"/>
            <a:ext cx="207832" cy="942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00"/>
              </a:lnSpc>
              <a:spcBef>
                <a:spcPts val="42"/>
              </a:spcBef>
            </a:pPr>
            <a:endParaRPr sz="700"/>
          </a:p>
        </p:txBody>
      </p:sp>
      <p:sp>
        <p:nvSpPr>
          <p:cNvPr id="29" name="object 29"/>
          <p:cNvSpPr txBox="1"/>
          <p:nvPr/>
        </p:nvSpPr>
        <p:spPr>
          <a:xfrm>
            <a:off x="5556189" y="5092024"/>
            <a:ext cx="53718" cy="8487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18"/>
              </a:spcBef>
            </a:pPr>
            <a:endParaRPr sz="650"/>
          </a:p>
        </p:txBody>
      </p:sp>
      <p:sp>
        <p:nvSpPr>
          <p:cNvPr id="28" name="object 28"/>
          <p:cNvSpPr txBox="1"/>
          <p:nvPr/>
        </p:nvSpPr>
        <p:spPr>
          <a:xfrm>
            <a:off x="3879851" y="5132833"/>
            <a:ext cx="65665" cy="440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4121535" y="5151756"/>
            <a:ext cx="114552" cy="251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 txBox="1"/>
          <p:nvPr/>
        </p:nvSpPr>
        <p:spPr>
          <a:xfrm>
            <a:off x="4236089" y="5151756"/>
            <a:ext cx="139886" cy="251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5113782" y="5126589"/>
            <a:ext cx="50929" cy="503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5164712" y="5126589"/>
            <a:ext cx="40262" cy="503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5204974" y="5126589"/>
            <a:ext cx="84007" cy="503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5288981" y="5120344"/>
            <a:ext cx="59375" cy="565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8073519" y="3874415"/>
            <a:ext cx="496125" cy="1429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0" name="object 20"/>
          <p:cNvSpPr txBox="1"/>
          <p:nvPr/>
        </p:nvSpPr>
        <p:spPr>
          <a:xfrm>
            <a:off x="8073519" y="4017391"/>
            <a:ext cx="496125" cy="754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4"/>
              </a:spcBef>
            </a:pPr>
            <a:endParaRPr sz="550"/>
          </a:p>
        </p:txBody>
      </p:sp>
      <p:sp>
        <p:nvSpPr>
          <p:cNvPr id="19" name="object 19"/>
          <p:cNvSpPr txBox="1"/>
          <p:nvPr/>
        </p:nvSpPr>
        <p:spPr>
          <a:xfrm>
            <a:off x="7441694" y="3874415"/>
            <a:ext cx="496125" cy="1429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8" name="object 18"/>
          <p:cNvSpPr txBox="1"/>
          <p:nvPr/>
        </p:nvSpPr>
        <p:spPr>
          <a:xfrm>
            <a:off x="7441694" y="4017391"/>
            <a:ext cx="496125" cy="754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4"/>
              </a:spcBef>
            </a:pPr>
            <a:endParaRPr sz="550"/>
          </a:p>
        </p:txBody>
      </p:sp>
      <p:sp>
        <p:nvSpPr>
          <p:cNvPr id="17" name="object 17"/>
          <p:cNvSpPr txBox="1"/>
          <p:nvPr/>
        </p:nvSpPr>
        <p:spPr>
          <a:xfrm>
            <a:off x="6195061" y="3872866"/>
            <a:ext cx="496125" cy="2199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6" name="object 16"/>
          <p:cNvSpPr txBox="1"/>
          <p:nvPr/>
        </p:nvSpPr>
        <p:spPr>
          <a:xfrm>
            <a:off x="5584446" y="3505200"/>
            <a:ext cx="1494788" cy="1602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5" name="object 15"/>
          <p:cNvSpPr txBox="1"/>
          <p:nvPr/>
        </p:nvSpPr>
        <p:spPr>
          <a:xfrm>
            <a:off x="7079234" y="3505200"/>
            <a:ext cx="1246632" cy="1602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4" name="object 14"/>
          <p:cNvSpPr txBox="1"/>
          <p:nvPr/>
        </p:nvSpPr>
        <p:spPr>
          <a:xfrm>
            <a:off x="5584445" y="3665474"/>
            <a:ext cx="248030" cy="16967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3" name="object 13"/>
          <p:cNvSpPr txBox="1"/>
          <p:nvPr/>
        </p:nvSpPr>
        <p:spPr>
          <a:xfrm>
            <a:off x="5832476" y="3665474"/>
            <a:ext cx="623441" cy="16967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2" name="object 12"/>
          <p:cNvSpPr txBox="1"/>
          <p:nvPr/>
        </p:nvSpPr>
        <p:spPr>
          <a:xfrm>
            <a:off x="6455919" y="3665474"/>
            <a:ext cx="623315" cy="16967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" name="object 11"/>
          <p:cNvSpPr txBox="1"/>
          <p:nvPr/>
        </p:nvSpPr>
        <p:spPr>
          <a:xfrm>
            <a:off x="7079234" y="3665474"/>
            <a:ext cx="638175" cy="16967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" name="object 10"/>
          <p:cNvSpPr txBox="1"/>
          <p:nvPr/>
        </p:nvSpPr>
        <p:spPr>
          <a:xfrm>
            <a:off x="7717409" y="3665474"/>
            <a:ext cx="608457" cy="16967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" name="object 9"/>
          <p:cNvSpPr txBox="1"/>
          <p:nvPr/>
        </p:nvSpPr>
        <p:spPr>
          <a:xfrm>
            <a:off x="5584445" y="3835146"/>
            <a:ext cx="248030" cy="392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5584445" y="3874415"/>
            <a:ext cx="496125" cy="1429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" name="object 7"/>
          <p:cNvSpPr txBox="1"/>
          <p:nvPr/>
        </p:nvSpPr>
        <p:spPr>
          <a:xfrm>
            <a:off x="6080570" y="3874414"/>
            <a:ext cx="737806" cy="2184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" name="object 6"/>
          <p:cNvSpPr txBox="1"/>
          <p:nvPr/>
        </p:nvSpPr>
        <p:spPr>
          <a:xfrm>
            <a:off x="6818377" y="3874415"/>
            <a:ext cx="496125" cy="1429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" name="object 5"/>
          <p:cNvSpPr txBox="1"/>
          <p:nvPr/>
        </p:nvSpPr>
        <p:spPr>
          <a:xfrm>
            <a:off x="7314502" y="3874414"/>
            <a:ext cx="1011364" cy="2184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" name="object 4"/>
          <p:cNvSpPr txBox="1"/>
          <p:nvPr/>
        </p:nvSpPr>
        <p:spPr>
          <a:xfrm>
            <a:off x="5584445" y="4017391"/>
            <a:ext cx="496125" cy="754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4"/>
              </a:spcBef>
            </a:pPr>
            <a:endParaRPr sz="550"/>
          </a:p>
        </p:txBody>
      </p:sp>
      <p:sp>
        <p:nvSpPr>
          <p:cNvPr id="3" name="object 3"/>
          <p:cNvSpPr txBox="1"/>
          <p:nvPr/>
        </p:nvSpPr>
        <p:spPr>
          <a:xfrm>
            <a:off x="6818377" y="4017391"/>
            <a:ext cx="496125" cy="754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4"/>
              </a:spcBef>
            </a:pPr>
            <a:endParaRPr sz="55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/>
              <a:t>mechanism used to assign a row to an AMP</a:t>
            </a:r>
          </a:p>
          <a:p>
            <a:r>
              <a:rPr lang="en-US" dirty="0" smtClean="0"/>
              <a:t>A </a:t>
            </a:r>
            <a:r>
              <a:rPr lang="en-US" dirty="0"/>
              <a:t>table must have a Primary Index</a:t>
            </a:r>
          </a:p>
          <a:p>
            <a:r>
              <a:rPr lang="en-US" dirty="0" smtClean="0"/>
              <a:t>The </a:t>
            </a:r>
            <a:r>
              <a:rPr lang="en-US" dirty="0"/>
              <a:t>Primary Index cannot be changed</a:t>
            </a:r>
          </a:p>
          <a:p>
            <a:endParaRPr lang="en-US" dirty="0"/>
          </a:p>
        </p:txBody>
      </p:sp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imary Indexes </a:t>
            </a:r>
            <a:endParaRPr lang="en-US" dirty="0"/>
          </a:p>
        </p:txBody>
      </p:sp>
      <p:sp>
        <p:nvSpPr>
          <p:cNvPr id="17" name="object 17"/>
          <p:cNvSpPr/>
          <p:nvPr/>
        </p:nvSpPr>
        <p:spPr>
          <a:xfrm>
            <a:off x="1" y="649225"/>
            <a:ext cx="9906000" cy="8336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12750" y="3307384"/>
            <a:ext cx="8832850" cy="585419"/>
          </a:xfrm>
          <a:custGeom>
            <a:avLst/>
            <a:gdLst/>
            <a:ahLst/>
            <a:cxnLst/>
            <a:rect l="l" t="t" r="r" b="b"/>
            <a:pathLst>
              <a:path w="8832850" h="585419">
                <a:moveTo>
                  <a:pt x="0" y="585419"/>
                </a:moveTo>
                <a:lnTo>
                  <a:pt x="8832850" y="585419"/>
                </a:lnTo>
                <a:lnTo>
                  <a:pt x="8832850" y="0"/>
                </a:lnTo>
                <a:lnTo>
                  <a:pt x="0" y="0"/>
                </a:lnTo>
                <a:lnTo>
                  <a:pt x="0" y="585419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380645" y="4372698"/>
            <a:ext cx="8864981" cy="831634"/>
          </a:xfrm>
          <a:custGeom>
            <a:avLst/>
            <a:gdLst/>
            <a:ahLst/>
            <a:cxnLst/>
            <a:rect l="l" t="t" r="r" b="b"/>
            <a:pathLst>
              <a:path w="8864981" h="831634">
                <a:moveTo>
                  <a:pt x="0" y="831634"/>
                </a:moveTo>
                <a:lnTo>
                  <a:pt x="8864981" y="831634"/>
                </a:lnTo>
                <a:lnTo>
                  <a:pt x="8864981" y="0"/>
                </a:lnTo>
                <a:lnTo>
                  <a:pt x="0" y="0"/>
                </a:lnTo>
                <a:lnTo>
                  <a:pt x="0" y="831634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92353" y="2817679"/>
            <a:ext cx="367957" cy="2280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50"/>
              </a:lnSpc>
              <a:spcBef>
                <a:spcPts val="87"/>
              </a:spcBef>
            </a:pPr>
            <a:r>
              <a:rPr sz="1600" spc="0" dirty="0" smtClean="0">
                <a:latin typeface="+mj-lt"/>
                <a:cs typeface="Cambria"/>
              </a:rPr>
              <a:t>UPI</a:t>
            </a:r>
            <a:endParaRPr sz="1600" dirty="0">
              <a:latin typeface="+mj-lt"/>
              <a:cs typeface="Cambri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234542" y="2817425"/>
            <a:ext cx="6737033" cy="2280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50"/>
              </a:lnSpc>
              <a:spcBef>
                <a:spcPts val="87"/>
              </a:spcBef>
            </a:pPr>
            <a:r>
              <a:rPr sz="1600" spc="0" dirty="0" smtClean="0">
                <a:latin typeface="+mj-lt"/>
                <a:cs typeface="Cambria"/>
              </a:rPr>
              <a:t>UPI’s</a:t>
            </a:r>
            <a:r>
              <a:rPr sz="1600" spc="-34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gua</a:t>
            </a:r>
            <a:r>
              <a:rPr sz="1600" spc="-25" dirty="0" smtClean="0">
                <a:latin typeface="+mj-lt"/>
                <a:cs typeface="Cambria"/>
              </a:rPr>
              <a:t>r</a:t>
            </a:r>
            <a:r>
              <a:rPr sz="1600" spc="0" dirty="0" smtClean="0">
                <a:latin typeface="+mj-lt"/>
                <a:cs typeface="Cambria"/>
              </a:rPr>
              <a:t>an</a:t>
            </a:r>
            <a:r>
              <a:rPr sz="1600" spc="-14" dirty="0" smtClean="0">
                <a:latin typeface="+mj-lt"/>
                <a:cs typeface="Cambria"/>
              </a:rPr>
              <a:t>t</a:t>
            </a:r>
            <a:r>
              <a:rPr sz="1600" spc="0" dirty="0" smtClean="0">
                <a:latin typeface="+mj-lt"/>
                <a:cs typeface="Cambria"/>
              </a:rPr>
              <a:t>ee</a:t>
            </a:r>
            <a:r>
              <a:rPr sz="1600" spc="-58" dirty="0" smtClean="0">
                <a:latin typeface="+mj-lt"/>
                <a:cs typeface="Cambria"/>
              </a:rPr>
              <a:t> </a:t>
            </a:r>
            <a:r>
              <a:rPr sz="1600" spc="-9" dirty="0" smtClean="0">
                <a:latin typeface="+mj-lt"/>
                <a:cs typeface="Cambria"/>
              </a:rPr>
              <a:t>e</a:t>
            </a:r>
            <a:r>
              <a:rPr sz="1600" spc="-34" dirty="0" smtClean="0">
                <a:latin typeface="+mj-lt"/>
                <a:cs typeface="Cambria"/>
              </a:rPr>
              <a:t>v</a:t>
            </a:r>
            <a:r>
              <a:rPr sz="1600" spc="0" dirty="0" smtClean="0">
                <a:latin typeface="+mj-lt"/>
                <a:cs typeface="Cambria"/>
              </a:rPr>
              <a:t>en</a:t>
            </a:r>
            <a:r>
              <a:rPr sz="1600" spc="-32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data</a:t>
            </a:r>
            <a:r>
              <a:rPr sz="1600" spc="-14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distribution</a:t>
            </a:r>
            <a:r>
              <a:rPr sz="1600" spc="290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and</a:t>
            </a:r>
            <a:r>
              <a:rPr sz="1600" spc="-15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eli</a:t>
            </a:r>
            <a:r>
              <a:rPr sz="1600" spc="4" dirty="0" smtClean="0">
                <a:latin typeface="+mj-lt"/>
                <a:cs typeface="Cambria"/>
              </a:rPr>
              <a:t>m</a:t>
            </a:r>
            <a:r>
              <a:rPr sz="1600" spc="0" dirty="0" smtClean="0">
                <a:latin typeface="+mj-lt"/>
                <a:cs typeface="Cambria"/>
              </a:rPr>
              <a:t>ina</a:t>
            </a:r>
            <a:r>
              <a:rPr sz="1600" spc="-14" dirty="0" smtClean="0">
                <a:latin typeface="+mj-lt"/>
                <a:cs typeface="Cambria"/>
              </a:rPr>
              <a:t>t</a:t>
            </a:r>
            <a:r>
              <a:rPr sz="1600" spc="0" dirty="0" smtClean="0">
                <a:latin typeface="+mj-lt"/>
                <a:cs typeface="Cambria"/>
              </a:rPr>
              <a:t>e</a:t>
            </a:r>
            <a:r>
              <a:rPr sz="1600" spc="-44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duplica</a:t>
            </a:r>
            <a:r>
              <a:rPr sz="1600" spc="-9" dirty="0" smtClean="0">
                <a:latin typeface="+mj-lt"/>
                <a:cs typeface="Cambria"/>
              </a:rPr>
              <a:t>t</a:t>
            </a:r>
            <a:r>
              <a:rPr sz="1600" spc="0" dirty="0" smtClean="0">
                <a:latin typeface="+mj-lt"/>
                <a:cs typeface="Cambria"/>
              </a:rPr>
              <a:t>e</a:t>
            </a:r>
            <a:r>
              <a:rPr sz="1600" spc="-58" dirty="0" smtClean="0">
                <a:latin typeface="+mj-lt"/>
                <a:cs typeface="Cambria"/>
              </a:rPr>
              <a:t> </a:t>
            </a:r>
            <a:r>
              <a:rPr sz="1600" spc="-25" dirty="0" smtClean="0">
                <a:latin typeface="+mj-lt"/>
                <a:cs typeface="Cambria"/>
              </a:rPr>
              <a:t>r</a:t>
            </a:r>
            <a:r>
              <a:rPr sz="1600" spc="-9" dirty="0" smtClean="0">
                <a:latin typeface="+mj-lt"/>
                <a:cs typeface="Cambria"/>
              </a:rPr>
              <a:t>o</a:t>
            </a:r>
            <a:r>
              <a:rPr sz="1600" spc="0" dirty="0" smtClean="0">
                <a:latin typeface="+mj-lt"/>
                <a:cs typeface="Cambria"/>
              </a:rPr>
              <a:t>w</a:t>
            </a:r>
            <a:r>
              <a:rPr sz="1600" spc="-27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chec</a:t>
            </a:r>
            <a:r>
              <a:rPr sz="1600" spc="4" dirty="0" smtClean="0">
                <a:latin typeface="+mj-lt"/>
                <a:cs typeface="Cambria"/>
              </a:rPr>
              <a:t>k</a:t>
            </a:r>
            <a:r>
              <a:rPr sz="1600" spc="0" dirty="0" smtClean="0">
                <a:latin typeface="+mj-lt"/>
                <a:cs typeface="Cambria"/>
              </a:rPr>
              <a:t>ing.</a:t>
            </a:r>
            <a:endParaRPr sz="1600" dirty="0">
              <a:latin typeface="+mj-lt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73786" y="4078917"/>
            <a:ext cx="506396" cy="2280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50"/>
              </a:lnSpc>
              <a:spcBef>
                <a:spcPts val="87"/>
              </a:spcBef>
            </a:pPr>
            <a:r>
              <a:rPr sz="1600" spc="4" dirty="0" smtClean="0">
                <a:latin typeface="+mj-lt"/>
                <a:cs typeface="Cambria"/>
              </a:rPr>
              <a:t>N</a:t>
            </a:r>
            <a:r>
              <a:rPr sz="1600" spc="0" dirty="0" smtClean="0">
                <a:latin typeface="+mj-lt"/>
                <a:cs typeface="Cambria"/>
              </a:rPr>
              <a:t>UPI</a:t>
            </a:r>
            <a:endParaRPr sz="1600">
              <a:latin typeface="+mj-lt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80645" y="4372698"/>
            <a:ext cx="8864981" cy="83163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100">
              <a:lnSpc>
                <a:spcPct val="102091"/>
              </a:lnSpc>
              <a:spcBef>
                <a:spcPts val="320"/>
              </a:spcBef>
            </a:pPr>
            <a:r>
              <a:rPr sz="1600" spc="0" dirty="0" smtClean="0">
                <a:latin typeface="+mj-lt"/>
                <a:cs typeface="Symbol"/>
              </a:rPr>
              <a:t></a:t>
            </a:r>
            <a:r>
              <a:rPr sz="1600" spc="0" dirty="0" smtClean="0">
                <a:latin typeface="+mj-lt"/>
                <a:cs typeface="Times New Roman"/>
              </a:rPr>
              <a:t> </a:t>
            </a:r>
            <a:r>
              <a:rPr sz="1600" spc="272" dirty="0" smtClean="0">
                <a:latin typeface="+mj-lt"/>
                <a:cs typeface="Times New Roman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If</a:t>
            </a:r>
            <a:r>
              <a:rPr sz="1600" spc="-9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the</a:t>
            </a:r>
            <a:r>
              <a:rPr sz="1600" spc="-21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ind</a:t>
            </a:r>
            <a:r>
              <a:rPr sz="1600" spc="-25" dirty="0" smtClean="0">
                <a:latin typeface="+mj-lt"/>
                <a:cs typeface="Cambria"/>
              </a:rPr>
              <a:t>e</a:t>
            </a:r>
            <a:r>
              <a:rPr sz="1600" spc="0" dirty="0" smtClean="0">
                <a:latin typeface="+mj-lt"/>
                <a:cs typeface="Cambria"/>
              </a:rPr>
              <a:t>x</a:t>
            </a:r>
            <a:r>
              <a:rPr sz="1600" spc="-32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choi</a:t>
            </a:r>
            <a:r>
              <a:rPr sz="1600" spc="4" dirty="0" smtClean="0">
                <a:latin typeface="+mj-lt"/>
                <a:cs typeface="Cambria"/>
              </a:rPr>
              <a:t>c</a:t>
            </a:r>
            <a:r>
              <a:rPr sz="1600" spc="0" dirty="0" smtClean="0">
                <a:latin typeface="+mj-lt"/>
                <a:cs typeface="Cambria"/>
              </a:rPr>
              <a:t>e</a:t>
            </a:r>
            <a:r>
              <a:rPr sz="1600" spc="-43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of</a:t>
            </a:r>
            <a:r>
              <a:rPr sz="1600" spc="-8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c</a:t>
            </a:r>
            <a:r>
              <a:rPr sz="1600" spc="4" dirty="0" smtClean="0">
                <a:latin typeface="+mj-lt"/>
                <a:cs typeface="Cambria"/>
              </a:rPr>
              <a:t>o</a:t>
            </a:r>
            <a:r>
              <a:rPr sz="1600" spc="0" dirty="0" smtClean="0">
                <a:latin typeface="+mj-lt"/>
                <a:cs typeface="Cambria"/>
              </a:rPr>
              <a:t>l</a:t>
            </a:r>
            <a:r>
              <a:rPr sz="1600" spc="-4" dirty="0" smtClean="0">
                <a:latin typeface="+mj-lt"/>
                <a:cs typeface="Cambria"/>
              </a:rPr>
              <a:t>u</a:t>
            </a:r>
            <a:r>
              <a:rPr sz="1600" spc="0" dirty="0" smtClean="0">
                <a:latin typeface="+mj-lt"/>
                <a:cs typeface="Cambria"/>
              </a:rPr>
              <a:t>mn(s)</a:t>
            </a:r>
            <a:r>
              <a:rPr sz="1600" spc="-59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is</a:t>
            </a:r>
            <a:r>
              <a:rPr sz="1600" spc="-54" dirty="0" smtClean="0">
                <a:latin typeface="+mj-lt"/>
                <a:cs typeface="Cambria"/>
              </a:rPr>
              <a:t>n</a:t>
            </a:r>
            <a:r>
              <a:rPr sz="1600" spc="0" dirty="0" smtClean="0">
                <a:latin typeface="+mj-lt"/>
                <a:cs typeface="Cambria"/>
              </a:rPr>
              <a:t>’t</a:t>
            </a:r>
            <a:r>
              <a:rPr sz="1600" spc="-29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unique,</a:t>
            </a:r>
            <a:r>
              <a:rPr sz="1600" spc="-40" dirty="0" smtClean="0">
                <a:latin typeface="+mj-lt"/>
                <a:cs typeface="Cambria"/>
              </a:rPr>
              <a:t> </a:t>
            </a:r>
            <a:r>
              <a:rPr sz="1600" spc="-25" dirty="0" smtClean="0">
                <a:latin typeface="+mj-lt"/>
                <a:cs typeface="Cambria"/>
              </a:rPr>
              <a:t>w</a:t>
            </a:r>
            <a:r>
              <a:rPr sz="1600" spc="0" dirty="0" smtClean="0">
                <a:latin typeface="+mj-lt"/>
                <a:cs typeface="Cambria"/>
              </a:rPr>
              <a:t>e</a:t>
            </a:r>
            <a:r>
              <a:rPr sz="1600" spc="-20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call</a:t>
            </a:r>
            <a:r>
              <a:rPr sz="1600" spc="-13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this</a:t>
            </a:r>
            <a:r>
              <a:rPr sz="1600" spc="-15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a</a:t>
            </a:r>
            <a:r>
              <a:rPr sz="1600" spc="22" dirty="0" smtClean="0">
                <a:latin typeface="+mj-lt"/>
                <a:cs typeface="Cambria"/>
              </a:rPr>
              <a:t> </a:t>
            </a:r>
            <a:r>
              <a:rPr sz="1600" i="1" spc="0" dirty="0" smtClean="0">
                <a:latin typeface="+mj-lt"/>
                <a:cs typeface="Cambria"/>
              </a:rPr>
              <a:t>NUPI</a:t>
            </a:r>
            <a:r>
              <a:rPr sz="1600" i="1" spc="-24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(</a:t>
            </a:r>
            <a:r>
              <a:rPr sz="1600" spc="4" dirty="0" smtClean="0">
                <a:latin typeface="+mj-lt"/>
                <a:cs typeface="Cambria"/>
              </a:rPr>
              <a:t>N</a:t>
            </a:r>
            <a:r>
              <a:rPr sz="1600" spc="0" dirty="0" smtClean="0">
                <a:latin typeface="+mj-lt"/>
                <a:cs typeface="Cambria"/>
              </a:rPr>
              <a:t>o</a:t>
            </a:r>
            <a:r>
              <a:rPr sz="1600" spc="4" dirty="0" smtClean="0">
                <a:latin typeface="+mj-lt"/>
                <a:cs typeface="Cambria"/>
              </a:rPr>
              <a:t>n</a:t>
            </a:r>
            <a:r>
              <a:rPr sz="1600" spc="0" dirty="0" smtClean="0">
                <a:latin typeface="+mj-lt"/>
                <a:cs typeface="Cambria"/>
              </a:rPr>
              <a:t>-Uniq</a:t>
            </a:r>
            <a:r>
              <a:rPr sz="1600" spc="-4" dirty="0" smtClean="0">
                <a:latin typeface="+mj-lt"/>
                <a:cs typeface="Cambria"/>
              </a:rPr>
              <a:t>u</a:t>
            </a:r>
            <a:r>
              <a:rPr sz="1600" spc="0" dirty="0" smtClean="0">
                <a:latin typeface="+mj-lt"/>
                <a:cs typeface="Cambria"/>
              </a:rPr>
              <a:t>e</a:t>
            </a:r>
            <a:r>
              <a:rPr sz="1600" spc="-83" dirty="0" smtClean="0">
                <a:latin typeface="+mj-lt"/>
                <a:cs typeface="Cambria"/>
              </a:rPr>
              <a:t> </a:t>
            </a:r>
            <a:r>
              <a:rPr sz="1600" spc="4" dirty="0" smtClean="0">
                <a:latin typeface="+mj-lt"/>
                <a:cs typeface="Cambria"/>
              </a:rPr>
              <a:t>P</a:t>
            </a:r>
            <a:r>
              <a:rPr sz="1600" spc="0" dirty="0" smtClean="0">
                <a:latin typeface="+mj-lt"/>
                <a:cs typeface="Cambria"/>
              </a:rPr>
              <a:t>rim</a:t>
            </a:r>
            <a:r>
              <a:rPr sz="1600" spc="4" dirty="0" smtClean="0">
                <a:latin typeface="+mj-lt"/>
                <a:cs typeface="Cambria"/>
              </a:rPr>
              <a:t>a</a:t>
            </a:r>
            <a:r>
              <a:rPr sz="1600" spc="0" dirty="0" smtClean="0">
                <a:latin typeface="+mj-lt"/>
                <a:cs typeface="Cambria"/>
              </a:rPr>
              <a:t>ry</a:t>
            </a:r>
            <a:r>
              <a:rPr sz="1600" spc="-25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Ind</a:t>
            </a:r>
            <a:r>
              <a:rPr sz="1600" spc="-25" dirty="0" smtClean="0">
                <a:latin typeface="+mj-lt"/>
                <a:cs typeface="Cambria"/>
              </a:rPr>
              <a:t>e</a:t>
            </a:r>
            <a:r>
              <a:rPr sz="1600" spc="0" dirty="0" smtClean="0">
                <a:latin typeface="+mj-lt"/>
                <a:cs typeface="Cambria"/>
              </a:rPr>
              <a:t>x).</a:t>
            </a:r>
            <a:endParaRPr sz="1600" dirty="0">
              <a:latin typeface="+mj-lt"/>
              <a:cs typeface="Cambria"/>
            </a:endParaRPr>
          </a:p>
          <a:p>
            <a:pPr marL="322224" marR="265244" indent="-230124">
              <a:lnSpc>
                <a:spcPts val="1920"/>
              </a:lnSpc>
              <a:spcBef>
                <a:spcPts val="121"/>
              </a:spcBef>
              <a:tabLst>
                <a:tab pos="317500" algn="l"/>
              </a:tabLst>
            </a:pPr>
            <a:r>
              <a:rPr sz="1600" spc="0" dirty="0" smtClean="0">
                <a:latin typeface="+mj-lt"/>
                <a:cs typeface="Symbol"/>
              </a:rPr>
              <a:t></a:t>
            </a:r>
            <a:r>
              <a:rPr sz="1600" spc="-392" dirty="0" smtClean="0">
                <a:latin typeface="+mj-lt"/>
                <a:cs typeface="Times New Roman"/>
              </a:rPr>
              <a:t> </a:t>
            </a:r>
            <a:r>
              <a:rPr sz="1600" spc="0" dirty="0" smtClean="0">
                <a:latin typeface="+mj-lt"/>
                <a:cs typeface="Times New Roman"/>
              </a:rPr>
              <a:t>	</a:t>
            </a:r>
            <a:r>
              <a:rPr sz="1600" spc="0" dirty="0" smtClean="0">
                <a:latin typeface="+mj-lt"/>
                <a:cs typeface="Cambria"/>
              </a:rPr>
              <a:t>A</a:t>
            </a:r>
            <a:r>
              <a:rPr sz="1600" spc="-24" dirty="0" smtClean="0">
                <a:latin typeface="+mj-lt"/>
                <a:cs typeface="Cambria"/>
              </a:rPr>
              <a:t> </a:t>
            </a:r>
            <a:r>
              <a:rPr sz="1600" spc="4" dirty="0" smtClean="0">
                <a:latin typeface="+mj-lt"/>
                <a:cs typeface="Cambria"/>
              </a:rPr>
              <a:t>N</a:t>
            </a:r>
            <a:r>
              <a:rPr sz="1600" spc="0" dirty="0" smtClean="0">
                <a:latin typeface="+mj-lt"/>
                <a:cs typeface="Cambria"/>
              </a:rPr>
              <a:t>UPI</a:t>
            </a:r>
            <a:r>
              <a:rPr sz="1600" spc="-15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choi</a:t>
            </a:r>
            <a:r>
              <a:rPr sz="1600" spc="9" dirty="0" smtClean="0">
                <a:latin typeface="+mj-lt"/>
                <a:cs typeface="Cambria"/>
              </a:rPr>
              <a:t>c</a:t>
            </a:r>
            <a:r>
              <a:rPr sz="1600" spc="0" dirty="0" smtClean="0">
                <a:latin typeface="+mj-lt"/>
                <a:cs typeface="Cambria"/>
              </a:rPr>
              <a:t>e</a:t>
            </a:r>
            <a:r>
              <a:rPr sz="1600" spc="-58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will</a:t>
            </a:r>
            <a:r>
              <a:rPr sz="1600" spc="-10" dirty="0" smtClean="0">
                <a:latin typeface="+mj-lt"/>
                <a:cs typeface="Cambria"/>
              </a:rPr>
              <a:t> </a:t>
            </a:r>
            <a:r>
              <a:rPr sz="1600" spc="-25" dirty="0" smtClean="0">
                <a:latin typeface="+mj-lt"/>
                <a:cs typeface="Cambria"/>
              </a:rPr>
              <a:t>r</a:t>
            </a:r>
            <a:r>
              <a:rPr sz="1600" spc="0" dirty="0" smtClean="0">
                <a:latin typeface="+mj-lt"/>
                <a:cs typeface="Cambria"/>
              </a:rPr>
              <a:t>es</a:t>
            </a:r>
            <a:r>
              <a:rPr sz="1600" spc="-4" dirty="0" smtClean="0">
                <a:latin typeface="+mj-lt"/>
                <a:cs typeface="Cambria"/>
              </a:rPr>
              <a:t>u</a:t>
            </a:r>
            <a:r>
              <a:rPr sz="1600" spc="0" dirty="0" smtClean="0">
                <a:latin typeface="+mj-lt"/>
                <a:cs typeface="Cambria"/>
              </a:rPr>
              <a:t>lt</a:t>
            </a:r>
            <a:r>
              <a:rPr sz="1600" spc="-34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in</a:t>
            </a:r>
            <a:r>
              <a:rPr sz="1600" spc="-8" dirty="0" smtClean="0">
                <a:latin typeface="+mj-lt"/>
                <a:cs typeface="Cambria"/>
              </a:rPr>
              <a:t> </a:t>
            </a:r>
            <a:r>
              <a:rPr sz="1600" spc="-9" dirty="0" smtClean="0">
                <a:latin typeface="+mj-lt"/>
                <a:cs typeface="Cambria"/>
              </a:rPr>
              <a:t>e</a:t>
            </a:r>
            <a:r>
              <a:rPr sz="1600" spc="-34" dirty="0" smtClean="0">
                <a:latin typeface="+mj-lt"/>
                <a:cs typeface="Cambria"/>
              </a:rPr>
              <a:t>v</a:t>
            </a:r>
            <a:r>
              <a:rPr sz="1600" spc="0" dirty="0" smtClean="0">
                <a:latin typeface="+mj-lt"/>
                <a:cs typeface="Cambria"/>
              </a:rPr>
              <a:t>en</a:t>
            </a:r>
            <a:r>
              <a:rPr sz="1600" spc="-32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distrib</a:t>
            </a:r>
            <a:r>
              <a:rPr sz="1600" spc="-4" dirty="0" smtClean="0">
                <a:latin typeface="+mj-lt"/>
                <a:cs typeface="Cambria"/>
              </a:rPr>
              <a:t>u</a:t>
            </a:r>
            <a:r>
              <a:rPr sz="1600" spc="0" dirty="0" smtClean="0">
                <a:latin typeface="+mj-lt"/>
                <a:cs typeface="Cambria"/>
              </a:rPr>
              <a:t>ti</a:t>
            </a:r>
            <a:r>
              <a:rPr sz="1600" spc="4" dirty="0" smtClean="0">
                <a:latin typeface="+mj-lt"/>
                <a:cs typeface="Cambria"/>
              </a:rPr>
              <a:t>o</a:t>
            </a:r>
            <a:r>
              <a:rPr sz="1600" spc="0" dirty="0" smtClean="0">
                <a:latin typeface="+mj-lt"/>
                <a:cs typeface="Cambria"/>
              </a:rPr>
              <a:t>n</a:t>
            </a:r>
            <a:r>
              <a:rPr sz="1600" spc="-51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of</a:t>
            </a:r>
            <a:r>
              <a:rPr sz="1600" spc="-13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t</a:t>
            </a:r>
            <a:r>
              <a:rPr sz="1600" spc="-4" dirty="0" smtClean="0">
                <a:latin typeface="+mj-lt"/>
                <a:cs typeface="Cambria"/>
              </a:rPr>
              <a:t>h</a:t>
            </a:r>
            <a:r>
              <a:rPr sz="1600" spc="0" dirty="0" smtClean="0">
                <a:latin typeface="+mj-lt"/>
                <a:cs typeface="Cambria"/>
              </a:rPr>
              <a:t>e</a:t>
            </a:r>
            <a:r>
              <a:rPr sz="1600" spc="-16" dirty="0" smtClean="0">
                <a:latin typeface="+mj-lt"/>
                <a:cs typeface="Cambria"/>
              </a:rPr>
              <a:t> </a:t>
            </a:r>
            <a:r>
              <a:rPr sz="1600" spc="-25" dirty="0" smtClean="0">
                <a:latin typeface="+mj-lt"/>
                <a:cs typeface="Cambria"/>
              </a:rPr>
              <a:t>r</a:t>
            </a:r>
            <a:r>
              <a:rPr sz="1600" spc="-9" dirty="0" smtClean="0">
                <a:latin typeface="+mj-lt"/>
                <a:cs typeface="Cambria"/>
              </a:rPr>
              <a:t>ow</a:t>
            </a:r>
            <a:r>
              <a:rPr sz="1600" spc="0" dirty="0" smtClean="0">
                <a:latin typeface="+mj-lt"/>
                <a:cs typeface="Cambria"/>
              </a:rPr>
              <a:t>s</a:t>
            </a:r>
            <a:r>
              <a:rPr sz="1600" spc="-29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of</a:t>
            </a:r>
            <a:r>
              <a:rPr sz="1600" spc="-13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t</a:t>
            </a:r>
            <a:r>
              <a:rPr sz="1600" spc="-4" dirty="0" smtClean="0">
                <a:latin typeface="+mj-lt"/>
                <a:cs typeface="Cambria"/>
              </a:rPr>
              <a:t>h</a:t>
            </a:r>
            <a:r>
              <a:rPr sz="1600" spc="0" dirty="0" smtClean="0">
                <a:latin typeface="+mj-lt"/>
                <a:cs typeface="Cambria"/>
              </a:rPr>
              <a:t>e</a:t>
            </a:r>
            <a:r>
              <a:rPr sz="1600" spc="-16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table</a:t>
            </a:r>
            <a:r>
              <a:rPr sz="1600" spc="-34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p</a:t>
            </a:r>
            <a:r>
              <a:rPr sz="1600" spc="-25" dirty="0" smtClean="0">
                <a:latin typeface="+mj-lt"/>
                <a:cs typeface="Cambria"/>
              </a:rPr>
              <a:t>r</a:t>
            </a:r>
            <a:r>
              <a:rPr sz="1600" spc="0" dirty="0" smtClean="0">
                <a:latin typeface="+mj-lt"/>
                <a:cs typeface="Cambria"/>
              </a:rPr>
              <a:t>o</a:t>
            </a:r>
            <a:r>
              <a:rPr sz="1600" spc="4" dirty="0" smtClean="0">
                <a:latin typeface="+mj-lt"/>
                <a:cs typeface="Cambria"/>
              </a:rPr>
              <a:t>p</a:t>
            </a:r>
            <a:r>
              <a:rPr sz="1600" spc="0" dirty="0" smtClean="0">
                <a:latin typeface="+mj-lt"/>
                <a:cs typeface="Cambria"/>
              </a:rPr>
              <a:t>orti</a:t>
            </a:r>
            <a:r>
              <a:rPr sz="1600" spc="9" dirty="0" smtClean="0">
                <a:latin typeface="+mj-lt"/>
                <a:cs typeface="Cambria"/>
              </a:rPr>
              <a:t>o</a:t>
            </a:r>
            <a:r>
              <a:rPr sz="1600" spc="0" dirty="0" smtClean="0">
                <a:latin typeface="+mj-lt"/>
                <a:cs typeface="Cambria"/>
              </a:rPr>
              <a:t>nal</a:t>
            </a:r>
            <a:r>
              <a:rPr sz="1600" spc="-72" dirty="0" smtClean="0">
                <a:latin typeface="+mj-lt"/>
                <a:cs typeface="Cambria"/>
              </a:rPr>
              <a:t> </a:t>
            </a:r>
            <a:r>
              <a:rPr sz="1600" spc="-9" dirty="0" smtClean="0">
                <a:latin typeface="+mj-lt"/>
                <a:cs typeface="Cambria"/>
              </a:rPr>
              <a:t>t</a:t>
            </a:r>
            <a:r>
              <a:rPr sz="1600" spc="0" dirty="0" smtClean="0">
                <a:latin typeface="+mj-lt"/>
                <a:cs typeface="Cambria"/>
              </a:rPr>
              <a:t>o</a:t>
            </a:r>
            <a:r>
              <a:rPr sz="1600" spc="-23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the</a:t>
            </a:r>
            <a:r>
              <a:rPr sz="1600" spc="-16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de</a:t>
            </a:r>
            <a:r>
              <a:rPr sz="1600" spc="4" dirty="0" smtClean="0">
                <a:latin typeface="+mj-lt"/>
                <a:cs typeface="Cambria"/>
              </a:rPr>
              <a:t>g</a:t>
            </a:r>
            <a:r>
              <a:rPr sz="1600" spc="-25" dirty="0" smtClean="0">
                <a:latin typeface="+mj-lt"/>
                <a:cs typeface="Cambria"/>
              </a:rPr>
              <a:t>r</a:t>
            </a:r>
            <a:r>
              <a:rPr sz="1600" spc="0" dirty="0" smtClean="0">
                <a:latin typeface="+mj-lt"/>
                <a:cs typeface="Cambria"/>
              </a:rPr>
              <a:t>ee of</a:t>
            </a:r>
            <a:r>
              <a:rPr sz="1600" spc="-13" dirty="0" smtClean="0">
                <a:latin typeface="+mj-lt"/>
                <a:cs typeface="Cambria"/>
              </a:rPr>
              <a:t> </a:t>
            </a:r>
            <a:r>
              <a:rPr sz="1600" spc="-4" dirty="0" smtClean="0">
                <a:latin typeface="+mj-lt"/>
                <a:cs typeface="Cambria"/>
              </a:rPr>
              <a:t>u</a:t>
            </a:r>
            <a:r>
              <a:rPr sz="1600" spc="0" dirty="0" smtClean="0">
                <a:latin typeface="+mj-lt"/>
                <a:cs typeface="Cambria"/>
              </a:rPr>
              <a:t>nique</a:t>
            </a:r>
            <a:r>
              <a:rPr sz="1600" spc="-4" dirty="0" smtClean="0">
                <a:latin typeface="+mj-lt"/>
                <a:cs typeface="Cambria"/>
              </a:rPr>
              <a:t>n</a:t>
            </a:r>
            <a:r>
              <a:rPr sz="1600" spc="0" dirty="0" smtClean="0">
                <a:latin typeface="+mj-lt"/>
                <a:cs typeface="Cambria"/>
              </a:rPr>
              <a:t>ess</a:t>
            </a:r>
            <a:r>
              <a:rPr sz="1600" spc="-62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of</a:t>
            </a:r>
            <a:r>
              <a:rPr sz="1600" spc="-13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t</a:t>
            </a:r>
            <a:r>
              <a:rPr sz="1600" spc="-4" dirty="0" smtClean="0">
                <a:latin typeface="+mj-lt"/>
                <a:cs typeface="Cambria"/>
              </a:rPr>
              <a:t>h</a:t>
            </a:r>
            <a:r>
              <a:rPr sz="1600" spc="0" dirty="0" smtClean="0">
                <a:latin typeface="+mj-lt"/>
                <a:cs typeface="Cambria"/>
              </a:rPr>
              <a:t>e</a:t>
            </a:r>
            <a:r>
              <a:rPr sz="1600" spc="-16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ind</a:t>
            </a:r>
            <a:r>
              <a:rPr sz="1600" spc="-19" dirty="0" smtClean="0">
                <a:latin typeface="+mj-lt"/>
                <a:cs typeface="Cambria"/>
              </a:rPr>
              <a:t>e</a:t>
            </a:r>
            <a:r>
              <a:rPr sz="1600" spc="0" dirty="0" smtClean="0">
                <a:latin typeface="+mj-lt"/>
                <a:cs typeface="Cambria"/>
              </a:rPr>
              <a:t>x.</a:t>
            </a:r>
            <a:endParaRPr sz="1600" dirty="0">
              <a:latin typeface="+mj-lt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12750" y="3307384"/>
            <a:ext cx="8832850" cy="585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303">
              <a:lnSpc>
                <a:spcPct val="102091"/>
              </a:lnSpc>
              <a:spcBef>
                <a:spcPts val="320"/>
              </a:spcBef>
            </a:pPr>
            <a:r>
              <a:rPr sz="1600" spc="0" dirty="0" smtClean="0">
                <a:latin typeface="+mj-lt"/>
                <a:cs typeface="Symbol"/>
              </a:rPr>
              <a:t></a:t>
            </a:r>
            <a:r>
              <a:rPr sz="1600" spc="0" dirty="0" smtClean="0">
                <a:latin typeface="+mj-lt"/>
                <a:cs typeface="Times New Roman"/>
              </a:rPr>
              <a:t> </a:t>
            </a:r>
            <a:r>
              <a:rPr sz="1600" spc="272" dirty="0" smtClean="0">
                <a:latin typeface="+mj-lt"/>
                <a:cs typeface="Times New Roman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If</a:t>
            </a:r>
            <a:r>
              <a:rPr sz="1600" spc="-9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the</a:t>
            </a:r>
            <a:r>
              <a:rPr sz="1600" spc="-21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ind</a:t>
            </a:r>
            <a:r>
              <a:rPr sz="1600" spc="-25" dirty="0" smtClean="0">
                <a:latin typeface="+mj-lt"/>
                <a:cs typeface="Cambria"/>
              </a:rPr>
              <a:t>e</a:t>
            </a:r>
            <a:r>
              <a:rPr sz="1600" spc="0" dirty="0" smtClean="0">
                <a:latin typeface="+mj-lt"/>
                <a:cs typeface="Cambria"/>
              </a:rPr>
              <a:t>x</a:t>
            </a:r>
            <a:r>
              <a:rPr sz="1600" spc="-37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choi</a:t>
            </a:r>
            <a:r>
              <a:rPr sz="1600" spc="9" dirty="0" smtClean="0">
                <a:latin typeface="+mj-lt"/>
                <a:cs typeface="Cambria"/>
              </a:rPr>
              <a:t>c</a:t>
            </a:r>
            <a:r>
              <a:rPr sz="1600" spc="0" dirty="0" smtClean="0">
                <a:latin typeface="+mj-lt"/>
                <a:cs typeface="Cambria"/>
              </a:rPr>
              <a:t>e</a:t>
            </a:r>
            <a:r>
              <a:rPr sz="1600" spc="-43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of</a:t>
            </a:r>
            <a:r>
              <a:rPr sz="1600" spc="-8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c</a:t>
            </a:r>
            <a:r>
              <a:rPr sz="1600" spc="4" dirty="0" smtClean="0">
                <a:latin typeface="+mj-lt"/>
                <a:cs typeface="Cambria"/>
              </a:rPr>
              <a:t>o</a:t>
            </a:r>
            <a:r>
              <a:rPr sz="1600" spc="0" dirty="0" smtClean="0">
                <a:latin typeface="+mj-lt"/>
                <a:cs typeface="Cambria"/>
              </a:rPr>
              <a:t>l</a:t>
            </a:r>
            <a:r>
              <a:rPr sz="1600" spc="-4" dirty="0" smtClean="0">
                <a:latin typeface="+mj-lt"/>
                <a:cs typeface="Cambria"/>
              </a:rPr>
              <a:t>u</a:t>
            </a:r>
            <a:r>
              <a:rPr sz="1600" spc="0" dirty="0" smtClean="0">
                <a:latin typeface="+mj-lt"/>
                <a:cs typeface="Cambria"/>
              </a:rPr>
              <a:t>mn(s)</a:t>
            </a:r>
            <a:r>
              <a:rPr sz="1600" spc="-59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is</a:t>
            </a:r>
            <a:r>
              <a:rPr sz="1600" spc="-6" dirty="0" smtClean="0">
                <a:latin typeface="+mj-lt"/>
                <a:cs typeface="Cambria"/>
              </a:rPr>
              <a:t> </a:t>
            </a:r>
            <a:r>
              <a:rPr sz="1600" spc="-4" dirty="0" smtClean="0">
                <a:latin typeface="+mj-lt"/>
                <a:cs typeface="Cambria"/>
              </a:rPr>
              <a:t>u</a:t>
            </a:r>
            <a:r>
              <a:rPr sz="1600" spc="0" dirty="0" smtClean="0">
                <a:latin typeface="+mj-lt"/>
                <a:cs typeface="Cambria"/>
              </a:rPr>
              <a:t>nique,</a:t>
            </a:r>
            <a:r>
              <a:rPr sz="1600" spc="-40" dirty="0" smtClean="0">
                <a:latin typeface="+mj-lt"/>
                <a:cs typeface="Cambria"/>
              </a:rPr>
              <a:t> </a:t>
            </a:r>
            <a:r>
              <a:rPr sz="1600" spc="-25" dirty="0" smtClean="0">
                <a:latin typeface="+mj-lt"/>
                <a:cs typeface="Cambria"/>
              </a:rPr>
              <a:t>w</a:t>
            </a:r>
            <a:r>
              <a:rPr sz="1600" spc="0" dirty="0" smtClean="0">
                <a:latin typeface="+mj-lt"/>
                <a:cs typeface="Cambria"/>
              </a:rPr>
              <a:t>e</a:t>
            </a:r>
            <a:r>
              <a:rPr sz="1600" spc="-20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call</a:t>
            </a:r>
            <a:r>
              <a:rPr sz="1600" spc="-18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this</a:t>
            </a:r>
            <a:r>
              <a:rPr sz="1600" spc="-15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a</a:t>
            </a:r>
            <a:r>
              <a:rPr sz="1600" spc="22" dirty="0" smtClean="0">
                <a:latin typeface="+mj-lt"/>
                <a:cs typeface="Cambria"/>
              </a:rPr>
              <a:t> </a:t>
            </a:r>
            <a:r>
              <a:rPr sz="1600" i="1" spc="0" dirty="0" smtClean="0">
                <a:latin typeface="+mj-lt"/>
                <a:cs typeface="Cambria"/>
              </a:rPr>
              <a:t>UPI</a:t>
            </a:r>
            <a:r>
              <a:rPr sz="1600" i="1" spc="-24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(Unique</a:t>
            </a:r>
            <a:r>
              <a:rPr sz="1600" spc="-40" dirty="0" smtClean="0">
                <a:latin typeface="+mj-lt"/>
                <a:cs typeface="Cambria"/>
              </a:rPr>
              <a:t> </a:t>
            </a:r>
            <a:r>
              <a:rPr sz="1600" spc="4" dirty="0" smtClean="0">
                <a:latin typeface="+mj-lt"/>
                <a:cs typeface="Cambria"/>
              </a:rPr>
              <a:t>P</a:t>
            </a:r>
            <a:r>
              <a:rPr sz="1600" spc="0" dirty="0" smtClean="0">
                <a:latin typeface="+mj-lt"/>
                <a:cs typeface="Cambria"/>
              </a:rPr>
              <a:t>rim</a:t>
            </a:r>
            <a:r>
              <a:rPr sz="1600" spc="4" dirty="0" smtClean="0">
                <a:latin typeface="+mj-lt"/>
                <a:cs typeface="Cambria"/>
              </a:rPr>
              <a:t>a</a:t>
            </a:r>
            <a:r>
              <a:rPr sz="1600" spc="0" dirty="0" smtClean="0">
                <a:latin typeface="+mj-lt"/>
                <a:cs typeface="Cambria"/>
              </a:rPr>
              <a:t>ry</a:t>
            </a:r>
            <a:r>
              <a:rPr sz="1600" spc="-25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Ind</a:t>
            </a:r>
            <a:r>
              <a:rPr sz="1600" spc="-25" dirty="0" smtClean="0">
                <a:latin typeface="+mj-lt"/>
                <a:cs typeface="Cambria"/>
              </a:rPr>
              <a:t>e</a:t>
            </a:r>
            <a:r>
              <a:rPr sz="1600" spc="0" dirty="0" smtClean="0">
                <a:latin typeface="+mj-lt"/>
                <a:cs typeface="Cambria"/>
              </a:rPr>
              <a:t>x).</a:t>
            </a:r>
            <a:endParaRPr sz="1600" dirty="0">
              <a:latin typeface="+mj-lt"/>
              <a:cs typeface="Cambria"/>
            </a:endParaRPr>
          </a:p>
          <a:p>
            <a:pPr marL="92303">
              <a:lnSpc>
                <a:spcPts val="1920"/>
              </a:lnSpc>
              <a:spcBef>
                <a:spcPts val="96"/>
              </a:spcBef>
            </a:pPr>
            <a:r>
              <a:rPr sz="2400" spc="0" baseline="-1700" dirty="0" smtClean="0">
                <a:latin typeface="+mj-lt"/>
                <a:cs typeface="Symbol"/>
              </a:rPr>
              <a:t></a:t>
            </a:r>
            <a:r>
              <a:rPr sz="2400" spc="0" baseline="-1811" dirty="0" smtClean="0">
                <a:latin typeface="+mj-lt"/>
                <a:cs typeface="Times New Roman"/>
              </a:rPr>
              <a:t> </a:t>
            </a:r>
            <a:r>
              <a:rPr sz="2400" spc="272" baseline="-1811" dirty="0" smtClean="0">
                <a:latin typeface="+mj-lt"/>
                <a:cs typeface="Times New Roman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A</a:t>
            </a:r>
            <a:r>
              <a:rPr sz="2400" spc="-24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UPI</a:t>
            </a:r>
            <a:r>
              <a:rPr sz="2400" spc="-4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choi</a:t>
            </a:r>
            <a:r>
              <a:rPr sz="2400" spc="9" baseline="-1777" dirty="0" smtClean="0">
                <a:latin typeface="+mj-lt"/>
                <a:cs typeface="Cambria"/>
              </a:rPr>
              <a:t>c</a:t>
            </a:r>
            <a:r>
              <a:rPr sz="2400" spc="0" baseline="-1777" dirty="0" smtClean="0">
                <a:latin typeface="+mj-lt"/>
                <a:cs typeface="Cambria"/>
              </a:rPr>
              <a:t>e</a:t>
            </a:r>
            <a:r>
              <a:rPr sz="2400" spc="-43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will</a:t>
            </a:r>
            <a:r>
              <a:rPr sz="2400" spc="-25" baseline="-1777" dirty="0" smtClean="0">
                <a:latin typeface="+mj-lt"/>
                <a:cs typeface="Cambria"/>
              </a:rPr>
              <a:t> r</a:t>
            </a:r>
            <a:r>
              <a:rPr sz="2400" spc="0" baseline="-1777" dirty="0" smtClean="0">
                <a:latin typeface="+mj-lt"/>
                <a:cs typeface="Cambria"/>
              </a:rPr>
              <a:t>es</a:t>
            </a:r>
            <a:r>
              <a:rPr sz="2400" spc="-4" baseline="-1777" dirty="0" smtClean="0">
                <a:latin typeface="+mj-lt"/>
                <a:cs typeface="Cambria"/>
              </a:rPr>
              <a:t>u</a:t>
            </a:r>
            <a:r>
              <a:rPr sz="2400" spc="0" baseline="-1777" dirty="0" smtClean="0">
                <a:latin typeface="+mj-lt"/>
                <a:cs typeface="Cambria"/>
              </a:rPr>
              <a:t>lt</a:t>
            </a:r>
            <a:r>
              <a:rPr sz="2400" spc="-24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in</a:t>
            </a:r>
            <a:r>
              <a:rPr sz="2400" spc="-18" baseline="-1777" dirty="0" smtClean="0">
                <a:latin typeface="+mj-lt"/>
                <a:cs typeface="Cambria"/>
              </a:rPr>
              <a:t> </a:t>
            </a:r>
            <a:r>
              <a:rPr sz="2400" spc="-9" baseline="-1777" dirty="0" smtClean="0">
                <a:latin typeface="+mj-lt"/>
                <a:cs typeface="Cambria"/>
              </a:rPr>
              <a:t>e</a:t>
            </a:r>
            <a:r>
              <a:rPr sz="2400" spc="-34" baseline="-1777" dirty="0" smtClean="0">
                <a:latin typeface="+mj-lt"/>
                <a:cs typeface="Cambria"/>
              </a:rPr>
              <a:t>v</a:t>
            </a:r>
            <a:r>
              <a:rPr sz="2400" spc="0" baseline="-1777" dirty="0" smtClean="0">
                <a:latin typeface="+mj-lt"/>
                <a:cs typeface="Cambria"/>
              </a:rPr>
              <a:t>en</a:t>
            </a:r>
            <a:r>
              <a:rPr sz="2400" spc="-27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distribution</a:t>
            </a:r>
            <a:r>
              <a:rPr sz="2400" spc="-61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of</a:t>
            </a:r>
            <a:r>
              <a:rPr sz="2400" spc="-3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the</a:t>
            </a:r>
            <a:r>
              <a:rPr sz="2400" spc="-26" baseline="-1777" dirty="0" smtClean="0">
                <a:latin typeface="+mj-lt"/>
                <a:cs typeface="Cambria"/>
              </a:rPr>
              <a:t> </a:t>
            </a:r>
            <a:r>
              <a:rPr sz="2400" spc="-25" baseline="-1777" dirty="0" smtClean="0">
                <a:latin typeface="+mj-lt"/>
                <a:cs typeface="Cambria"/>
              </a:rPr>
              <a:t>r</a:t>
            </a:r>
            <a:r>
              <a:rPr sz="2400" spc="-9" baseline="-1777" dirty="0" smtClean="0">
                <a:latin typeface="+mj-lt"/>
                <a:cs typeface="Cambria"/>
              </a:rPr>
              <a:t>ow</a:t>
            </a:r>
            <a:r>
              <a:rPr sz="2400" spc="0" baseline="-1777" dirty="0" smtClean="0">
                <a:latin typeface="+mj-lt"/>
                <a:cs typeface="Cambria"/>
              </a:rPr>
              <a:t>s</a:t>
            </a:r>
            <a:r>
              <a:rPr sz="2400" spc="-29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of</a:t>
            </a:r>
            <a:r>
              <a:rPr sz="2400" spc="-3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the</a:t>
            </a:r>
            <a:r>
              <a:rPr sz="2400" spc="-26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table</a:t>
            </a:r>
            <a:r>
              <a:rPr sz="2400" spc="-24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a</a:t>
            </a:r>
            <a:r>
              <a:rPr sz="2400" spc="4" baseline="-1777" dirty="0" smtClean="0">
                <a:latin typeface="+mj-lt"/>
                <a:cs typeface="Cambria"/>
              </a:rPr>
              <a:t>c</a:t>
            </a:r>
            <a:r>
              <a:rPr sz="2400" spc="-25" baseline="-1777" dirty="0" smtClean="0">
                <a:latin typeface="+mj-lt"/>
                <a:cs typeface="Cambria"/>
              </a:rPr>
              <a:t>r</a:t>
            </a:r>
            <a:r>
              <a:rPr sz="2400" spc="0" baseline="-1777" dirty="0" smtClean="0">
                <a:latin typeface="+mj-lt"/>
                <a:cs typeface="Cambria"/>
              </a:rPr>
              <a:t>oss</a:t>
            </a:r>
            <a:r>
              <a:rPr sz="2400" spc="-43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all</a:t>
            </a:r>
            <a:r>
              <a:rPr sz="2400" spc="-1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AM</a:t>
            </a:r>
            <a:r>
              <a:rPr sz="2400" spc="-9" baseline="-1777" dirty="0" smtClean="0">
                <a:latin typeface="+mj-lt"/>
                <a:cs typeface="Cambria"/>
              </a:rPr>
              <a:t>P</a:t>
            </a:r>
            <a:r>
              <a:rPr sz="2400" spc="0" baseline="-1777" dirty="0" smtClean="0">
                <a:latin typeface="+mj-lt"/>
                <a:cs typeface="Cambria"/>
              </a:rPr>
              <a:t>s.</a:t>
            </a:r>
            <a:endParaRPr sz="1600" dirty="0">
              <a:latin typeface="+mj-lt"/>
              <a:cs typeface="Cambria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ing a Primary Index </a:t>
            </a:r>
            <a:endParaRPr lang="en-US" dirty="0"/>
          </a:p>
        </p:txBody>
      </p:sp>
      <p:sp>
        <p:nvSpPr>
          <p:cNvPr id="26" name="object 26"/>
          <p:cNvSpPr/>
          <p:nvPr/>
        </p:nvSpPr>
        <p:spPr>
          <a:xfrm>
            <a:off x="1" y="649225"/>
            <a:ext cx="9906000" cy="8336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025396" y="2363724"/>
            <a:ext cx="3634739" cy="141884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400">
              <a:latin typeface="+mj-lt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2001013" y="2354579"/>
            <a:ext cx="3279648" cy="136398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2072895" y="2390775"/>
            <a:ext cx="3540505" cy="132410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400">
              <a:latin typeface="+mj-lt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2072895" y="2390775"/>
            <a:ext cx="3540505" cy="1324102"/>
          </a:xfrm>
          <a:custGeom>
            <a:avLst/>
            <a:gdLst/>
            <a:ahLst/>
            <a:cxnLst/>
            <a:rect l="l" t="t" r="r" b="b"/>
            <a:pathLst>
              <a:path w="3540505" h="1324102">
                <a:moveTo>
                  <a:pt x="0" y="1324102"/>
                </a:moveTo>
                <a:lnTo>
                  <a:pt x="3540505" y="1324102"/>
                </a:lnTo>
                <a:lnTo>
                  <a:pt x="3540505" y="0"/>
                </a:lnTo>
                <a:lnTo>
                  <a:pt x="0" y="0"/>
                </a:lnTo>
                <a:lnTo>
                  <a:pt x="0" y="1324102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400">
              <a:latin typeface="+mj-lt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2016252" y="4209289"/>
            <a:ext cx="3643885" cy="142036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400">
              <a:latin typeface="+mj-lt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1991868" y="4201667"/>
            <a:ext cx="2691384" cy="136398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400">
              <a:latin typeface="+mj-lt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2063749" y="4237354"/>
            <a:ext cx="3549651" cy="1324102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400">
              <a:latin typeface="+mj-lt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2063749" y="4237354"/>
            <a:ext cx="3549651" cy="1324102"/>
          </a:xfrm>
          <a:custGeom>
            <a:avLst/>
            <a:gdLst/>
            <a:ahLst/>
            <a:cxnLst/>
            <a:rect l="l" t="t" r="r" b="b"/>
            <a:pathLst>
              <a:path w="3549650" h="1324102">
                <a:moveTo>
                  <a:pt x="0" y="1324102"/>
                </a:moveTo>
                <a:lnTo>
                  <a:pt x="3549650" y="1324102"/>
                </a:lnTo>
                <a:lnTo>
                  <a:pt x="3549650" y="0"/>
                </a:lnTo>
                <a:lnTo>
                  <a:pt x="0" y="0"/>
                </a:lnTo>
                <a:lnTo>
                  <a:pt x="0" y="1324102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400">
              <a:latin typeface="+mj-lt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876302" y="5731409"/>
            <a:ext cx="7557896" cy="339191"/>
          </a:xfrm>
          <a:custGeom>
            <a:avLst/>
            <a:gdLst/>
            <a:ahLst/>
            <a:cxnLst/>
            <a:rect l="l" t="t" r="r" b="b"/>
            <a:pathLst>
              <a:path w="7557897" h="339191">
                <a:moveTo>
                  <a:pt x="0" y="339191"/>
                </a:moveTo>
                <a:lnTo>
                  <a:pt x="7557897" y="339191"/>
                </a:lnTo>
                <a:lnTo>
                  <a:pt x="7557897" y="0"/>
                </a:lnTo>
                <a:lnTo>
                  <a:pt x="0" y="0"/>
                </a:lnTo>
                <a:lnTo>
                  <a:pt x="0" y="339191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400">
              <a:latin typeface="+mj-lt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565530" y="2426265"/>
            <a:ext cx="367957" cy="2280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50"/>
              </a:lnSpc>
              <a:spcBef>
                <a:spcPts val="87"/>
              </a:spcBef>
            </a:pPr>
            <a:r>
              <a:rPr sz="1400" spc="0" dirty="0" smtClean="0">
                <a:latin typeface="+mj-lt"/>
                <a:cs typeface="Cambria"/>
              </a:rPr>
              <a:t>UPI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648206" y="3957885"/>
            <a:ext cx="506396" cy="2280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50"/>
              </a:lnSpc>
              <a:spcBef>
                <a:spcPts val="87"/>
              </a:spcBef>
            </a:pPr>
            <a:r>
              <a:rPr sz="1400" spc="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UPI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16725" y="5765800"/>
            <a:ext cx="7557896" cy="3391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113">
              <a:lnSpc>
                <a:spcPct val="97696"/>
              </a:lnSpc>
              <a:spcBef>
                <a:spcPts val="409"/>
              </a:spcBef>
            </a:pPr>
            <a:r>
              <a:rPr sz="1400" spc="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:</a:t>
            </a:r>
            <a:r>
              <a:rPr sz="1400" spc="285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-4" dirty="0" smtClean="0">
                <a:latin typeface="+mj-lt"/>
                <a:cs typeface="Cambria"/>
              </a:rPr>
              <a:t>h</a:t>
            </a:r>
            <a:r>
              <a:rPr sz="1400" spc="0" dirty="0" smtClean="0">
                <a:latin typeface="+mj-lt"/>
                <a:cs typeface="Cambria"/>
              </a:rPr>
              <a:t>anging</a:t>
            </a:r>
            <a:r>
              <a:rPr sz="1400" spc="-43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the</a:t>
            </a:r>
            <a:r>
              <a:rPr sz="1400" spc="-26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ri</a:t>
            </a:r>
            <a:r>
              <a:rPr sz="1400" spc="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ary</a:t>
            </a:r>
            <a:r>
              <a:rPr sz="1400" spc="-25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d</a:t>
            </a:r>
            <a:r>
              <a:rPr sz="1400" spc="-25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x</a:t>
            </a:r>
            <a:r>
              <a:rPr sz="1400" spc="-23" dirty="0" smtClean="0">
                <a:latin typeface="+mj-lt"/>
                <a:cs typeface="Cambria"/>
              </a:rPr>
              <a:t> </a:t>
            </a:r>
            <a:r>
              <a:rPr sz="1400" spc="-25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qui</a:t>
            </a:r>
            <a:r>
              <a:rPr sz="1400" spc="-25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s</a:t>
            </a:r>
            <a:r>
              <a:rPr sz="1400" spc="-52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d</a:t>
            </a:r>
            <a:r>
              <a:rPr sz="1400" spc="-1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ping</a:t>
            </a:r>
            <a:r>
              <a:rPr sz="1400" spc="-62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nd</a:t>
            </a:r>
            <a:r>
              <a:rPr sz="1400" spc="-20" dirty="0" smtClean="0">
                <a:latin typeface="+mj-lt"/>
                <a:cs typeface="Cambria"/>
              </a:rPr>
              <a:t> </a:t>
            </a:r>
            <a:r>
              <a:rPr sz="1400" spc="-25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-25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ating</a:t>
            </a:r>
            <a:r>
              <a:rPr sz="1400" spc="-70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the</a:t>
            </a:r>
            <a:r>
              <a:rPr sz="1400" spc="-26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table.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063749" y="4237354"/>
            <a:ext cx="3549651" cy="1324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049527" marR="1181706" indent="-957071">
              <a:lnSpc>
                <a:spcPct val="100041"/>
              </a:lnSpc>
              <a:spcBef>
                <a:spcPts val="409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R</a:t>
            </a:r>
            <a:r>
              <a:rPr sz="1400" spc="-4" dirty="0" smtClean="0">
                <a:latin typeface="+mj-lt"/>
                <a:cs typeface="Cambria"/>
              </a:rPr>
              <a:t>E</a:t>
            </a:r>
            <a:r>
              <a:rPr sz="1400" spc="-94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TE</a:t>
            </a:r>
            <a:r>
              <a:rPr sz="1400" spc="-51" dirty="0" smtClean="0">
                <a:latin typeface="+mj-lt"/>
                <a:cs typeface="Cambria"/>
              </a:rPr>
              <a:t> </a:t>
            </a:r>
            <a:r>
              <a:rPr sz="1400" spc="-13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AB</a:t>
            </a:r>
            <a:r>
              <a:rPr sz="1400" spc="-4" dirty="0" smtClean="0">
                <a:latin typeface="+mj-lt"/>
                <a:cs typeface="Cambria"/>
              </a:rPr>
              <a:t>L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12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sample_2 </a:t>
            </a:r>
            <a:r>
              <a:rPr sz="1400" spc="4" dirty="0" smtClean="0">
                <a:latin typeface="+mj-lt"/>
                <a:cs typeface="Cambria"/>
              </a:rPr>
              <a:t>(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l_x         </a:t>
            </a:r>
            <a:r>
              <a:rPr sz="1400" spc="20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T</a:t>
            </a:r>
            <a:endParaRPr sz="1400">
              <a:latin typeface="+mj-lt"/>
              <a:cs typeface="Cambria"/>
            </a:endParaRPr>
          </a:p>
          <a:p>
            <a:pPr marL="1049527">
              <a:lnSpc>
                <a:spcPct val="97696"/>
              </a:lnSpc>
            </a:pPr>
            <a:r>
              <a:rPr sz="1400" spc="-4" dirty="0" smtClean="0">
                <a:latin typeface="+mj-lt"/>
                <a:cs typeface="Cambria"/>
              </a:rPr>
              <a:t>,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l_y         </a:t>
            </a:r>
            <a:r>
              <a:rPr sz="1400" spc="27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T</a:t>
            </a:r>
            <a:endParaRPr sz="1400">
              <a:latin typeface="+mj-lt"/>
              <a:cs typeface="Cambria"/>
            </a:endParaRPr>
          </a:p>
          <a:p>
            <a:pPr marL="1049527">
              <a:lnSpc>
                <a:spcPct val="97696"/>
              </a:lnSpc>
              <a:spcBef>
                <a:spcPts val="45"/>
              </a:spcBef>
            </a:pPr>
            <a:r>
              <a:rPr sz="1400" spc="-4" dirty="0" smtClean="0">
                <a:latin typeface="+mj-lt"/>
                <a:cs typeface="Cambria"/>
              </a:rPr>
              <a:t>,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l_z          </a:t>
            </a:r>
            <a:r>
              <a:rPr sz="1400" spc="8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</a:t>
            </a:r>
            <a:r>
              <a:rPr sz="1400" spc="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)</a:t>
            </a:r>
            <a:endParaRPr sz="1400">
              <a:latin typeface="+mj-lt"/>
              <a:cs typeface="Cambria"/>
            </a:endParaRPr>
          </a:p>
          <a:p>
            <a:pPr marL="92456">
              <a:lnSpc>
                <a:spcPct val="97696"/>
              </a:lnSpc>
              <a:spcBef>
                <a:spcPts val="45"/>
              </a:spcBef>
            </a:pPr>
            <a:r>
              <a:rPr sz="1400" spc="0" dirty="0" smtClean="0">
                <a:latin typeface="+mj-lt"/>
                <a:cs typeface="Cambria"/>
              </a:rPr>
              <a:t>P</a:t>
            </a:r>
            <a:r>
              <a:rPr sz="1400" spc="4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I</a:t>
            </a:r>
            <a:r>
              <a:rPr sz="1400" spc="-9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6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Y</a:t>
            </a:r>
            <a:r>
              <a:rPr sz="1400" spc="-61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DEX</a:t>
            </a:r>
            <a:r>
              <a:rPr sz="1400" spc="-34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(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l</a:t>
            </a:r>
            <a:r>
              <a:rPr sz="1400" spc="-4" dirty="0" smtClean="0">
                <a:latin typeface="+mj-lt"/>
                <a:cs typeface="Cambria"/>
              </a:rPr>
              <a:t>_x</a:t>
            </a:r>
            <a:r>
              <a:rPr sz="1400" spc="0" dirty="0" smtClean="0">
                <a:latin typeface="+mj-lt"/>
                <a:cs typeface="Cambria"/>
              </a:rPr>
              <a:t>);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072895" y="2390775"/>
            <a:ext cx="3540505" cy="1324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049782" marR="1172562" indent="-957326">
              <a:lnSpc>
                <a:spcPct val="100041"/>
              </a:lnSpc>
              <a:spcBef>
                <a:spcPts val="405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R</a:t>
            </a:r>
            <a:r>
              <a:rPr sz="1400" spc="-4" dirty="0" smtClean="0">
                <a:latin typeface="+mj-lt"/>
                <a:cs typeface="Cambria"/>
              </a:rPr>
              <a:t>E</a:t>
            </a:r>
            <a:r>
              <a:rPr sz="1400" spc="-94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TE</a:t>
            </a:r>
            <a:r>
              <a:rPr sz="1400" spc="-51" dirty="0" smtClean="0">
                <a:latin typeface="+mj-lt"/>
                <a:cs typeface="Cambria"/>
              </a:rPr>
              <a:t> </a:t>
            </a:r>
            <a:r>
              <a:rPr sz="1400" spc="-13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AB</a:t>
            </a:r>
            <a:r>
              <a:rPr sz="1400" spc="-4" dirty="0" smtClean="0">
                <a:latin typeface="+mj-lt"/>
                <a:cs typeface="Cambria"/>
              </a:rPr>
              <a:t>L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12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sample_1 </a:t>
            </a:r>
            <a:r>
              <a:rPr sz="1400" spc="4" dirty="0" smtClean="0">
                <a:latin typeface="+mj-lt"/>
                <a:cs typeface="Cambria"/>
              </a:rPr>
              <a:t>(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l_a         </a:t>
            </a:r>
            <a:r>
              <a:rPr sz="1400" spc="15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T</a:t>
            </a:r>
            <a:endParaRPr sz="1400">
              <a:latin typeface="+mj-lt"/>
              <a:cs typeface="Cambria"/>
            </a:endParaRPr>
          </a:p>
          <a:p>
            <a:pPr marL="1049782">
              <a:lnSpc>
                <a:spcPct val="97696"/>
              </a:lnSpc>
            </a:pPr>
            <a:r>
              <a:rPr sz="1400" spc="-4" dirty="0" smtClean="0">
                <a:latin typeface="+mj-lt"/>
                <a:cs typeface="Cambria"/>
              </a:rPr>
              <a:t>,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l_b         </a:t>
            </a:r>
            <a:r>
              <a:rPr sz="1400" spc="20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T</a:t>
            </a:r>
            <a:endParaRPr sz="1400">
              <a:latin typeface="+mj-lt"/>
              <a:cs typeface="Cambria"/>
            </a:endParaRPr>
          </a:p>
          <a:p>
            <a:pPr marL="1049782">
              <a:lnSpc>
                <a:spcPct val="97696"/>
              </a:lnSpc>
              <a:spcBef>
                <a:spcPts val="45"/>
              </a:spcBef>
            </a:pPr>
            <a:r>
              <a:rPr sz="1400" spc="-4" dirty="0" smtClean="0">
                <a:latin typeface="+mj-lt"/>
                <a:cs typeface="Cambria"/>
              </a:rPr>
              <a:t>,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l_c          </a:t>
            </a:r>
            <a:r>
              <a:rPr sz="1400" spc="28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</a:t>
            </a:r>
            <a:r>
              <a:rPr sz="1400" spc="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)</a:t>
            </a:r>
            <a:endParaRPr sz="1400">
              <a:latin typeface="+mj-lt"/>
              <a:cs typeface="Cambria"/>
            </a:endParaRPr>
          </a:p>
          <a:p>
            <a:pPr marL="92456">
              <a:lnSpc>
                <a:spcPct val="97696"/>
              </a:lnSpc>
              <a:spcBef>
                <a:spcPts val="45"/>
              </a:spcBef>
            </a:pPr>
            <a:r>
              <a:rPr sz="1400" spc="0" dirty="0" smtClean="0">
                <a:latin typeface="+mj-lt"/>
                <a:cs typeface="Cambria"/>
              </a:rPr>
              <a:t>UNIQ</a:t>
            </a:r>
            <a:r>
              <a:rPr sz="1400" spc="-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E P</a:t>
            </a:r>
            <a:r>
              <a:rPr sz="1400" spc="4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I</a:t>
            </a:r>
            <a:r>
              <a:rPr sz="1400" spc="-9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6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Y</a:t>
            </a:r>
            <a:r>
              <a:rPr sz="1400" spc="-46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DEX</a:t>
            </a:r>
            <a:r>
              <a:rPr sz="1400" spc="-34" dirty="0" smtClean="0">
                <a:latin typeface="+mj-lt"/>
                <a:cs typeface="Cambria"/>
              </a:rPr>
              <a:t> </a:t>
            </a:r>
            <a:r>
              <a:rPr sz="1400" spc="9" dirty="0" smtClean="0">
                <a:latin typeface="+mj-lt"/>
                <a:cs typeface="Cambria"/>
              </a:rPr>
              <a:t>(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l</a:t>
            </a:r>
            <a:r>
              <a:rPr sz="1400" spc="-4" dirty="0" smtClean="0">
                <a:latin typeface="+mj-lt"/>
                <a:cs typeface="Cambria"/>
              </a:rPr>
              <a:t>_</a:t>
            </a:r>
            <a:r>
              <a:rPr sz="1400" spc="4" dirty="0" smtClean="0">
                <a:latin typeface="+mj-lt"/>
                <a:cs typeface="Cambria"/>
              </a:rPr>
              <a:t>b</a:t>
            </a:r>
            <a:r>
              <a:rPr sz="1400" spc="0" dirty="0" smtClean="0">
                <a:latin typeface="+mj-lt"/>
                <a:cs typeface="Cambria"/>
              </a:rPr>
              <a:t>);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30" name="Content Placeholder 29"/>
          <p:cNvSpPr>
            <a:spLocks noGrp="1"/>
          </p:cNvSpPr>
          <p:nvPr>
            <p:ph idx="1"/>
          </p:nvPr>
        </p:nvSpPr>
        <p:spPr>
          <a:xfrm>
            <a:off x="325880" y="1422401"/>
            <a:ext cx="9656320" cy="4712547"/>
          </a:xfrm>
        </p:spPr>
        <p:txBody>
          <a:bodyPr/>
          <a:lstStyle/>
          <a:p>
            <a:r>
              <a:rPr lang="en-US" dirty="0" smtClean="0"/>
              <a:t>A </a:t>
            </a:r>
            <a:r>
              <a:rPr lang="en-US" dirty="0"/>
              <a:t>Primary Index is defined at table creation.</a:t>
            </a:r>
          </a:p>
          <a:p>
            <a:r>
              <a:rPr lang="en-US" dirty="0" smtClean="0"/>
              <a:t>It </a:t>
            </a:r>
            <a:r>
              <a:rPr lang="en-US" dirty="0"/>
              <a:t>may consist of a single column or a combination of up to 16 columns.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Content Placeholder 85"/>
          <p:cNvSpPr>
            <a:spLocks noGrp="1"/>
          </p:cNvSpPr>
          <p:nvPr>
            <p:ph idx="1"/>
          </p:nvPr>
        </p:nvSpPr>
        <p:spPr>
          <a:xfrm>
            <a:off x="325880" y="1193801"/>
            <a:ext cx="9656320" cy="4712547"/>
          </a:xfrm>
        </p:spPr>
        <p:txBody>
          <a:bodyPr/>
          <a:lstStyle/>
          <a:p>
            <a:r>
              <a:rPr lang="en-US" dirty="0" smtClean="0"/>
              <a:t>The </a:t>
            </a:r>
            <a:r>
              <a:rPr lang="en-US" dirty="0"/>
              <a:t>value of the Primary Index for a specific row determines its AMP assignment.</a:t>
            </a:r>
          </a:p>
          <a:p>
            <a:r>
              <a:rPr lang="en-US" dirty="0" smtClean="0"/>
              <a:t>This </a:t>
            </a:r>
            <a:r>
              <a:rPr lang="en-US" dirty="0"/>
              <a:t>is done using the hashing algorithm.</a:t>
            </a:r>
          </a:p>
          <a:p>
            <a:endParaRPr lang="en-US" dirty="0"/>
          </a:p>
        </p:txBody>
      </p:sp>
      <p:sp>
        <p:nvSpPr>
          <p:cNvPr id="85" name="Title 8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imary Index Values </a:t>
            </a:r>
            <a:endParaRPr lang="en-US" dirty="0"/>
          </a:p>
        </p:txBody>
      </p:sp>
      <p:sp>
        <p:nvSpPr>
          <p:cNvPr id="83" name="object 83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665476" y="2635504"/>
            <a:ext cx="3183636" cy="9966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2712468" y="2366784"/>
            <a:ext cx="3088766" cy="90130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712468" y="2366784"/>
            <a:ext cx="3088766" cy="901306"/>
          </a:xfrm>
          <a:custGeom>
            <a:avLst/>
            <a:gdLst/>
            <a:ahLst/>
            <a:cxnLst/>
            <a:rect l="l" t="t" r="r" b="b"/>
            <a:pathLst>
              <a:path w="3088767" h="901306">
                <a:moveTo>
                  <a:pt x="0" y="901306"/>
                </a:moveTo>
                <a:lnTo>
                  <a:pt x="3088767" y="901306"/>
                </a:lnTo>
                <a:lnTo>
                  <a:pt x="3088767" y="0"/>
                </a:lnTo>
                <a:lnTo>
                  <a:pt x="0" y="0"/>
                </a:lnTo>
                <a:lnTo>
                  <a:pt x="0" y="901306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3686555" y="2337817"/>
            <a:ext cx="992124" cy="43433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3660649" y="2260600"/>
            <a:ext cx="1072896" cy="38862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3733800" y="2362225"/>
            <a:ext cx="896848" cy="33919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3733800" y="2362225"/>
            <a:ext cx="896848" cy="339191"/>
          </a:xfrm>
          <a:custGeom>
            <a:avLst/>
            <a:gdLst/>
            <a:ahLst/>
            <a:cxnLst/>
            <a:rect l="l" t="t" r="r" b="b"/>
            <a:pathLst>
              <a:path w="896848" h="339191">
                <a:moveTo>
                  <a:pt x="0" y="339191"/>
                </a:moveTo>
                <a:lnTo>
                  <a:pt x="896848" y="339191"/>
                </a:lnTo>
                <a:lnTo>
                  <a:pt x="896848" y="0"/>
                </a:lnTo>
                <a:lnTo>
                  <a:pt x="0" y="0"/>
                </a:lnTo>
                <a:lnTo>
                  <a:pt x="0" y="339191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3633216" y="3927349"/>
            <a:ext cx="1225297" cy="54101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3680206" y="3955085"/>
            <a:ext cx="1130477" cy="44648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3680206" y="3955085"/>
            <a:ext cx="1130477" cy="446481"/>
          </a:xfrm>
          <a:custGeom>
            <a:avLst/>
            <a:gdLst/>
            <a:ahLst/>
            <a:cxnLst/>
            <a:rect l="l" t="t" r="r" b="b"/>
            <a:pathLst>
              <a:path w="1130477" h="446481">
                <a:moveTo>
                  <a:pt x="0" y="446481"/>
                </a:moveTo>
                <a:lnTo>
                  <a:pt x="1130477" y="446481"/>
                </a:lnTo>
                <a:lnTo>
                  <a:pt x="1130477" y="0"/>
                </a:lnTo>
                <a:lnTo>
                  <a:pt x="0" y="0"/>
                </a:lnTo>
                <a:lnTo>
                  <a:pt x="0" y="446481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664077" y="4650359"/>
            <a:ext cx="1082293" cy="125095"/>
          </a:xfrm>
          <a:custGeom>
            <a:avLst/>
            <a:gdLst/>
            <a:ahLst/>
            <a:cxnLst/>
            <a:rect l="l" t="t" r="r" b="b"/>
            <a:pathLst>
              <a:path w="1082294" h="125095">
                <a:moveTo>
                  <a:pt x="0" y="62484"/>
                </a:moveTo>
                <a:lnTo>
                  <a:pt x="1794" y="67614"/>
                </a:lnTo>
                <a:lnTo>
                  <a:pt x="7083" y="72631"/>
                </a:lnTo>
                <a:lnTo>
                  <a:pt x="27591" y="82260"/>
                </a:lnTo>
                <a:lnTo>
                  <a:pt x="60408" y="91241"/>
                </a:lnTo>
                <a:lnTo>
                  <a:pt x="81084" y="95449"/>
                </a:lnTo>
                <a:lnTo>
                  <a:pt x="104420" y="99446"/>
                </a:lnTo>
                <a:lnTo>
                  <a:pt x="130275" y="103216"/>
                </a:lnTo>
                <a:lnTo>
                  <a:pt x="158511" y="106743"/>
                </a:lnTo>
                <a:lnTo>
                  <a:pt x="188989" y="110011"/>
                </a:lnTo>
                <a:lnTo>
                  <a:pt x="221568" y="113004"/>
                </a:lnTo>
                <a:lnTo>
                  <a:pt x="256109" y="115706"/>
                </a:lnTo>
                <a:lnTo>
                  <a:pt x="292474" y="118099"/>
                </a:lnTo>
                <a:lnTo>
                  <a:pt x="330523" y="120169"/>
                </a:lnTo>
                <a:lnTo>
                  <a:pt x="370116" y="121899"/>
                </a:lnTo>
                <a:lnTo>
                  <a:pt x="411114" y="123273"/>
                </a:lnTo>
                <a:lnTo>
                  <a:pt x="453378" y="124274"/>
                </a:lnTo>
                <a:lnTo>
                  <a:pt x="496769" y="124887"/>
                </a:lnTo>
                <a:lnTo>
                  <a:pt x="541147" y="125095"/>
                </a:lnTo>
                <a:lnTo>
                  <a:pt x="585541" y="124887"/>
                </a:lnTo>
                <a:lnTo>
                  <a:pt x="628945" y="124274"/>
                </a:lnTo>
                <a:lnTo>
                  <a:pt x="671220" y="123273"/>
                </a:lnTo>
                <a:lnTo>
                  <a:pt x="712226" y="121899"/>
                </a:lnTo>
                <a:lnTo>
                  <a:pt x="751824" y="120169"/>
                </a:lnTo>
                <a:lnTo>
                  <a:pt x="789875" y="118099"/>
                </a:lnTo>
                <a:lnTo>
                  <a:pt x="826240" y="115706"/>
                </a:lnTo>
                <a:lnTo>
                  <a:pt x="860780" y="113004"/>
                </a:lnTo>
                <a:lnTo>
                  <a:pt x="893356" y="110011"/>
                </a:lnTo>
                <a:lnTo>
                  <a:pt x="923829" y="106743"/>
                </a:lnTo>
                <a:lnTo>
                  <a:pt x="952060" y="103216"/>
                </a:lnTo>
                <a:lnTo>
                  <a:pt x="977910" y="99446"/>
                </a:lnTo>
                <a:lnTo>
                  <a:pt x="1001239" y="95449"/>
                </a:lnTo>
                <a:lnTo>
                  <a:pt x="1021909" y="91241"/>
                </a:lnTo>
                <a:lnTo>
                  <a:pt x="1039780" y="86840"/>
                </a:lnTo>
                <a:lnTo>
                  <a:pt x="1066572" y="77518"/>
                </a:lnTo>
                <a:lnTo>
                  <a:pt x="1082294" y="62484"/>
                </a:lnTo>
                <a:lnTo>
                  <a:pt x="1066572" y="47498"/>
                </a:lnTo>
                <a:lnTo>
                  <a:pt x="1039780" y="38201"/>
                </a:lnTo>
                <a:lnTo>
                  <a:pt x="1021909" y="33809"/>
                </a:lnTo>
                <a:lnTo>
                  <a:pt x="1001239" y="29610"/>
                </a:lnTo>
                <a:lnTo>
                  <a:pt x="977910" y="25621"/>
                </a:lnTo>
                <a:lnTo>
                  <a:pt x="952060" y="21857"/>
                </a:lnTo>
                <a:lnTo>
                  <a:pt x="923829" y="18335"/>
                </a:lnTo>
                <a:lnTo>
                  <a:pt x="893356" y="15071"/>
                </a:lnTo>
                <a:lnTo>
                  <a:pt x="860780" y="12082"/>
                </a:lnTo>
                <a:lnTo>
                  <a:pt x="826240" y="9383"/>
                </a:lnTo>
                <a:lnTo>
                  <a:pt x="789875" y="6991"/>
                </a:lnTo>
                <a:lnTo>
                  <a:pt x="751824" y="4923"/>
                </a:lnTo>
                <a:lnTo>
                  <a:pt x="712226" y="3194"/>
                </a:lnTo>
                <a:lnTo>
                  <a:pt x="671220" y="1821"/>
                </a:lnTo>
                <a:lnTo>
                  <a:pt x="628945" y="820"/>
                </a:lnTo>
                <a:lnTo>
                  <a:pt x="585541" y="207"/>
                </a:lnTo>
                <a:lnTo>
                  <a:pt x="541147" y="0"/>
                </a:lnTo>
                <a:lnTo>
                  <a:pt x="496769" y="207"/>
                </a:lnTo>
                <a:lnTo>
                  <a:pt x="453378" y="820"/>
                </a:lnTo>
                <a:lnTo>
                  <a:pt x="411114" y="1821"/>
                </a:lnTo>
                <a:lnTo>
                  <a:pt x="370116" y="3194"/>
                </a:lnTo>
                <a:lnTo>
                  <a:pt x="330523" y="4923"/>
                </a:lnTo>
                <a:lnTo>
                  <a:pt x="292474" y="6991"/>
                </a:lnTo>
                <a:lnTo>
                  <a:pt x="256109" y="9383"/>
                </a:lnTo>
                <a:lnTo>
                  <a:pt x="221568" y="12082"/>
                </a:lnTo>
                <a:lnTo>
                  <a:pt x="188989" y="15071"/>
                </a:lnTo>
                <a:lnTo>
                  <a:pt x="158511" y="18335"/>
                </a:lnTo>
                <a:lnTo>
                  <a:pt x="130275" y="21857"/>
                </a:lnTo>
                <a:lnTo>
                  <a:pt x="104420" y="25621"/>
                </a:lnTo>
                <a:lnTo>
                  <a:pt x="81084" y="29610"/>
                </a:lnTo>
                <a:lnTo>
                  <a:pt x="60408" y="33809"/>
                </a:lnTo>
                <a:lnTo>
                  <a:pt x="42531" y="38201"/>
                </a:lnTo>
                <a:lnTo>
                  <a:pt x="15729" y="47498"/>
                </a:lnTo>
                <a:lnTo>
                  <a:pt x="1794" y="57371"/>
                </a:lnTo>
                <a:lnTo>
                  <a:pt x="0" y="62484"/>
                </a:lnTo>
                <a:close/>
              </a:path>
            </a:pathLst>
          </a:custGeom>
          <a:solidFill>
            <a:srgbClr val="90909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664077" y="4650359"/>
            <a:ext cx="1082293" cy="125095"/>
          </a:xfrm>
          <a:custGeom>
            <a:avLst/>
            <a:gdLst/>
            <a:ahLst/>
            <a:cxnLst/>
            <a:rect l="l" t="t" r="r" b="b"/>
            <a:pathLst>
              <a:path w="1082294" h="125095">
                <a:moveTo>
                  <a:pt x="0" y="62484"/>
                </a:moveTo>
                <a:lnTo>
                  <a:pt x="15729" y="47498"/>
                </a:lnTo>
                <a:lnTo>
                  <a:pt x="42531" y="38201"/>
                </a:lnTo>
                <a:lnTo>
                  <a:pt x="60408" y="33809"/>
                </a:lnTo>
                <a:lnTo>
                  <a:pt x="81084" y="29610"/>
                </a:lnTo>
                <a:lnTo>
                  <a:pt x="104420" y="25621"/>
                </a:lnTo>
                <a:lnTo>
                  <a:pt x="130275" y="21857"/>
                </a:lnTo>
                <a:lnTo>
                  <a:pt x="158511" y="18335"/>
                </a:lnTo>
                <a:lnTo>
                  <a:pt x="188989" y="15071"/>
                </a:lnTo>
                <a:lnTo>
                  <a:pt x="221568" y="12082"/>
                </a:lnTo>
                <a:lnTo>
                  <a:pt x="256109" y="9383"/>
                </a:lnTo>
                <a:lnTo>
                  <a:pt x="292474" y="6991"/>
                </a:lnTo>
                <a:lnTo>
                  <a:pt x="330523" y="4923"/>
                </a:lnTo>
                <a:lnTo>
                  <a:pt x="370116" y="3194"/>
                </a:lnTo>
                <a:lnTo>
                  <a:pt x="411114" y="1821"/>
                </a:lnTo>
                <a:lnTo>
                  <a:pt x="453378" y="820"/>
                </a:lnTo>
                <a:lnTo>
                  <a:pt x="496769" y="207"/>
                </a:lnTo>
                <a:lnTo>
                  <a:pt x="541147" y="0"/>
                </a:lnTo>
                <a:lnTo>
                  <a:pt x="585541" y="207"/>
                </a:lnTo>
                <a:lnTo>
                  <a:pt x="628945" y="820"/>
                </a:lnTo>
                <a:lnTo>
                  <a:pt x="671220" y="1821"/>
                </a:lnTo>
                <a:lnTo>
                  <a:pt x="712226" y="3194"/>
                </a:lnTo>
                <a:lnTo>
                  <a:pt x="751824" y="4923"/>
                </a:lnTo>
                <a:lnTo>
                  <a:pt x="789875" y="6991"/>
                </a:lnTo>
                <a:lnTo>
                  <a:pt x="826240" y="9383"/>
                </a:lnTo>
                <a:lnTo>
                  <a:pt x="860780" y="12082"/>
                </a:lnTo>
                <a:lnTo>
                  <a:pt x="893356" y="15071"/>
                </a:lnTo>
                <a:lnTo>
                  <a:pt x="923829" y="18335"/>
                </a:lnTo>
                <a:lnTo>
                  <a:pt x="952060" y="21857"/>
                </a:lnTo>
                <a:lnTo>
                  <a:pt x="977910" y="25621"/>
                </a:lnTo>
                <a:lnTo>
                  <a:pt x="1001239" y="29610"/>
                </a:lnTo>
                <a:lnTo>
                  <a:pt x="1021909" y="33809"/>
                </a:lnTo>
                <a:lnTo>
                  <a:pt x="1039780" y="38201"/>
                </a:lnTo>
                <a:lnTo>
                  <a:pt x="1066572" y="47498"/>
                </a:lnTo>
                <a:lnTo>
                  <a:pt x="1082294" y="62484"/>
                </a:lnTo>
                <a:lnTo>
                  <a:pt x="1080500" y="67614"/>
                </a:lnTo>
                <a:lnTo>
                  <a:pt x="1075213" y="72631"/>
                </a:lnTo>
                <a:lnTo>
                  <a:pt x="1054714" y="82260"/>
                </a:lnTo>
                <a:lnTo>
                  <a:pt x="1021909" y="91241"/>
                </a:lnTo>
                <a:lnTo>
                  <a:pt x="1001239" y="95449"/>
                </a:lnTo>
                <a:lnTo>
                  <a:pt x="977910" y="99446"/>
                </a:lnTo>
                <a:lnTo>
                  <a:pt x="952060" y="103216"/>
                </a:lnTo>
                <a:lnTo>
                  <a:pt x="923829" y="106743"/>
                </a:lnTo>
                <a:lnTo>
                  <a:pt x="893356" y="110011"/>
                </a:lnTo>
                <a:lnTo>
                  <a:pt x="860780" y="113004"/>
                </a:lnTo>
                <a:lnTo>
                  <a:pt x="826240" y="115706"/>
                </a:lnTo>
                <a:lnTo>
                  <a:pt x="789875" y="118099"/>
                </a:lnTo>
                <a:lnTo>
                  <a:pt x="751824" y="120169"/>
                </a:lnTo>
                <a:lnTo>
                  <a:pt x="712226" y="121899"/>
                </a:lnTo>
                <a:lnTo>
                  <a:pt x="671220" y="123273"/>
                </a:lnTo>
                <a:lnTo>
                  <a:pt x="628945" y="124274"/>
                </a:lnTo>
                <a:lnTo>
                  <a:pt x="585541" y="124887"/>
                </a:lnTo>
                <a:lnTo>
                  <a:pt x="541147" y="125095"/>
                </a:lnTo>
                <a:lnTo>
                  <a:pt x="496769" y="124887"/>
                </a:lnTo>
                <a:lnTo>
                  <a:pt x="453378" y="124274"/>
                </a:lnTo>
                <a:lnTo>
                  <a:pt x="411114" y="123273"/>
                </a:lnTo>
                <a:lnTo>
                  <a:pt x="370116" y="121899"/>
                </a:lnTo>
                <a:lnTo>
                  <a:pt x="330523" y="120169"/>
                </a:lnTo>
                <a:lnTo>
                  <a:pt x="292474" y="118099"/>
                </a:lnTo>
                <a:lnTo>
                  <a:pt x="256109" y="115706"/>
                </a:lnTo>
                <a:lnTo>
                  <a:pt x="221568" y="113004"/>
                </a:lnTo>
                <a:lnTo>
                  <a:pt x="188989" y="110011"/>
                </a:lnTo>
                <a:lnTo>
                  <a:pt x="158511" y="106743"/>
                </a:lnTo>
                <a:lnTo>
                  <a:pt x="130275" y="103216"/>
                </a:lnTo>
                <a:lnTo>
                  <a:pt x="104420" y="99446"/>
                </a:lnTo>
                <a:lnTo>
                  <a:pt x="81084" y="95449"/>
                </a:lnTo>
                <a:lnTo>
                  <a:pt x="60408" y="91241"/>
                </a:lnTo>
                <a:lnTo>
                  <a:pt x="42531" y="86840"/>
                </a:lnTo>
                <a:lnTo>
                  <a:pt x="27591" y="82260"/>
                </a:lnTo>
                <a:lnTo>
                  <a:pt x="7083" y="72631"/>
                </a:lnTo>
                <a:lnTo>
                  <a:pt x="0" y="6248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654933" y="4712335"/>
            <a:ext cx="0" cy="346456"/>
          </a:xfrm>
          <a:custGeom>
            <a:avLst/>
            <a:gdLst/>
            <a:ahLst/>
            <a:cxnLst/>
            <a:rect l="l" t="t" r="r" b="b"/>
            <a:pathLst>
              <a:path h="346456">
                <a:moveTo>
                  <a:pt x="0" y="0"/>
                </a:moveTo>
                <a:lnTo>
                  <a:pt x="0" y="34645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4205225" y="5047997"/>
            <a:ext cx="550417" cy="67945"/>
          </a:xfrm>
          <a:custGeom>
            <a:avLst/>
            <a:gdLst/>
            <a:ahLst/>
            <a:cxnLst/>
            <a:rect l="l" t="t" r="r" b="b"/>
            <a:pathLst>
              <a:path w="550417" h="67945">
                <a:moveTo>
                  <a:pt x="550290" y="0"/>
                </a:moveTo>
                <a:lnTo>
                  <a:pt x="550290" y="380"/>
                </a:lnTo>
                <a:lnTo>
                  <a:pt x="550417" y="888"/>
                </a:lnTo>
                <a:lnTo>
                  <a:pt x="550417" y="1269"/>
                </a:lnTo>
                <a:lnTo>
                  <a:pt x="534417" y="17294"/>
                </a:lnTo>
                <a:lnTo>
                  <a:pt x="507152" y="27225"/>
                </a:lnTo>
                <a:lnTo>
                  <a:pt x="488966" y="31913"/>
                </a:lnTo>
                <a:lnTo>
                  <a:pt x="467934" y="36394"/>
                </a:lnTo>
                <a:lnTo>
                  <a:pt x="444197" y="40650"/>
                </a:lnTo>
                <a:lnTo>
                  <a:pt x="417897" y="44663"/>
                </a:lnTo>
                <a:lnTo>
                  <a:pt x="389175" y="48418"/>
                </a:lnTo>
                <a:lnTo>
                  <a:pt x="358174" y="51897"/>
                </a:lnTo>
                <a:lnTo>
                  <a:pt x="325036" y="55082"/>
                </a:lnTo>
                <a:lnTo>
                  <a:pt x="289902" y="57957"/>
                </a:lnTo>
                <a:lnTo>
                  <a:pt x="252915" y="60504"/>
                </a:lnTo>
                <a:lnTo>
                  <a:pt x="214215" y="62706"/>
                </a:lnTo>
                <a:lnTo>
                  <a:pt x="173945" y="64546"/>
                </a:lnTo>
                <a:lnTo>
                  <a:pt x="132246" y="66007"/>
                </a:lnTo>
                <a:lnTo>
                  <a:pt x="89262" y="67072"/>
                </a:lnTo>
                <a:lnTo>
                  <a:pt x="45132" y="67724"/>
                </a:lnTo>
                <a:lnTo>
                  <a:pt x="0" y="6794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3657220" y="5047997"/>
            <a:ext cx="550290" cy="67945"/>
          </a:xfrm>
          <a:custGeom>
            <a:avLst/>
            <a:gdLst/>
            <a:ahLst/>
            <a:cxnLst/>
            <a:rect l="l" t="t" r="r" b="b"/>
            <a:pathLst>
              <a:path w="550290" h="67945">
                <a:moveTo>
                  <a:pt x="550290" y="67944"/>
                </a:moveTo>
                <a:lnTo>
                  <a:pt x="505159" y="67724"/>
                </a:lnTo>
                <a:lnTo>
                  <a:pt x="461032" y="67072"/>
                </a:lnTo>
                <a:lnTo>
                  <a:pt x="418051" y="66007"/>
                </a:lnTo>
                <a:lnTo>
                  <a:pt x="376358" y="64546"/>
                </a:lnTo>
                <a:lnTo>
                  <a:pt x="336095" y="62706"/>
                </a:lnTo>
                <a:lnTo>
                  <a:pt x="297403" y="60504"/>
                </a:lnTo>
                <a:lnTo>
                  <a:pt x="260423" y="57957"/>
                </a:lnTo>
                <a:lnTo>
                  <a:pt x="225299" y="55082"/>
                </a:lnTo>
                <a:lnTo>
                  <a:pt x="192170" y="51897"/>
                </a:lnTo>
                <a:lnTo>
                  <a:pt x="161178" y="48418"/>
                </a:lnTo>
                <a:lnTo>
                  <a:pt x="132466" y="44663"/>
                </a:lnTo>
                <a:lnTo>
                  <a:pt x="106176" y="40650"/>
                </a:lnTo>
                <a:lnTo>
                  <a:pt x="82447" y="36394"/>
                </a:lnTo>
                <a:lnTo>
                  <a:pt x="61423" y="31913"/>
                </a:lnTo>
                <a:lnTo>
                  <a:pt x="43245" y="27225"/>
                </a:lnTo>
                <a:lnTo>
                  <a:pt x="15993" y="17294"/>
                </a:lnTo>
                <a:lnTo>
                  <a:pt x="0" y="1269"/>
                </a:lnTo>
                <a:lnTo>
                  <a:pt x="0" y="888"/>
                </a:lnTo>
                <a:lnTo>
                  <a:pt x="0" y="380"/>
                </a:lnTo>
                <a:lnTo>
                  <a:pt x="126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4755641" y="4712335"/>
            <a:ext cx="0" cy="346456"/>
          </a:xfrm>
          <a:custGeom>
            <a:avLst/>
            <a:gdLst/>
            <a:ahLst/>
            <a:cxnLst/>
            <a:rect l="l" t="t" r="r" b="b"/>
            <a:pathLst>
              <a:path h="346456">
                <a:moveTo>
                  <a:pt x="0" y="0"/>
                </a:moveTo>
                <a:lnTo>
                  <a:pt x="0" y="34645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4205223" y="4421758"/>
            <a:ext cx="0" cy="302387"/>
          </a:xfrm>
          <a:custGeom>
            <a:avLst/>
            <a:gdLst/>
            <a:ahLst/>
            <a:cxnLst/>
            <a:rect l="l" t="t" r="r" b="b"/>
            <a:pathLst>
              <a:path h="302387">
                <a:moveTo>
                  <a:pt x="0" y="0"/>
                </a:moveTo>
                <a:lnTo>
                  <a:pt x="0" y="3023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4181222" y="3635122"/>
            <a:ext cx="76073" cy="325881"/>
          </a:xfrm>
          <a:custGeom>
            <a:avLst/>
            <a:gdLst/>
            <a:ahLst/>
            <a:cxnLst/>
            <a:rect l="l" t="t" r="r" b="b"/>
            <a:pathLst>
              <a:path w="76073" h="325881">
                <a:moveTo>
                  <a:pt x="33146" y="325881"/>
                </a:moveTo>
                <a:lnTo>
                  <a:pt x="76073" y="252221"/>
                </a:lnTo>
                <a:lnTo>
                  <a:pt x="49684" y="267530"/>
                </a:lnTo>
                <a:lnTo>
                  <a:pt x="66548" y="1650"/>
                </a:lnTo>
                <a:lnTo>
                  <a:pt x="41148" y="0"/>
                </a:lnTo>
                <a:lnTo>
                  <a:pt x="24281" y="265924"/>
                </a:lnTo>
                <a:lnTo>
                  <a:pt x="0" y="247395"/>
                </a:lnTo>
                <a:lnTo>
                  <a:pt x="33146" y="325881"/>
                </a:lnTo>
                <a:lnTo>
                  <a:pt x="23749" y="274319"/>
                </a:lnTo>
                <a:lnTo>
                  <a:pt x="36358" y="275139"/>
                </a:lnTo>
                <a:lnTo>
                  <a:pt x="36547" y="275151"/>
                </a:lnTo>
                <a:lnTo>
                  <a:pt x="49149" y="275970"/>
                </a:lnTo>
                <a:lnTo>
                  <a:pt x="33146" y="325881"/>
                </a:lnTo>
                <a:close/>
              </a:path>
              <a:path w="76073" h="325881">
                <a:moveTo>
                  <a:pt x="36449" y="275208"/>
                </a:moveTo>
                <a:lnTo>
                  <a:pt x="23749" y="274319"/>
                </a:lnTo>
                <a:lnTo>
                  <a:pt x="33146" y="325881"/>
                </a:lnTo>
                <a:lnTo>
                  <a:pt x="49149" y="275970"/>
                </a:lnTo>
                <a:lnTo>
                  <a:pt x="36547" y="275151"/>
                </a:lnTo>
                <a:close/>
              </a:path>
            </a:pathLst>
          </a:custGeom>
          <a:solidFill>
            <a:srgbClr val="25304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1818133" y="3766947"/>
            <a:ext cx="4771898" cy="0"/>
          </a:xfrm>
          <a:custGeom>
            <a:avLst/>
            <a:gdLst/>
            <a:ahLst/>
            <a:cxnLst/>
            <a:rect l="l" t="t" r="r" b="b"/>
            <a:pathLst>
              <a:path w="4771898">
                <a:moveTo>
                  <a:pt x="0" y="0"/>
                </a:moveTo>
                <a:lnTo>
                  <a:pt x="4771898" y="0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1225295" y="3942588"/>
            <a:ext cx="1225297" cy="54254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1272414" y="3970579"/>
            <a:ext cx="1130477" cy="44648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1272414" y="3970579"/>
            <a:ext cx="1130477" cy="446481"/>
          </a:xfrm>
          <a:custGeom>
            <a:avLst/>
            <a:gdLst/>
            <a:ahLst/>
            <a:cxnLst/>
            <a:rect l="l" t="t" r="r" b="b"/>
            <a:pathLst>
              <a:path w="1130477" h="446481">
                <a:moveTo>
                  <a:pt x="0" y="446481"/>
                </a:moveTo>
                <a:lnTo>
                  <a:pt x="1130477" y="446481"/>
                </a:lnTo>
                <a:lnTo>
                  <a:pt x="1130477" y="0"/>
                </a:lnTo>
                <a:lnTo>
                  <a:pt x="0" y="0"/>
                </a:lnTo>
                <a:lnTo>
                  <a:pt x="0" y="446481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1309116" y="4650359"/>
            <a:ext cx="1082293" cy="125095"/>
          </a:xfrm>
          <a:custGeom>
            <a:avLst/>
            <a:gdLst/>
            <a:ahLst/>
            <a:cxnLst/>
            <a:rect l="l" t="t" r="r" b="b"/>
            <a:pathLst>
              <a:path w="1082294" h="125095">
                <a:moveTo>
                  <a:pt x="0" y="62484"/>
                </a:moveTo>
                <a:lnTo>
                  <a:pt x="1794" y="67614"/>
                </a:lnTo>
                <a:lnTo>
                  <a:pt x="7083" y="72631"/>
                </a:lnTo>
                <a:lnTo>
                  <a:pt x="27591" y="82260"/>
                </a:lnTo>
                <a:lnTo>
                  <a:pt x="60408" y="91241"/>
                </a:lnTo>
                <a:lnTo>
                  <a:pt x="81084" y="95449"/>
                </a:lnTo>
                <a:lnTo>
                  <a:pt x="104420" y="99446"/>
                </a:lnTo>
                <a:lnTo>
                  <a:pt x="130275" y="103216"/>
                </a:lnTo>
                <a:lnTo>
                  <a:pt x="158511" y="106743"/>
                </a:lnTo>
                <a:lnTo>
                  <a:pt x="188989" y="110011"/>
                </a:lnTo>
                <a:lnTo>
                  <a:pt x="221568" y="113004"/>
                </a:lnTo>
                <a:lnTo>
                  <a:pt x="256109" y="115706"/>
                </a:lnTo>
                <a:lnTo>
                  <a:pt x="292474" y="118099"/>
                </a:lnTo>
                <a:lnTo>
                  <a:pt x="330523" y="120169"/>
                </a:lnTo>
                <a:lnTo>
                  <a:pt x="370116" y="121899"/>
                </a:lnTo>
                <a:lnTo>
                  <a:pt x="411114" y="123273"/>
                </a:lnTo>
                <a:lnTo>
                  <a:pt x="453378" y="124274"/>
                </a:lnTo>
                <a:lnTo>
                  <a:pt x="496769" y="124887"/>
                </a:lnTo>
                <a:lnTo>
                  <a:pt x="541147" y="125095"/>
                </a:lnTo>
                <a:lnTo>
                  <a:pt x="585541" y="124887"/>
                </a:lnTo>
                <a:lnTo>
                  <a:pt x="628945" y="124274"/>
                </a:lnTo>
                <a:lnTo>
                  <a:pt x="671220" y="123273"/>
                </a:lnTo>
                <a:lnTo>
                  <a:pt x="712226" y="121899"/>
                </a:lnTo>
                <a:lnTo>
                  <a:pt x="751824" y="120169"/>
                </a:lnTo>
                <a:lnTo>
                  <a:pt x="789875" y="118099"/>
                </a:lnTo>
                <a:lnTo>
                  <a:pt x="826240" y="115706"/>
                </a:lnTo>
                <a:lnTo>
                  <a:pt x="860780" y="113004"/>
                </a:lnTo>
                <a:lnTo>
                  <a:pt x="893356" y="110011"/>
                </a:lnTo>
                <a:lnTo>
                  <a:pt x="923829" y="106743"/>
                </a:lnTo>
                <a:lnTo>
                  <a:pt x="952060" y="103216"/>
                </a:lnTo>
                <a:lnTo>
                  <a:pt x="977910" y="99446"/>
                </a:lnTo>
                <a:lnTo>
                  <a:pt x="1001239" y="95449"/>
                </a:lnTo>
                <a:lnTo>
                  <a:pt x="1021909" y="91241"/>
                </a:lnTo>
                <a:lnTo>
                  <a:pt x="1039780" y="86840"/>
                </a:lnTo>
                <a:lnTo>
                  <a:pt x="1066572" y="77518"/>
                </a:lnTo>
                <a:lnTo>
                  <a:pt x="1082294" y="62484"/>
                </a:lnTo>
                <a:lnTo>
                  <a:pt x="1066572" y="47498"/>
                </a:lnTo>
                <a:lnTo>
                  <a:pt x="1039780" y="38201"/>
                </a:lnTo>
                <a:lnTo>
                  <a:pt x="1021909" y="33809"/>
                </a:lnTo>
                <a:lnTo>
                  <a:pt x="1001239" y="29610"/>
                </a:lnTo>
                <a:lnTo>
                  <a:pt x="977910" y="25621"/>
                </a:lnTo>
                <a:lnTo>
                  <a:pt x="952060" y="21857"/>
                </a:lnTo>
                <a:lnTo>
                  <a:pt x="923829" y="18335"/>
                </a:lnTo>
                <a:lnTo>
                  <a:pt x="893356" y="15071"/>
                </a:lnTo>
                <a:lnTo>
                  <a:pt x="860780" y="12082"/>
                </a:lnTo>
                <a:lnTo>
                  <a:pt x="826240" y="9383"/>
                </a:lnTo>
                <a:lnTo>
                  <a:pt x="789875" y="6991"/>
                </a:lnTo>
                <a:lnTo>
                  <a:pt x="751824" y="4923"/>
                </a:lnTo>
                <a:lnTo>
                  <a:pt x="712226" y="3194"/>
                </a:lnTo>
                <a:lnTo>
                  <a:pt x="671220" y="1821"/>
                </a:lnTo>
                <a:lnTo>
                  <a:pt x="628945" y="820"/>
                </a:lnTo>
                <a:lnTo>
                  <a:pt x="585541" y="207"/>
                </a:lnTo>
                <a:lnTo>
                  <a:pt x="541147" y="0"/>
                </a:lnTo>
                <a:lnTo>
                  <a:pt x="496769" y="207"/>
                </a:lnTo>
                <a:lnTo>
                  <a:pt x="453378" y="820"/>
                </a:lnTo>
                <a:lnTo>
                  <a:pt x="411114" y="1821"/>
                </a:lnTo>
                <a:lnTo>
                  <a:pt x="370116" y="3194"/>
                </a:lnTo>
                <a:lnTo>
                  <a:pt x="330523" y="4923"/>
                </a:lnTo>
                <a:lnTo>
                  <a:pt x="292474" y="6991"/>
                </a:lnTo>
                <a:lnTo>
                  <a:pt x="256109" y="9383"/>
                </a:lnTo>
                <a:lnTo>
                  <a:pt x="221568" y="12082"/>
                </a:lnTo>
                <a:lnTo>
                  <a:pt x="188989" y="15071"/>
                </a:lnTo>
                <a:lnTo>
                  <a:pt x="158511" y="18335"/>
                </a:lnTo>
                <a:lnTo>
                  <a:pt x="130275" y="21857"/>
                </a:lnTo>
                <a:lnTo>
                  <a:pt x="104420" y="25621"/>
                </a:lnTo>
                <a:lnTo>
                  <a:pt x="81084" y="29610"/>
                </a:lnTo>
                <a:lnTo>
                  <a:pt x="60408" y="33809"/>
                </a:lnTo>
                <a:lnTo>
                  <a:pt x="42531" y="38201"/>
                </a:lnTo>
                <a:lnTo>
                  <a:pt x="15729" y="47498"/>
                </a:lnTo>
                <a:lnTo>
                  <a:pt x="1794" y="57371"/>
                </a:lnTo>
                <a:lnTo>
                  <a:pt x="0" y="62484"/>
                </a:lnTo>
                <a:close/>
              </a:path>
            </a:pathLst>
          </a:custGeom>
          <a:solidFill>
            <a:srgbClr val="90909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1309116" y="4650359"/>
            <a:ext cx="1082293" cy="125095"/>
          </a:xfrm>
          <a:custGeom>
            <a:avLst/>
            <a:gdLst/>
            <a:ahLst/>
            <a:cxnLst/>
            <a:rect l="l" t="t" r="r" b="b"/>
            <a:pathLst>
              <a:path w="1082294" h="125095">
                <a:moveTo>
                  <a:pt x="0" y="62484"/>
                </a:moveTo>
                <a:lnTo>
                  <a:pt x="15729" y="47498"/>
                </a:lnTo>
                <a:lnTo>
                  <a:pt x="42531" y="38201"/>
                </a:lnTo>
                <a:lnTo>
                  <a:pt x="60408" y="33809"/>
                </a:lnTo>
                <a:lnTo>
                  <a:pt x="81084" y="29610"/>
                </a:lnTo>
                <a:lnTo>
                  <a:pt x="104420" y="25621"/>
                </a:lnTo>
                <a:lnTo>
                  <a:pt x="130275" y="21857"/>
                </a:lnTo>
                <a:lnTo>
                  <a:pt x="158511" y="18335"/>
                </a:lnTo>
                <a:lnTo>
                  <a:pt x="188989" y="15071"/>
                </a:lnTo>
                <a:lnTo>
                  <a:pt x="221568" y="12082"/>
                </a:lnTo>
                <a:lnTo>
                  <a:pt x="256109" y="9383"/>
                </a:lnTo>
                <a:lnTo>
                  <a:pt x="292474" y="6991"/>
                </a:lnTo>
                <a:lnTo>
                  <a:pt x="330523" y="4923"/>
                </a:lnTo>
                <a:lnTo>
                  <a:pt x="370116" y="3194"/>
                </a:lnTo>
                <a:lnTo>
                  <a:pt x="411114" y="1821"/>
                </a:lnTo>
                <a:lnTo>
                  <a:pt x="453378" y="820"/>
                </a:lnTo>
                <a:lnTo>
                  <a:pt x="496769" y="207"/>
                </a:lnTo>
                <a:lnTo>
                  <a:pt x="541147" y="0"/>
                </a:lnTo>
                <a:lnTo>
                  <a:pt x="585541" y="207"/>
                </a:lnTo>
                <a:lnTo>
                  <a:pt x="628945" y="820"/>
                </a:lnTo>
                <a:lnTo>
                  <a:pt x="671220" y="1821"/>
                </a:lnTo>
                <a:lnTo>
                  <a:pt x="712226" y="3194"/>
                </a:lnTo>
                <a:lnTo>
                  <a:pt x="751824" y="4923"/>
                </a:lnTo>
                <a:lnTo>
                  <a:pt x="789875" y="6991"/>
                </a:lnTo>
                <a:lnTo>
                  <a:pt x="826240" y="9383"/>
                </a:lnTo>
                <a:lnTo>
                  <a:pt x="860780" y="12082"/>
                </a:lnTo>
                <a:lnTo>
                  <a:pt x="893356" y="15071"/>
                </a:lnTo>
                <a:lnTo>
                  <a:pt x="923829" y="18335"/>
                </a:lnTo>
                <a:lnTo>
                  <a:pt x="952060" y="21857"/>
                </a:lnTo>
                <a:lnTo>
                  <a:pt x="977910" y="25621"/>
                </a:lnTo>
                <a:lnTo>
                  <a:pt x="1001239" y="29610"/>
                </a:lnTo>
                <a:lnTo>
                  <a:pt x="1021909" y="33809"/>
                </a:lnTo>
                <a:lnTo>
                  <a:pt x="1039780" y="38201"/>
                </a:lnTo>
                <a:lnTo>
                  <a:pt x="1066572" y="47498"/>
                </a:lnTo>
                <a:lnTo>
                  <a:pt x="1082294" y="62484"/>
                </a:lnTo>
                <a:lnTo>
                  <a:pt x="1080500" y="67614"/>
                </a:lnTo>
                <a:lnTo>
                  <a:pt x="1075213" y="72631"/>
                </a:lnTo>
                <a:lnTo>
                  <a:pt x="1054714" y="82260"/>
                </a:lnTo>
                <a:lnTo>
                  <a:pt x="1021909" y="91241"/>
                </a:lnTo>
                <a:lnTo>
                  <a:pt x="1001239" y="95449"/>
                </a:lnTo>
                <a:lnTo>
                  <a:pt x="977910" y="99446"/>
                </a:lnTo>
                <a:lnTo>
                  <a:pt x="952060" y="103216"/>
                </a:lnTo>
                <a:lnTo>
                  <a:pt x="923829" y="106743"/>
                </a:lnTo>
                <a:lnTo>
                  <a:pt x="893356" y="110011"/>
                </a:lnTo>
                <a:lnTo>
                  <a:pt x="860780" y="113004"/>
                </a:lnTo>
                <a:lnTo>
                  <a:pt x="826240" y="115706"/>
                </a:lnTo>
                <a:lnTo>
                  <a:pt x="789875" y="118099"/>
                </a:lnTo>
                <a:lnTo>
                  <a:pt x="751824" y="120169"/>
                </a:lnTo>
                <a:lnTo>
                  <a:pt x="712226" y="121899"/>
                </a:lnTo>
                <a:lnTo>
                  <a:pt x="671220" y="123273"/>
                </a:lnTo>
                <a:lnTo>
                  <a:pt x="628945" y="124274"/>
                </a:lnTo>
                <a:lnTo>
                  <a:pt x="585541" y="124887"/>
                </a:lnTo>
                <a:lnTo>
                  <a:pt x="541147" y="125095"/>
                </a:lnTo>
                <a:lnTo>
                  <a:pt x="496769" y="124887"/>
                </a:lnTo>
                <a:lnTo>
                  <a:pt x="453378" y="124274"/>
                </a:lnTo>
                <a:lnTo>
                  <a:pt x="411114" y="123273"/>
                </a:lnTo>
                <a:lnTo>
                  <a:pt x="370116" y="121899"/>
                </a:lnTo>
                <a:lnTo>
                  <a:pt x="330523" y="120169"/>
                </a:lnTo>
                <a:lnTo>
                  <a:pt x="292474" y="118099"/>
                </a:lnTo>
                <a:lnTo>
                  <a:pt x="256109" y="115706"/>
                </a:lnTo>
                <a:lnTo>
                  <a:pt x="221568" y="113004"/>
                </a:lnTo>
                <a:lnTo>
                  <a:pt x="188989" y="110011"/>
                </a:lnTo>
                <a:lnTo>
                  <a:pt x="158511" y="106743"/>
                </a:lnTo>
                <a:lnTo>
                  <a:pt x="130275" y="103216"/>
                </a:lnTo>
                <a:lnTo>
                  <a:pt x="104420" y="99446"/>
                </a:lnTo>
                <a:lnTo>
                  <a:pt x="81084" y="95449"/>
                </a:lnTo>
                <a:lnTo>
                  <a:pt x="60408" y="91241"/>
                </a:lnTo>
                <a:lnTo>
                  <a:pt x="42531" y="86840"/>
                </a:lnTo>
                <a:lnTo>
                  <a:pt x="27591" y="82260"/>
                </a:lnTo>
                <a:lnTo>
                  <a:pt x="7083" y="72631"/>
                </a:lnTo>
                <a:lnTo>
                  <a:pt x="0" y="6248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1299972" y="4712335"/>
            <a:ext cx="0" cy="346456"/>
          </a:xfrm>
          <a:custGeom>
            <a:avLst/>
            <a:gdLst/>
            <a:ahLst/>
            <a:cxnLst/>
            <a:rect l="l" t="t" r="r" b="b"/>
            <a:pathLst>
              <a:path h="346456">
                <a:moveTo>
                  <a:pt x="0" y="0"/>
                </a:moveTo>
                <a:lnTo>
                  <a:pt x="0" y="34645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1850263" y="5047997"/>
            <a:ext cx="550418" cy="67945"/>
          </a:xfrm>
          <a:custGeom>
            <a:avLst/>
            <a:gdLst/>
            <a:ahLst/>
            <a:cxnLst/>
            <a:rect l="l" t="t" r="r" b="b"/>
            <a:pathLst>
              <a:path w="550418" h="67945">
                <a:moveTo>
                  <a:pt x="550291" y="0"/>
                </a:moveTo>
                <a:lnTo>
                  <a:pt x="550291" y="380"/>
                </a:lnTo>
                <a:lnTo>
                  <a:pt x="550418" y="888"/>
                </a:lnTo>
                <a:lnTo>
                  <a:pt x="550418" y="1269"/>
                </a:lnTo>
                <a:lnTo>
                  <a:pt x="534417" y="17294"/>
                </a:lnTo>
                <a:lnTo>
                  <a:pt x="507152" y="27225"/>
                </a:lnTo>
                <a:lnTo>
                  <a:pt x="488966" y="31913"/>
                </a:lnTo>
                <a:lnTo>
                  <a:pt x="467934" y="36394"/>
                </a:lnTo>
                <a:lnTo>
                  <a:pt x="444197" y="40650"/>
                </a:lnTo>
                <a:lnTo>
                  <a:pt x="417897" y="44663"/>
                </a:lnTo>
                <a:lnTo>
                  <a:pt x="389175" y="48418"/>
                </a:lnTo>
                <a:lnTo>
                  <a:pt x="358174" y="51897"/>
                </a:lnTo>
                <a:lnTo>
                  <a:pt x="325036" y="55082"/>
                </a:lnTo>
                <a:lnTo>
                  <a:pt x="289902" y="57957"/>
                </a:lnTo>
                <a:lnTo>
                  <a:pt x="252915" y="60504"/>
                </a:lnTo>
                <a:lnTo>
                  <a:pt x="214215" y="62706"/>
                </a:lnTo>
                <a:lnTo>
                  <a:pt x="173945" y="64546"/>
                </a:lnTo>
                <a:lnTo>
                  <a:pt x="132246" y="66007"/>
                </a:lnTo>
                <a:lnTo>
                  <a:pt x="89262" y="67072"/>
                </a:lnTo>
                <a:lnTo>
                  <a:pt x="45132" y="67724"/>
                </a:lnTo>
                <a:lnTo>
                  <a:pt x="0" y="6794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1302259" y="5047997"/>
            <a:ext cx="550290" cy="67945"/>
          </a:xfrm>
          <a:custGeom>
            <a:avLst/>
            <a:gdLst/>
            <a:ahLst/>
            <a:cxnLst/>
            <a:rect l="l" t="t" r="r" b="b"/>
            <a:pathLst>
              <a:path w="550291" h="67945">
                <a:moveTo>
                  <a:pt x="550291" y="67944"/>
                </a:moveTo>
                <a:lnTo>
                  <a:pt x="505159" y="67724"/>
                </a:lnTo>
                <a:lnTo>
                  <a:pt x="461032" y="67072"/>
                </a:lnTo>
                <a:lnTo>
                  <a:pt x="418051" y="66007"/>
                </a:lnTo>
                <a:lnTo>
                  <a:pt x="376358" y="64546"/>
                </a:lnTo>
                <a:lnTo>
                  <a:pt x="336095" y="62706"/>
                </a:lnTo>
                <a:lnTo>
                  <a:pt x="297403" y="60504"/>
                </a:lnTo>
                <a:lnTo>
                  <a:pt x="260423" y="57957"/>
                </a:lnTo>
                <a:lnTo>
                  <a:pt x="225299" y="55082"/>
                </a:lnTo>
                <a:lnTo>
                  <a:pt x="192170" y="51897"/>
                </a:lnTo>
                <a:lnTo>
                  <a:pt x="161178" y="48418"/>
                </a:lnTo>
                <a:lnTo>
                  <a:pt x="132466" y="44663"/>
                </a:lnTo>
                <a:lnTo>
                  <a:pt x="106176" y="40650"/>
                </a:lnTo>
                <a:lnTo>
                  <a:pt x="82447" y="36394"/>
                </a:lnTo>
                <a:lnTo>
                  <a:pt x="61423" y="31913"/>
                </a:lnTo>
                <a:lnTo>
                  <a:pt x="43245" y="27225"/>
                </a:lnTo>
                <a:lnTo>
                  <a:pt x="15993" y="17294"/>
                </a:lnTo>
                <a:lnTo>
                  <a:pt x="0" y="1269"/>
                </a:lnTo>
                <a:lnTo>
                  <a:pt x="0" y="888"/>
                </a:lnTo>
                <a:lnTo>
                  <a:pt x="0" y="380"/>
                </a:lnTo>
                <a:lnTo>
                  <a:pt x="126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2400681" y="4712335"/>
            <a:ext cx="0" cy="346456"/>
          </a:xfrm>
          <a:custGeom>
            <a:avLst/>
            <a:gdLst/>
            <a:ahLst/>
            <a:cxnLst/>
            <a:rect l="l" t="t" r="r" b="b"/>
            <a:pathLst>
              <a:path h="346456">
                <a:moveTo>
                  <a:pt x="0" y="0"/>
                </a:moveTo>
                <a:lnTo>
                  <a:pt x="0" y="34645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1850263" y="4421758"/>
            <a:ext cx="0" cy="302387"/>
          </a:xfrm>
          <a:custGeom>
            <a:avLst/>
            <a:gdLst/>
            <a:ahLst/>
            <a:cxnLst/>
            <a:rect l="l" t="t" r="r" b="b"/>
            <a:pathLst>
              <a:path h="302387">
                <a:moveTo>
                  <a:pt x="0" y="0"/>
                </a:moveTo>
                <a:lnTo>
                  <a:pt x="0" y="3023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1780033" y="3766947"/>
            <a:ext cx="76200" cy="204724"/>
          </a:xfrm>
          <a:custGeom>
            <a:avLst/>
            <a:gdLst/>
            <a:ahLst/>
            <a:cxnLst/>
            <a:rect l="l" t="t" r="r" b="b"/>
            <a:pathLst>
              <a:path w="76200" h="204724">
                <a:moveTo>
                  <a:pt x="76200" y="128524"/>
                </a:moveTo>
                <a:lnTo>
                  <a:pt x="50800" y="145457"/>
                </a:lnTo>
                <a:lnTo>
                  <a:pt x="38100" y="153924"/>
                </a:lnTo>
                <a:lnTo>
                  <a:pt x="25400" y="153924"/>
                </a:lnTo>
                <a:lnTo>
                  <a:pt x="25400" y="145457"/>
                </a:lnTo>
                <a:lnTo>
                  <a:pt x="0" y="128524"/>
                </a:lnTo>
                <a:lnTo>
                  <a:pt x="38100" y="204724"/>
                </a:lnTo>
                <a:lnTo>
                  <a:pt x="50800" y="153924"/>
                </a:lnTo>
                <a:lnTo>
                  <a:pt x="76200" y="128524"/>
                </a:lnTo>
                <a:close/>
              </a:path>
              <a:path w="76200" h="204724">
                <a:moveTo>
                  <a:pt x="38100" y="153924"/>
                </a:moveTo>
                <a:lnTo>
                  <a:pt x="50800" y="145457"/>
                </a:lnTo>
                <a:lnTo>
                  <a:pt x="50800" y="0"/>
                </a:lnTo>
                <a:lnTo>
                  <a:pt x="25400" y="0"/>
                </a:lnTo>
                <a:lnTo>
                  <a:pt x="25400" y="153924"/>
                </a:lnTo>
                <a:lnTo>
                  <a:pt x="38100" y="153924"/>
                </a:lnTo>
                <a:close/>
              </a:path>
              <a:path w="76200" h="204724">
                <a:moveTo>
                  <a:pt x="50800" y="153924"/>
                </a:moveTo>
                <a:lnTo>
                  <a:pt x="38100" y="204724"/>
                </a:lnTo>
                <a:lnTo>
                  <a:pt x="76200" y="128524"/>
                </a:lnTo>
                <a:lnTo>
                  <a:pt x="50800" y="153924"/>
                </a:lnTo>
                <a:close/>
              </a:path>
            </a:pathLst>
          </a:custGeom>
          <a:solidFill>
            <a:srgbClr val="25304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5987795" y="3948685"/>
            <a:ext cx="1225297" cy="541019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6035168" y="3976548"/>
            <a:ext cx="1130477" cy="446481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6035168" y="3976548"/>
            <a:ext cx="1130477" cy="446481"/>
          </a:xfrm>
          <a:custGeom>
            <a:avLst/>
            <a:gdLst/>
            <a:ahLst/>
            <a:cxnLst/>
            <a:rect l="l" t="t" r="r" b="b"/>
            <a:pathLst>
              <a:path w="1130477" h="446481">
                <a:moveTo>
                  <a:pt x="0" y="446481"/>
                </a:moveTo>
                <a:lnTo>
                  <a:pt x="1130477" y="446481"/>
                </a:lnTo>
                <a:lnTo>
                  <a:pt x="1130477" y="0"/>
                </a:lnTo>
                <a:lnTo>
                  <a:pt x="0" y="0"/>
                </a:lnTo>
                <a:lnTo>
                  <a:pt x="0" y="446481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6007609" y="4655186"/>
            <a:ext cx="1082293" cy="124967"/>
          </a:xfrm>
          <a:custGeom>
            <a:avLst/>
            <a:gdLst/>
            <a:ahLst/>
            <a:cxnLst/>
            <a:rect l="l" t="t" r="r" b="b"/>
            <a:pathLst>
              <a:path w="1082293" h="124967">
                <a:moveTo>
                  <a:pt x="0" y="62483"/>
                </a:moveTo>
                <a:lnTo>
                  <a:pt x="1794" y="67613"/>
                </a:lnTo>
                <a:lnTo>
                  <a:pt x="7083" y="72627"/>
                </a:lnTo>
                <a:lnTo>
                  <a:pt x="27591" y="82247"/>
                </a:lnTo>
                <a:lnTo>
                  <a:pt x="60408" y="91214"/>
                </a:lnTo>
                <a:lnTo>
                  <a:pt x="81084" y="95413"/>
                </a:lnTo>
                <a:lnTo>
                  <a:pt x="104420" y="99401"/>
                </a:lnTo>
                <a:lnTo>
                  <a:pt x="130275" y="103162"/>
                </a:lnTo>
                <a:lnTo>
                  <a:pt x="158511" y="106680"/>
                </a:lnTo>
                <a:lnTo>
                  <a:pt x="188989" y="109938"/>
                </a:lnTo>
                <a:lnTo>
                  <a:pt x="221568" y="112922"/>
                </a:lnTo>
                <a:lnTo>
                  <a:pt x="256109" y="115614"/>
                </a:lnTo>
                <a:lnTo>
                  <a:pt x="292474" y="118000"/>
                </a:lnTo>
                <a:lnTo>
                  <a:pt x="330523" y="120062"/>
                </a:lnTo>
                <a:lnTo>
                  <a:pt x="370116" y="121785"/>
                </a:lnTo>
                <a:lnTo>
                  <a:pt x="411114" y="123154"/>
                </a:lnTo>
                <a:lnTo>
                  <a:pt x="453378" y="124151"/>
                </a:lnTo>
                <a:lnTo>
                  <a:pt x="496769" y="124761"/>
                </a:lnTo>
                <a:lnTo>
                  <a:pt x="541146" y="124967"/>
                </a:lnTo>
                <a:lnTo>
                  <a:pt x="585524" y="124761"/>
                </a:lnTo>
                <a:lnTo>
                  <a:pt x="628915" y="124151"/>
                </a:lnTo>
                <a:lnTo>
                  <a:pt x="671179" y="123154"/>
                </a:lnTo>
                <a:lnTo>
                  <a:pt x="712177" y="121785"/>
                </a:lnTo>
                <a:lnTo>
                  <a:pt x="751770" y="120062"/>
                </a:lnTo>
                <a:lnTo>
                  <a:pt x="789819" y="118000"/>
                </a:lnTo>
                <a:lnTo>
                  <a:pt x="826184" y="115614"/>
                </a:lnTo>
                <a:lnTo>
                  <a:pt x="860725" y="112922"/>
                </a:lnTo>
                <a:lnTo>
                  <a:pt x="893304" y="109938"/>
                </a:lnTo>
                <a:lnTo>
                  <a:pt x="923782" y="106680"/>
                </a:lnTo>
                <a:lnTo>
                  <a:pt x="952018" y="103162"/>
                </a:lnTo>
                <a:lnTo>
                  <a:pt x="977873" y="99401"/>
                </a:lnTo>
                <a:lnTo>
                  <a:pt x="1001209" y="95413"/>
                </a:lnTo>
                <a:lnTo>
                  <a:pt x="1021885" y="91214"/>
                </a:lnTo>
                <a:lnTo>
                  <a:pt x="1039762" y="86820"/>
                </a:lnTo>
                <a:lnTo>
                  <a:pt x="1066564" y="77511"/>
                </a:lnTo>
                <a:lnTo>
                  <a:pt x="1082293" y="62483"/>
                </a:lnTo>
                <a:lnTo>
                  <a:pt x="1066564" y="47456"/>
                </a:lnTo>
                <a:lnTo>
                  <a:pt x="1039762" y="38147"/>
                </a:lnTo>
                <a:lnTo>
                  <a:pt x="1021885" y="33753"/>
                </a:lnTo>
                <a:lnTo>
                  <a:pt x="1001209" y="29554"/>
                </a:lnTo>
                <a:lnTo>
                  <a:pt x="977873" y="25566"/>
                </a:lnTo>
                <a:lnTo>
                  <a:pt x="952018" y="21805"/>
                </a:lnTo>
                <a:lnTo>
                  <a:pt x="923782" y="18288"/>
                </a:lnTo>
                <a:lnTo>
                  <a:pt x="893304" y="15029"/>
                </a:lnTo>
                <a:lnTo>
                  <a:pt x="860725" y="12045"/>
                </a:lnTo>
                <a:lnTo>
                  <a:pt x="826184" y="9353"/>
                </a:lnTo>
                <a:lnTo>
                  <a:pt x="789819" y="6967"/>
                </a:lnTo>
                <a:lnTo>
                  <a:pt x="751770" y="4905"/>
                </a:lnTo>
                <a:lnTo>
                  <a:pt x="712177" y="3182"/>
                </a:lnTo>
                <a:lnTo>
                  <a:pt x="671179" y="1813"/>
                </a:lnTo>
                <a:lnTo>
                  <a:pt x="628915" y="816"/>
                </a:lnTo>
                <a:lnTo>
                  <a:pt x="585524" y="206"/>
                </a:lnTo>
                <a:lnTo>
                  <a:pt x="541146" y="0"/>
                </a:lnTo>
                <a:lnTo>
                  <a:pt x="496769" y="206"/>
                </a:lnTo>
                <a:lnTo>
                  <a:pt x="453378" y="816"/>
                </a:lnTo>
                <a:lnTo>
                  <a:pt x="411114" y="1813"/>
                </a:lnTo>
                <a:lnTo>
                  <a:pt x="370116" y="3182"/>
                </a:lnTo>
                <a:lnTo>
                  <a:pt x="330523" y="4905"/>
                </a:lnTo>
                <a:lnTo>
                  <a:pt x="292474" y="6967"/>
                </a:lnTo>
                <a:lnTo>
                  <a:pt x="256109" y="9353"/>
                </a:lnTo>
                <a:lnTo>
                  <a:pt x="221568" y="12045"/>
                </a:lnTo>
                <a:lnTo>
                  <a:pt x="188989" y="15029"/>
                </a:lnTo>
                <a:lnTo>
                  <a:pt x="158511" y="18288"/>
                </a:lnTo>
                <a:lnTo>
                  <a:pt x="130275" y="21805"/>
                </a:lnTo>
                <a:lnTo>
                  <a:pt x="104420" y="25566"/>
                </a:lnTo>
                <a:lnTo>
                  <a:pt x="81084" y="29554"/>
                </a:lnTo>
                <a:lnTo>
                  <a:pt x="60408" y="33753"/>
                </a:lnTo>
                <a:lnTo>
                  <a:pt x="42531" y="38147"/>
                </a:lnTo>
                <a:lnTo>
                  <a:pt x="15729" y="47456"/>
                </a:lnTo>
                <a:lnTo>
                  <a:pt x="1794" y="57354"/>
                </a:lnTo>
                <a:lnTo>
                  <a:pt x="0" y="62483"/>
                </a:lnTo>
                <a:close/>
              </a:path>
            </a:pathLst>
          </a:custGeom>
          <a:solidFill>
            <a:srgbClr val="90909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6007609" y="4655186"/>
            <a:ext cx="1082293" cy="124967"/>
          </a:xfrm>
          <a:custGeom>
            <a:avLst/>
            <a:gdLst/>
            <a:ahLst/>
            <a:cxnLst/>
            <a:rect l="l" t="t" r="r" b="b"/>
            <a:pathLst>
              <a:path w="1082293" h="124967">
                <a:moveTo>
                  <a:pt x="0" y="62483"/>
                </a:moveTo>
                <a:lnTo>
                  <a:pt x="15729" y="47456"/>
                </a:lnTo>
                <a:lnTo>
                  <a:pt x="42531" y="38147"/>
                </a:lnTo>
                <a:lnTo>
                  <a:pt x="60408" y="33753"/>
                </a:lnTo>
                <a:lnTo>
                  <a:pt x="81084" y="29554"/>
                </a:lnTo>
                <a:lnTo>
                  <a:pt x="104420" y="25566"/>
                </a:lnTo>
                <a:lnTo>
                  <a:pt x="130275" y="21805"/>
                </a:lnTo>
                <a:lnTo>
                  <a:pt x="158511" y="18288"/>
                </a:lnTo>
                <a:lnTo>
                  <a:pt x="188989" y="15029"/>
                </a:lnTo>
                <a:lnTo>
                  <a:pt x="221568" y="12045"/>
                </a:lnTo>
                <a:lnTo>
                  <a:pt x="256109" y="9353"/>
                </a:lnTo>
                <a:lnTo>
                  <a:pt x="292474" y="6967"/>
                </a:lnTo>
                <a:lnTo>
                  <a:pt x="330523" y="4905"/>
                </a:lnTo>
                <a:lnTo>
                  <a:pt x="370116" y="3182"/>
                </a:lnTo>
                <a:lnTo>
                  <a:pt x="411114" y="1813"/>
                </a:lnTo>
                <a:lnTo>
                  <a:pt x="453378" y="816"/>
                </a:lnTo>
                <a:lnTo>
                  <a:pt x="496769" y="206"/>
                </a:lnTo>
                <a:lnTo>
                  <a:pt x="541146" y="0"/>
                </a:lnTo>
                <a:lnTo>
                  <a:pt x="585524" y="206"/>
                </a:lnTo>
                <a:lnTo>
                  <a:pt x="628915" y="816"/>
                </a:lnTo>
                <a:lnTo>
                  <a:pt x="671179" y="1813"/>
                </a:lnTo>
                <a:lnTo>
                  <a:pt x="712177" y="3182"/>
                </a:lnTo>
                <a:lnTo>
                  <a:pt x="751770" y="4905"/>
                </a:lnTo>
                <a:lnTo>
                  <a:pt x="789819" y="6967"/>
                </a:lnTo>
                <a:lnTo>
                  <a:pt x="826184" y="9353"/>
                </a:lnTo>
                <a:lnTo>
                  <a:pt x="860725" y="12045"/>
                </a:lnTo>
                <a:lnTo>
                  <a:pt x="893304" y="15029"/>
                </a:lnTo>
                <a:lnTo>
                  <a:pt x="923782" y="18288"/>
                </a:lnTo>
                <a:lnTo>
                  <a:pt x="952018" y="21805"/>
                </a:lnTo>
                <a:lnTo>
                  <a:pt x="977873" y="25566"/>
                </a:lnTo>
                <a:lnTo>
                  <a:pt x="1001209" y="29554"/>
                </a:lnTo>
                <a:lnTo>
                  <a:pt x="1021885" y="33753"/>
                </a:lnTo>
                <a:lnTo>
                  <a:pt x="1039762" y="38147"/>
                </a:lnTo>
                <a:lnTo>
                  <a:pt x="1066564" y="47456"/>
                </a:lnTo>
                <a:lnTo>
                  <a:pt x="1082293" y="62483"/>
                </a:lnTo>
                <a:lnTo>
                  <a:pt x="1080499" y="67613"/>
                </a:lnTo>
                <a:lnTo>
                  <a:pt x="1075210" y="72627"/>
                </a:lnTo>
                <a:lnTo>
                  <a:pt x="1054702" y="82247"/>
                </a:lnTo>
                <a:lnTo>
                  <a:pt x="1021885" y="91214"/>
                </a:lnTo>
                <a:lnTo>
                  <a:pt x="1001209" y="95413"/>
                </a:lnTo>
                <a:lnTo>
                  <a:pt x="977873" y="99401"/>
                </a:lnTo>
                <a:lnTo>
                  <a:pt x="952018" y="103162"/>
                </a:lnTo>
                <a:lnTo>
                  <a:pt x="923782" y="106680"/>
                </a:lnTo>
                <a:lnTo>
                  <a:pt x="893304" y="109938"/>
                </a:lnTo>
                <a:lnTo>
                  <a:pt x="860725" y="112922"/>
                </a:lnTo>
                <a:lnTo>
                  <a:pt x="826184" y="115614"/>
                </a:lnTo>
                <a:lnTo>
                  <a:pt x="789819" y="118000"/>
                </a:lnTo>
                <a:lnTo>
                  <a:pt x="751770" y="120062"/>
                </a:lnTo>
                <a:lnTo>
                  <a:pt x="712177" y="121785"/>
                </a:lnTo>
                <a:lnTo>
                  <a:pt x="671179" y="123154"/>
                </a:lnTo>
                <a:lnTo>
                  <a:pt x="628915" y="124151"/>
                </a:lnTo>
                <a:lnTo>
                  <a:pt x="585524" y="124761"/>
                </a:lnTo>
                <a:lnTo>
                  <a:pt x="541146" y="124967"/>
                </a:lnTo>
                <a:lnTo>
                  <a:pt x="496769" y="124761"/>
                </a:lnTo>
                <a:lnTo>
                  <a:pt x="453378" y="124151"/>
                </a:lnTo>
                <a:lnTo>
                  <a:pt x="411114" y="123154"/>
                </a:lnTo>
                <a:lnTo>
                  <a:pt x="370116" y="121785"/>
                </a:lnTo>
                <a:lnTo>
                  <a:pt x="330523" y="120062"/>
                </a:lnTo>
                <a:lnTo>
                  <a:pt x="292474" y="118000"/>
                </a:lnTo>
                <a:lnTo>
                  <a:pt x="256109" y="115614"/>
                </a:lnTo>
                <a:lnTo>
                  <a:pt x="221568" y="112922"/>
                </a:lnTo>
                <a:lnTo>
                  <a:pt x="188989" y="109938"/>
                </a:lnTo>
                <a:lnTo>
                  <a:pt x="158511" y="106680"/>
                </a:lnTo>
                <a:lnTo>
                  <a:pt x="130275" y="103162"/>
                </a:lnTo>
                <a:lnTo>
                  <a:pt x="104420" y="99401"/>
                </a:lnTo>
                <a:lnTo>
                  <a:pt x="81084" y="95413"/>
                </a:lnTo>
                <a:lnTo>
                  <a:pt x="60408" y="91214"/>
                </a:lnTo>
                <a:lnTo>
                  <a:pt x="42531" y="86820"/>
                </a:lnTo>
                <a:lnTo>
                  <a:pt x="27591" y="82247"/>
                </a:lnTo>
                <a:lnTo>
                  <a:pt x="7083" y="72627"/>
                </a:lnTo>
                <a:lnTo>
                  <a:pt x="0" y="62483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5998464" y="4717033"/>
            <a:ext cx="0" cy="346456"/>
          </a:xfrm>
          <a:custGeom>
            <a:avLst/>
            <a:gdLst/>
            <a:ahLst/>
            <a:cxnLst/>
            <a:rect l="l" t="t" r="r" b="b"/>
            <a:pathLst>
              <a:path h="346455">
                <a:moveTo>
                  <a:pt x="0" y="0"/>
                </a:moveTo>
                <a:lnTo>
                  <a:pt x="0" y="34645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6548756" y="5052823"/>
            <a:ext cx="550290" cy="67817"/>
          </a:xfrm>
          <a:custGeom>
            <a:avLst/>
            <a:gdLst/>
            <a:ahLst/>
            <a:cxnLst/>
            <a:rect l="l" t="t" r="r" b="b"/>
            <a:pathLst>
              <a:path w="550291" h="67817">
                <a:moveTo>
                  <a:pt x="550291" y="0"/>
                </a:moveTo>
                <a:lnTo>
                  <a:pt x="550291" y="380"/>
                </a:lnTo>
                <a:lnTo>
                  <a:pt x="550291" y="761"/>
                </a:lnTo>
                <a:lnTo>
                  <a:pt x="550291" y="1142"/>
                </a:lnTo>
                <a:lnTo>
                  <a:pt x="548466" y="6612"/>
                </a:lnTo>
                <a:lnTo>
                  <a:pt x="534297" y="17167"/>
                </a:lnTo>
                <a:lnTo>
                  <a:pt x="507045" y="27098"/>
                </a:lnTo>
                <a:lnTo>
                  <a:pt x="488867" y="31786"/>
                </a:lnTo>
                <a:lnTo>
                  <a:pt x="467843" y="36267"/>
                </a:lnTo>
                <a:lnTo>
                  <a:pt x="444114" y="40523"/>
                </a:lnTo>
                <a:lnTo>
                  <a:pt x="417824" y="44536"/>
                </a:lnTo>
                <a:lnTo>
                  <a:pt x="389112" y="48291"/>
                </a:lnTo>
                <a:lnTo>
                  <a:pt x="358120" y="51770"/>
                </a:lnTo>
                <a:lnTo>
                  <a:pt x="324991" y="54955"/>
                </a:lnTo>
                <a:lnTo>
                  <a:pt x="289867" y="57830"/>
                </a:lnTo>
                <a:lnTo>
                  <a:pt x="252887" y="60377"/>
                </a:lnTo>
                <a:lnTo>
                  <a:pt x="214195" y="62579"/>
                </a:lnTo>
                <a:lnTo>
                  <a:pt x="173932" y="64419"/>
                </a:lnTo>
                <a:lnTo>
                  <a:pt x="132239" y="65880"/>
                </a:lnTo>
                <a:lnTo>
                  <a:pt x="89258" y="66945"/>
                </a:lnTo>
                <a:lnTo>
                  <a:pt x="45131" y="67597"/>
                </a:lnTo>
                <a:lnTo>
                  <a:pt x="0" y="6781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6000752" y="5052823"/>
            <a:ext cx="550290" cy="67817"/>
          </a:xfrm>
          <a:custGeom>
            <a:avLst/>
            <a:gdLst/>
            <a:ahLst/>
            <a:cxnLst/>
            <a:rect l="l" t="t" r="r" b="b"/>
            <a:pathLst>
              <a:path w="550291" h="67817">
                <a:moveTo>
                  <a:pt x="550291" y="67817"/>
                </a:moveTo>
                <a:lnTo>
                  <a:pt x="505159" y="67597"/>
                </a:lnTo>
                <a:lnTo>
                  <a:pt x="461032" y="66945"/>
                </a:lnTo>
                <a:lnTo>
                  <a:pt x="418051" y="65880"/>
                </a:lnTo>
                <a:lnTo>
                  <a:pt x="376358" y="64419"/>
                </a:lnTo>
                <a:lnTo>
                  <a:pt x="336095" y="62579"/>
                </a:lnTo>
                <a:lnTo>
                  <a:pt x="297403" y="60377"/>
                </a:lnTo>
                <a:lnTo>
                  <a:pt x="260423" y="57830"/>
                </a:lnTo>
                <a:lnTo>
                  <a:pt x="225299" y="54955"/>
                </a:lnTo>
                <a:lnTo>
                  <a:pt x="192170" y="51770"/>
                </a:lnTo>
                <a:lnTo>
                  <a:pt x="161178" y="48291"/>
                </a:lnTo>
                <a:lnTo>
                  <a:pt x="132466" y="44536"/>
                </a:lnTo>
                <a:lnTo>
                  <a:pt x="106176" y="40523"/>
                </a:lnTo>
                <a:lnTo>
                  <a:pt x="82447" y="36267"/>
                </a:lnTo>
                <a:lnTo>
                  <a:pt x="61423" y="31786"/>
                </a:lnTo>
                <a:lnTo>
                  <a:pt x="43245" y="27098"/>
                </a:lnTo>
                <a:lnTo>
                  <a:pt x="15993" y="17167"/>
                </a:lnTo>
                <a:lnTo>
                  <a:pt x="0" y="1142"/>
                </a:lnTo>
                <a:lnTo>
                  <a:pt x="0" y="761"/>
                </a:lnTo>
                <a:lnTo>
                  <a:pt x="0" y="38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7099046" y="4717033"/>
            <a:ext cx="0" cy="346456"/>
          </a:xfrm>
          <a:custGeom>
            <a:avLst/>
            <a:gdLst/>
            <a:ahLst/>
            <a:cxnLst/>
            <a:rect l="l" t="t" r="r" b="b"/>
            <a:pathLst>
              <a:path h="346455">
                <a:moveTo>
                  <a:pt x="0" y="0"/>
                </a:moveTo>
                <a:lnTo>
                  <a:pt x="0" y="34645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548756" y="4426585"/>
            <a:ext cx="0" cy="302387"/>
          </a:xfrm>
          <a:custGeom>
            <a:avLst/>
            <a:gdLst/>
            <a:ahLst/>
            <a:cxnLst/>
            <a:rect l="l" t="t" r="r" b="b"/>
            <a:pathLst>
              <a:path h="302387">
                <a:moveTo>
                  <a:pt x="0" y="0"/>
                </a:moveTo>
                <a:lnTo>
                  <a:pt x="0" y="3023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6572504" y="3766947"/>
            <a:ext cx="76200" cy="204724"/>
          </a:xfrm>
          <a:custGeom>
            <a:avLst/>
            <a:gdLst/>
            <a:ahLst/>
            <a:cxnLst/>
            <a:rect l="l" t="t" r="r" b="b"/>
            <a:pathLst>
              <a:path w="76200" h="204724">
                <a:moveTo>
                  <a:pt x="76200" y="128524"/>
                </a:moveTo>
                <a:lnTo>
                  <a:pt x="50927" y="145372"/>
                </a:lnTo>
                <a:lnTo>
                  <a:pt x="38100" y="153924"/>
                </a:lnTo>
                <a:lnTo>
                  <a:pt x="25526" y="153924"/>
                </a:lnTo>
                <a:lnTo>
                  <a:pt x="25527" y="145541"/>
                </a:lnTo>
                <a:lnTo>
                  <a:pt x="0" y="128524"/>
                </a:lnTo>
                <a:lnTo>
                  <a:pt x="38100" y="204724"/>
                </a:lnTo>
                <a:lnTo>
                  <a:pt x="50926" y="153924"/>
                </a:lnTo>
                <a:lnTo>
                  <a:pt x="76200" y="128524"/>
                </a:lnTo>
                <a:close/>
              </a:path>
              <a:path w="76200" h="204724">
                <a:moveTo>
                  <a:pt x="38100" y="153924"/>
                </a:moveTo>
                <a:lnTo>
                  <a:pt x="50927" y="145372"/>
                </a:lnTo>
                <a:lnTo>
                  <a:pt x="50926" y="0"/>
                </a:lnTo>
                <a:lnTo>
                  <a:pt x="25526" y="0"/>
                </a:lnTo>
                <a:lnTo>
                  <a:pt x="25526" y="153924"/>
                </a:lnTo>
                <a:lnTo>
                  <a:pt x="38100" y="153924"/>
                </a:lnTo>
                <a:close/>
              </a:path>
              <a:path w="76200" h="204724">
                <a:moveTo>
                  <a:pt x="50926" y="153924"/>
                </a:moveTo>
                <a:lnTo>
                  <a:pt x="38100" y="204724"/>
                </a:lnTo>
                <a:lnTo>
                  <a:pt x="76200" y="128524"/>
                </a:lnTo>
                <a:lnTo>
                  <a:pt x="50926" y="153924"/>
                </a:lnTo>
                <a:close/>
              </a:path>
            </a:pathLst>
          </a:custGeom>
          <a:solidFill>
            <a:srgbClr val="25304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6058027" y="4895647"/>
            <a:ext cx="669569" cy="133553"/>
          </a:xfrm>
          <a:custGeom>
            <a:avLst/>
            <a:gdLst/>
            <a:ahLst/>
            <a:cxnLst/>
            <a:rect l="l" t="t" r="r" b="b"/>
            <a:pathLst>
              <a:path w="669569" h="133553">
                <a:moveTo>
                  <a:pt x="0" y="133553"/>
                </a:moveTo>
                <a:lnTo>
                  <a:pt x="669569" y="133553"/>
                </a:lnTo>
                <a:lnTo>
                  <a:pt x="669569" y="0"/>
                </a:lnTo>
                <a:lnTo>
                  <a:pt x="0" y="0"/>
                </a:lnTo>
                <a:lnTo>
                  <a:pt x="0" y="133553"/>
                </a:lnTo>
                <a:close/>
              </a:path>
            </a:pathLst>
          </a:custGeom>
          <a:solidFill>
            <a:srgbClr val="90909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6058027" y="4895647"/>
            <a:ext cx="669569" cy="133553"/>
          </a:xfrm>
          <a:custGeom>
            <a:avLst/>
            <a:gdLst/>
            <a:ahLst/>
            <a:cxnLst/>
            <a:rect l="l" t="t" r="r" b="b"/>
            <a:pathLst>
              <a:path w="669569" h="133553">
                <a:moveTo>
                  <a:pt x="0" y="133553"/>
                </a:moveTo>
                <a:lnTo>
                  <a:pt x="669569" y="133553"/>
                </a:lnTo>
                <a:lnTo>
                  <a:pt x="669569" y="0"/>
                </a:lnTo>
                <a:lnTo>
                  <a:pt x="0" y="0"/>
                </a:lnTo>
                <a:lnTo>
                  <a:pt x="0" y="13355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6259831" y="3268103"/>
            <a:ext cx="1448181" cy="523862"/>
          </a:xfrm>
          <a:custGeom>
            <a:avLst/>
            <a:gdLst/>
            <a:ahLst/>
            <a:cxnLst/>
            <a:rect l="l" t="t" r="r" b="b"/>
            <a:pathLst>
              <a:path w="1448180" h="523862">
                <a:moveTo>
                  <a:pt x="0" y="523862"/>
                </a:moveTo>
                <a:lnTo>
                  <a:pt x="1448180" y="523862"/>
                </a:lnTo>
                <a:lnTo>
                  <a:pt x="1448180" y="0"/>
                </a:lnTo>
                <a:lnTo>
                  <a:pt x="0" y="0"/>
                </a:lnTo>
                <a:lnTo>
                  <a:pt x="0" y="52386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5299076" y="3382391"/>
            <a:ext cx="958470" cy="76200"/>
          </a:xfrm>
          <a:custGeom>
            <a:avLst/>
            <a:gdLst/>
            <a:ahLst/>
            <a:cxnLst/>
            <a:rect l="l" t="t" r="r" b="b"/>
            <a:pathLst>
              <a:path w="958469" h="76200">
                <a:moveTo>
                  <a:pt x="76200" y="0"/>
                </a:moveTo>
                <a:lnTo>
                  <a:pt x="0" y="38100"/>
                </a:lnTo>
                <a:lnTo>
                  <a:pt x="50800" y="44450"/>
                </a:lnTo>
                <a:lnTo>
                  <a:pt x="958469" y="44450"/>
                </a:lnTo>
                <a:lnTo>
                  <a:pt x="958469" y="31750"/>
                </a:lnTo>
                <a:lnTo>
                  <a:pt x="55033" y="31749"/>
                </a:lnTo>
                <a:lnTo>
                  <a:pt x="50800" y="38100"/>
                </a:lnTo>
                <a:lnTo>
                  <a:pt x="50800" y="31750"/>
                </a:lnTo>
                <a:lnTo>
                  <a:pt x="76200" y="0"/>
                </a:lnTo>
                <a:close/>
              </a:path>
              <a:path w="958469" h="76200">
                <a:moveTo>
                  <a:pt x="55033" y="31749"/>
                </a:moveTo>
                <a:lnTo>
                  <a:pt x="76200" y="0"/>
                </a:lnTo>
                <a:lnTo>
                  <a:pt x="50800" y="31750"/>
                </a:lnTo>
                <a:lnTo>
                  <a:pt x="50800" y="38100"/>
                </a:lnTo>
                <a:lnTo>
                  <a:pt x="55033" y="31749"/>
                </a:lnTo>
                <a:close/>
              </a:path>
              <a:path w="958469" h="76200">
                <a:moveTo>
                  <a:pt x="50800" y="44450"/>
                </a:moveTo>
                <a:lnTo>
                  <a:pt x="0" y="38100"/>
                </a:lnTo>
                <a:lnTo>
                  <a:pt x="76200" y="76200"/>
                </a:lnTo>
                <a:lnTo>
                  <a:pt x="55033" y="44449"/>
                </a:lnTo>
                <a:lnTo>
                  <a:pt x="50800" y="44450"/>
                </a:lnTo>
                <a:close/>
              </a:path>
            </a:pathLst>
          </a:custGeom>
          <a:solidFill>
            <a:srgbClr val="25304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3315589" y="3202559"/>
            <a:ext cx="1859662" cy="435737"/>
          </a:xfrm>
          <a:custGeom>
            <a:avLst/>
            <a:gdLst/>
            <a:ahLst/>
            <a:cxnLst/>
            <a:rect l="l" t="t" r="r" b="b"/>
            <a:pathLst>
              <a:path w="1859661" h="435737">
                <a:moveTo>
                  <a:pt x="0" y="217931"/>
                </a:moveTo>
                <a:lnTo>
                  <a:pt x="3082" y="235792"/>
                </a:lnTo>
                <a:lnTo>
                  <a:pt x="12170" y="253255"/>
                </a:lnTo>
                <a:lnTo>
                  <a:pt x="47403" y="286767"/>
                </a:lnTo>
                <a:lnTo>
                  <a:pt x="103785" y="318016"/>
                </a:lnTo>
                <a:lnTo>
                  <a:pt x="139308" y="332652"/>
                </a:lnTo>
                <a:lnTo>
                  <a:pt x="179401" y="346555"/>
                </a:lnTo>
                <a:lnTo>
                  <a:pt x="223823" y="359668"/>
                </a:lnTo>
                <a:lnTo>
                  <a:pt x="272335" y="371935"/>
                </a:lnTo>
                <a:lnTo>
                  <a:pt x="324698" y="383300"/>
                </a:lnTo>
                <a:lnTo>
                  <a:pt x="380673" y="393707"/>
                </a:lnTo>
                <a:lnTo>
                  <a:pt x="440021" y="403099"/>
                </a:lnTo>
                <a:lnTo>
                  <a:pt x="502501" y="411421"/>
                </a:lnTo>
                <a:lnTo>
                  <a:pt x="567874" y="418617"/>
                </a:lnTo>
                <a:lnTo>
                  <a:pt x="635902" y="424631"/>
                </a:lnTo>
                <a:lnTo>
                  <a:pt x="706344" y="429405"/>
                </a:lnTo>
                <a:lnTo>
                  <a:pt x="778962" y="432885"/>
                </a:lnTo>
                <a:lnTo>
                  <a:pt x="853516" y="435014"/>
                </a:lnTo>
                <a:lnTo>
                  <a:pt x="929766" y="435737"/>
                </a:lnTo>
                <a:lnTo>
                  <a:pt x="1006035" y="435014"/>
                </a:lnTo>
                <a:lnTo>
                  <a:pt x="1080605" y="432885"/>
                </a:lnTo>
                <a:lnTo>
                  <a:pt x="1153238" y="429405"/>
                </a:lnTo>
                <a:lnTo>
                  <a:pt x="1223693" y="424631"/>
                </a:lnTo>
                <a:lnTo>
                  <a:pt x="1291732" y="418617"/>
                </a:lnTo>
                <a:lnTo>
                  <a:pt x="1357116" y="411421"/>
                </a:lnTo>
                <a:lnTo>
                  <a:pt x="1419605" y="403099"/>
                </a:lnTo>
                <a:lnTo>
                  <a:pt x="1478959" y="393707"/>
                </a:lnTo>
                <a:lnTo>
                  <a:pt x="1534940" y="383300"/>
                </a:lnTo>
                <a:lnTo>
                  <a:pt x="1587309" y="371935"/>
                </a:lnTo>
                <a:lnTo>
                  <a:pt x="1635826" y="359668"/>
                </a:lnTo>
                <a:lnTo>
                  <a:pt x="1680251" y="346555"/>
                </a:lnTo>
                <a:lnTo>
                  <a:pt x="1720346" y="332652"/>
                </a:lnTo>
                <a:lnTo>
                  <a:pt x="1755872" y="318016"/>
                </a:lnTo>
                <a:lnTo>
                  <a:pt x="1786588" y="302702"/>
                </a:lnTo>
                <a:lnTo>
                  <a:pt x="1832637" y="270266"/>
                </a:lnTo>
                <a:lnTo>
                  <a:pt x="1856578" y="235792"/>
                </a:lnTo>
                <a:lnTo>
                  <a:pt x="1859661" y="217931"/>
                </a:lnTo>
                <a:lnTo>
                  <a:pt x="1847490" y="182573"/>
                </a:lnTo>
                <a:lnTo>
                  <a:pt x="1812256" y="149035"/>
                </a:lnTo>
                <a:lnTo>
                  <a:pt x="1755872" y="117764"/>
                </a:lnTo>
                <a:lnTo>
                  <a:pt x="1720346" y="103118"/>
                </a:lnTo>
                <a:lnTo>
                  <a:pt x="1680251" y="89208"/>
                </a:lnTo>
                <a:lnTo>
                  <a:pt x="1635826" y="76089"/>
                </a:lnTo>
                <a:lnTo>
                  <a:pt x="1587309" y="63817"/>
                </a:lnTo>
                <a:lnTo>
                  <a:pt x="1534940" y="52448"/>
                </a:lnTo>
                <a:lnTo>
                  <a:pt x="1478959" y="42038"/>
                </a:lnTo>
                <a:lnTo>
                  <a:pt x="1419605" y="32642"/>
                </a:lnTo>
                <a:lnTo>
                  <a:pt x="1357116" y="24318"/>
                </a:lnTo>
                <a:lnTo>
                  <a:pt x="1291732" y="17121"/>
                </a:lnTo>
                <a:lnTo>
                  <a:pt x="1223693" y="11106"/>
                </a:lnTo>
                <a:lnTo>
                  <a:pt x="1153238" y="6331"/>
                </a:lnTo>
                <a:lnTo>
                  <a:pt x="1080605" y="2851"/>
                </a:lnTo>
                <a:lnTo>
                  <a:pt x="1006035" y="722"/>
                </a:lnTo>
                <a:lnTo>
                  <a:pt x="929766" y="0"/>
                </a:lnTo>
                <a:lnTo>
                  <a:pt x="853516" y="722"/>
                </a:lnTo>
                <a:lnTo>
                  <a:pt x="778962" y="2851"/>
                </a:lnTo>
                <a:lnTo>
                  <a:pt x="706344" y="6331"/>
                </a:lnTo>
                <a:lnTo>
                  <a:pt x="635902" y="11106"/>
                </a:lnTo>
                <a:lnTo>
                  <a:pt x="567874" y="17121"/>
                </a:lnTo>
                <a:lnTo>
                  <a:pt x="502501" y="24318"/>
                </a:lnTo>
                <a:lnTo>
                  <a:pt x="440021" y="32642"/>
                </a:lnTo>
                <a:lnTo>
                  <a:pt x="380673" y="42038"/>
                </a:lnTo>
                <a:lnTo>
                  <a:pt x="324698" y="52448"/>
                </a:lnTo>
                <a:lnTo>
                  <a:pt x="272335" y="63817"/>
                </a:lnTo>
                <a:lnTo>
                  <a:pt x="223823" y="76089"/>
                </a:lnTo>
                <a:lnTo>
                  <a:pt x="179401" y="89208"/>
                </a:lnTo>
                <a:lnTo>
                  <a:pt x="139308" y="103118"/>
                </a:lnTo>
                <a:lnTo>
                  <a:pt x="103785" y="117764"/>
                </a:lnTo>
                <a:lnTo>
                  <a:pt x="73070" y="133088"/>
                </a:lnTo>
                <a:lnTo>
                  <a:pt x="27023" y="165548"/>
                </a:lnTo>
                <a:lnTo>
                  <a:pt x="3082" y="200053"/>
                </a:lnTo>
                <a:lnTo>
                  <a:pt x="0" y="2179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3315589" y="3202559"/>
            <a:ext cx="1859662" cy="435737"/>
          </a:xfrm>
          <a:custGeom>
            <a:avLst/>
            <a:gdLst/>
            <a:ahLst/>
            <a:cxnLst/>
            <a:rect l="l" t="t" r="r" b="b"/>
            <a:pathLst>
              <a:path w="1859661" h="435737">
                <a:moveTo>
                  <a:pt x="0" y="217931"/>
                </a:moveTo>
                <a:lnTo>
                  <a:pt x="12170" y="182573"/>
                </a:lnTo>
                <a:lnTo>
                  <a:pt x="47403" y="149035"/>
                </a:lnTo>
                <a:lnTo>
                  <a:pt x="103785" y="117764"/>
                </a:lnTo>
                <a:lnTo>
                  <a:pt x="139308" y="103118"/>
                </a:lnTo>
                <a:lnTo>
                  <a:pt x="179401" y="89208"/>
                </a:lnTo>
                <a:lnTo>
                  <a:pt x="223823" y="76089"/>
                </a:lnTo>
                <a:lnTo>
                  <a:pt x="272335" y="63817"/>
                </a:lnTo>
                <a:lnTo>
                  <a:pt x="324698" y="52448"/>
                </a:lnTo>
                <a:lnTo>
                  <a:pt x="380673" y="42038"/>
                </a:lnTo>
                <a:lnTo>
                  <a:pt x="440021" y="32642"/>
                </a:lnTo>
                <a:lnTo>
                  <a:pt x="502501" y="24318"/>
                </a:lnTo>
                <a:lnTo>
                  <a:pt x="567874" y="17121"/>
                </a:lnTo>
                <a:lnTo>
                  <a:pt x="635902" y="11106"/>
                </a:lnTo>
                <a:lnTo>
                  <a:pt x="706344" y="6331"/>
                </a:lnTo>
                <a:lnTo>
                  <a:pt x="778962" y="2851"/>
                </a:lnTo>
                <a:lnTo>
                  <a:pt x="853516" y="722"/>
                </a:lnTo>
                <a:lnTo>
                  <a:pt x="929766" y="0"/>
                </a:lnTo>
                <a:lnTo>
                  <a:pt x="1006035" y="722"/>
                </a:lnTo>
                <a:lnTo>
                  <a:pt x="1080605" y="2851"/>
                </a:lnTo>
                <a:lnTo>
                  <a:pt x="1153238" y="6331"/>
                </a:lnTo>
                <a:lnTo>
                  <a:pt x="1223693" y="11106"/>
                </a:lnTo>
                <a:lnTo>
                  <a:pt x="1291732" y="17121"/>
                </a:lnTo>
                <a:lnTo>
                  <a:pt x="1357116" y="24318"/>
                </a:lnTo>
                <a:lnTo>
                  <a:pt x="1419605" y="32642"/>
                </a:lnTo>
                <a:lnTo>
                  <a:pt x="1478959" y="42038"/>
                </a:lnTo>
                <a:lnTo>
                  <a:pt x="1534940" y="52448"/>
                </a:lnTo>
                <a:lnTo>
                  <a:pt x="1587309" y="63817"/>
                </a:lnTo>
                <a:lnTo>
                  <a:pt x="1635826" y="76089"/>
                </a:lnTo>
                <a:lnTo>
                  <a:pt x="1680251" y="89208"/>
                </a:lnTo>
                <a:lnTo>
                  <a:pt x="1720346" y="103118"/>
                </a:lnTo>
                <a:lnTo>
                  <a:pt x="1755872" y="117764"/>
                </a:lnTo>
                <a:lnTo>
                  <a:pt x="1786588" y="133088"/>
                </a:lnTo>
                <a:lnTo>
                  <a:pt x="1832637" y="165548"/>
                </a:lnTo>
                <a:lnTo>
                  <a:pt x="1856578" y="200053"/>
                </a:lnTo>
                <a:lnTo>
                  <a:pt x="1859661" y="217931"/>
                </a:lnTo>
                <a:lnTo>
                  <a:pt x="1856578" y="235792"/>
                </a:lnTo>
                <a:lnTo>
                  <a:pt x="1847490" y="253255"/>
                </a:lnTo>
                <a:lnTo>
                  <a:pt x="1812256" y="286767"/>
                </a:lnTo>
                <a:lnTo>
                  <a:pt x="1755872" y="318016"/>
                </a:lnTo>
                <a:lnTo>
                  <a:pt x="1720346" y="332652"/>
                </a:lnTo>
                <a:lnTo>
                  <a:pt x="1680251" y="346555"/>
                </a:lnTo>
                <a:lnTo>
                  <a:pt x="1635826" y="359668"/>
                </a:lnTo>
                <a:lnTo>
                  <a:pt x="1587309" y="371935"/>
                </a:lnTo>
                <a:lnTo>
                  <a:pt x="1534940" y="383300"/>
                </a:lnTo>
                <a:lnTo>
                  <a:pt x="1478959" y="393707"/>
                </a:lnTo>
                <a:lnTo>
                  <a:pt x="1419605" y="403099"/>
                </a:lnTo>
                <a:lnTo>
                  <a:pt x="1357116" y="411421"/>
                </a:lnTo>
                <a:lnTo>
                  <a:pt x="1291732" y="418617"/>
                </a:lnTo>
                <a:lnTo>
                  <a:pt x="1223693" y="424631"/>
                </a:lnTo>
                <a:lnTo>
                  <a:pt x="1153238" y="429405"/>
                </a:lnTo>
                <a:lnTo>
                  <a:pt x="1080605" y="432885"/>
                </a:lnTo>
                <a:lnTo>
                  <a:pt x="1006035" y="435014"/>
                </a:lnTo>
                <a:lnTo>
                  <a:pt x="929766" y="435737"/>
                </a:lnTo>
                <a:lnTo>
                  <a:pt x="853516" y="435014"/>
                </a:lnTo>
                <a:lnTo>
                  <a:pt x="778962" y="432885"/>
                </a:lnTo>
                <a:lnTo>
                  <a:pt x="706344" y="429405"/>
                </a:lnTo>
                <a:lnTo>
                  <a:pt x="635902" y="424631"/>
                </a:lnTo>
                <a:lnTo>
                  <a:pt x="567874" y="418617"/>
                </a:lnTo>
                <a:lnTo>
                  <a:pt x="502501" y="411421"/>
                </a:lnTo>
                <a:lnTo>
                  <a:pt x="440021" y="403099"/>
                </a:lnTo>
                <a:lnTo>
                  <a:pt x="380673" y="393707"/>
                </a:lnTo>
                <a:lnTo>
                  <a:pt x="324698" y="383300"/>
                </a:lnTo>
                <a:lnTo>
                  <a:pt x="272335" y="371935"/>
                </a:lnTo>
                <a:lnTo>
                  <a:pt x="223823" y="359668"/>
                </a:lnTo>
                <a:lnTo>
                  <a:pt x="179401" y="346555"/>
                </a:lnTo>
                <a:lnTo>
                  <a:pt x="139308" y="332652"/>
                </a:lnTo>
                <a:lnTo>
                  <a:pt x="103785" y="318016"/>
                </a:lnTo>
                <a:lnTo>
                  <a:pt x="73070" y="302702"/>
                </a:lnTo>
                <a:lnTo>
                  <a:pt x="47403" y="286767"/>
                </a:lnTo>
                <a:lnTo>
                  <a:pt x="27023" y="270266"/>
                </a:lnTo>
                <a:lnTo>
                  <a:pt x="3082" y="235792"/>
                </a:lnTo>
                <a:lnTo>
                  <a:pt x="0" y="217931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4183253" y="3094229"/>
            <a:ext cx="74802" cy="120269"/>
          </a:xfrm>
          <a:custGeom>
            <a:avLst/>
            <a:gdLst/>
            <a:ahLst/>
            <a:cxnLst/>
            <a:rect l="l" t="t" r="r" b="b"/>
            <a:pathLst>
              <a:path w="74802" h="120269">
                <a:moveTo>
                  <a:pt x="51816" y="120269"/>
                </a:moveTo>
                <a:lnTo>
                  <a:pt x="74802" y="38226"/>
                </a:lnTo>
                <a:lnTo>
                  <a:pt x="47586" y="65019"/>
                </a:lnTo>
                <a:lnTo>
                  <a:pt x="35179" y="0"/>
                </a:lnTo>
                <a:lnTo>
                  <a:pt x="22606" y="2412"/>
                </a:lnTo>
                <a:lnTo>
                  <a:pt x="35124" y="67389"/>
                </a:lnTo>
                <a:lnTo>
                  <a:pt x="42163" y="70358"/>
                </a:lnTo>
                <a:lnTo>
                  <a:pt x="48387" y="69214"/>
                </a:lnTo>
                <a:lnTo>
                  <a:pt x="51816" y="120269"/>
                </a:lnTo>
                <a:close/>
              </a:path>
              <a:path w="74802" h="120269">
                <a:moveTo>
                  <a:pt x="35941" y="71627"/>
                </a:moveTo>
                <a:lnTo>
                  <a:pt x="51816" y="120269"/>
                </a:lnTo>
                <a:lnTo>
                  <a:pt x="48387" y="69214"/>
                </a:lnTo>
                <a:lnTo>
                  <a:pt x="42163" y="70358"/>
                </a:lnTo>
                <a:lnTo>
                  <a:pt x="35124" y="67389"/>
                </a:lnTo>
                <a:lnTo>
                  <a:pt x="0" y="52577"/>
                </a:lnTo>
                <a:lnTo>
                  <a:pt x="51816" y="120269"/>
                </a:lnTo>
                <a:lnTo>
                  <a:pt x="35941" y="71627"/>
                </a:lnTo>
                <a:close/>
              </a:path>
            </a:pathLst>
          </a:custGeom>
          <a:solidFill>
            <a:srgbClr val="25304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4834128" y="5384801"/>
            <a:ext cx="2921507" cy="926591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600">
              <a:latin typeface="+mj-lt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4809745" y="5384800"/>
            <a:ext cx="2983992" cy="876300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600">
              <a:latin typeface="+mj-lt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4882134" y="5461000"/>
            <a:ext cx="2825877" cy="831634"/>
          </a:xfrm>
          <a:custGeom>
            <a:avLst/>
            <a:gdLst/>
            <a:ahLst/>
            <a:cxnLst/>
            <a:rect l="l" t="t" r="r" b="b"/>
            <a:pathLst>
              <a:path w="2825877" h="831634">
                <a:moveTo>
                  <a:pt x="0" y="831634"/>
                </a:moveTo>
                <a:lnTo>
                  <a:pt x="2825877" y="831634"/>
                </a:lnTo>
                <a:lnTo>
                  <a:pt x="2825877" y="0"/>
                </a:lnTo>
                <a:lnTo>
                  <a:pt x="0" y="0"/>
                </a:lnTo>
                <a:lnTo>
                  <a:pt x="0" y="831634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600">
              <a:latin typeface="+mj-lt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340222" y="3543061"/>
            <a:ext cx="913584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-19" dirty="0" smtClean="0">
                <a:latin typeface="Cambria"/>
                <a:cs typeface="Cambria"/>
              </a:rPr>
              <a:t>R</a:t>
            </a:r>
            <a:r>
              <a:rPr sz="1400" spc="-14" dirty="0" smtClean="0">
                <a:latin typeface="Cambria"/>
                <a:cs typeface="Cambria"/>
              </a:rPr>
              <a:t>o</a:t>
            </a:r>
            <a:r>
              <a:rPr sz="1400" spc="0" dirty="0" smtClean="0">
                <a:latin typeface="Cambria"/>
                <a:cs typeface="Cambria"/>
              </a:rPr>
              <a:t>w</a:t>
            </a:r>
            <a:r>
              <a:rPr sz="1400" spc="-14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ac</a:t>
            </a:r>
            <a:r>
              <a:rPr sz="1400" spc="4" dirty="0" smtClean="0">
                <a:latin typeface="Cambria"/>
                <a:cs typeface="Cambria"/>
              </a:rPr>
              <a:t>c</a:t>
            </a:r>
            <a:r>
              <a:rPr sz="1400" spc="0" dirty="0" smtClean="0">
                <a:latin typeface="Cambria"/>
                <a:cs typeface="Cambria"/>
              </a:rPr>
              <a:t>e</a:t>
            </a:r>
            <a:r>
              <a:rPr sz="1400" spc="-4" dirty="0" smtClean="0">
                <a:latin typeface="Cambria"/>
                <a:cs typeface="Cambria"/>
              </a:rPr>
              <a:t>s</a:t>
            </a:r>
            <a:r>
              <a:rPr sz="1400" spc="0" dirty="0" smtClean="0">
                <a:latin typeface="Cambria"/>
                <a:cs typeface="Cambria"/>
              </a:rPr>
              <a:t>s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888897" y="4944040"/>
            <a:ext cx="4165829" cy="2280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50"/>
              </a:lnSpc>
              <a:spcBef>
                <a:spcPts val="87"/>
              </a:spcBef>
            </a:pPr>
            <a:r>
              <a:rPr sz="1400" spc="-9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essi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g</a:t>
            </a:r>
            <a:r>
              <a:rPr sz="1400" spc="-91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the</a:t>
            </a:r>
            <a:r>
              <a:rPr sz="1400" spc="-16" dirty="0" smtClean="0">
                <a:latin typeface="+mj-lt"/>
                <a:cs typeface="Cambria"/>
              </a:rPr>
              <a:t> </a:t>
            </a:r>
            <a:r>
              <a:rPr sz="1400" spc="-25" dirty="0" smtClean="0">
                <a:latin typeface="+mj-lt"/>
                <a:cs typeface="Cambria"/>
              </a:rPr>
              <a:t>r</a:t>
            </a:r>
            <a:r>
              <a:rPr sz="1400" spc="-9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w</a:t>
            </a:r>
            <a:r>
              <a:rPr sz="1400" spc="-22" dirty="0" smtClean="0">
                <a:latin typeface="+mj-lt"/>
                <a:cs typeface="Cambria"/>
              </a:rPr>
              <a:t> </a:t>
            </a:r>
            <a:r>
              <a:rPr sz="1400" spc="-19" dirty="0" smtClean="0">
                <a:latin typeface="+mj-lt"/>
                <a:cs typeface="Cambria"/>
              </a:rPr>
              <a:t>b</a:t>
            </a:r>
            <a:r>
              <a:rPr sz="1400" spc="0" dirty="0" smtClean="0">
                <a:latin typeface="+mj-lt"/>
                <a:cs typeface="Cambria"/>
              </a:rPr>
              <a:t>y</a:t>
            </a:r>
            <a:r>
              <a:rPr sz="1400" spc="-16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ts</a:t>
            </a:r>
            <a:r>
              <a:rPr sz="1400" spc="-16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rim</a:t>
            </a:r>
            <a:r>
              <a:rPr sz="1400" spc="4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ry</a:t>
            </a:r>
            <a:r>
              <a:rPr sz="1400" spc="-25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d</a:t>
            </a:r>
            <a:r>
              <a:rPr sz="1400" spc="-25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x</a:t>
            </a:r>
            <a:r>
              <a:rPr sz="1400" spc="-23" dirty="0" smtClean="0">
                <a:latin typeface="+mj-lt"/>
                <a:cs typeface="Cambria"/>
              </a:rPr>
              <a:t> </a:t>
            </a:r>
            <a:r>
              <a:rPr sz="1400" spc="-34" dirty="0" smtClean="0">
                <a:latin typeface="+mj-lt"/>
                <a:cs typeface="Cambria"/>
              </a:rPr>
              <a:t>v</a:t>
            </a:r>
            <a:r>
              <a:rPr sz="1400" spc="0" dirty="0" smtClean="0">
                <a:latin typeface="+mj-lt"/>
                <a:cs typeface="Cambria"/>
              </a:rPr>
              <a:t>alue</a:t>
            </a:r>
            <a:r>
              <a:rPr sz="1400" spc="-21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s: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888899" y="5526182"/>
            <a:ext cx="3585230" cy="5121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30712">
              <a:lnSpc>
                <a:spcPts val="1764"/>
              </a:lnSpc>
              <a:spcBef>
                <a:spcPts val="88"/>
              </a:spcBef>
            </a:pPr>
            <a:r>
              <a:rPr sz="1400" spc="0" dirty="0" smtClean="0">
                <a:latin typeface="+mj-lt"/>
                <a:cs typeface="Symbol"/>
              </a:rPr>
              <a:t></a:t>
            </a:r>
            <a:r>
              <a:rPr sz="1400" spc="0" dirty="0" smtClean="0">
                <a:latin typeface="+mj-lt"/>
                <a:cs typeface="Times New Roman"/>
              </a:rPr>
              <a:t> </a:t>
            </a:r>
            <a:r>
              <a:rPr sz="1400" spc="257" dirty="0" smtClean="0">
                <a:latin typeface="+mj-lt"/>
                <a:cs typeface="Times New Roman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25" dirty="0" smtClean="0">
                <a:latin typeface="+mj-lt"/>
                <a:cs typeface="Cambria"/>
              </a:rPr>
              <a:t>lw</a:t>
            </a:r>
            <a:r>
              <a:rPr sz="1400" spc="-34" dirty="0" smtClean="0">
                <a:latin typeface="+mj-lt"/>
                <a:cs typeface="Cambria"/>
              </a:rPr>
              <a:t>a</a:t>
            </a:r>
            <a:r>
              <a:rPr sz="1400" spc="-14" dirty="0" smtClean="0">
                <a:latin typeface="+mj-lt"/>
                <a:cs typeface="Cambria"/>
              </a:rPr>
              <a:t>y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4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2" dirty="0" smtClean="0">
                <a:latin typeface="+mj-lt"/>
                <a:cs typeface="Cambria"/>
              </a:rPr>
              <a:t> </a:t>
            </a:r>
            <a:r>
              <a:rPr sz="1400" i="1" spc="-4" dirty="0" smtClean="0">
                <a:latin typeface="+mj-lt"/>
                <a:cs typeface="Cambria"/>
              </a:rPr>
              <a:t>o</a:t>
            </a:r>
            <a:r>
              <a:rPr sz="1400" i="1" spc="0" dirty="0" smtClean="0">
                <a:latin typeface="+mj-lt"/>
                <a:cs typeface="Cambria"/>
              </a:rPr>
              <a:t>ne</a:t>
            </a:r>
            <a:r>
              <a:rPr sz="1400" i="1" spc="-4" dirty="0" smtClean="0">
                <a:latin typeface="+mj-lt"/>
                <a:cs typeface="Cambria"/>
              </a:rPr>
              <a:t>-</a:t>
            </a:r>
            <a:r>
              <a:rPr sz="1400" i="1" spc="0" dirty="0" smtClean="0">
                <a:latin typeface="+mj-lt"/>
                <a:cs typeface="Cambria"/>
              </a:rPr>
              <a:t>A</a:t>
            </a:r>
            <a:r>
              <a:rPr sz="1400" i="1" spc="-4" dirty="0" smtClean="0">
                <a:latin typeface="+mj-lt"/>
                <a:cs typeface="Cambria"/>
              </a:rPr>
              <a:t>M</a:t>
            </a:r>
            <a:r>
              <a:rPr sz="1400" i="1" spc="0" dirty="0" smtClean="0">
                <a:latin typeface="+mj-lt"/>
                <a:cs typeface="Cambria"/>
              </a:rPr>
              <a:t>P</a:t>
            </a:r>
            <a:r>
              <a:rPr sz="1400" i="1" spc="-1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25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ati</a:t>
            </a:r>
            <a:r>
              <a:rPr sz="1400" spc="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n</a:t>
            </a:r>
            <a:endParaRPr sz="1400" dirty="0">
              <a:latin typeface="+mj-lt"/>
              <a:cs typeface="Cambria"/>
            </a:endParaRPr>
          </a:p>
          <a:p>
            <a:pPr marL="12700">
              <a:lnSpc>
                <a:spcPct val="102091"/>
              </a:lnSpc>
              <a:spcBef>
                <a:spcPts val="166"/>
              </a:spcBef>
            </a:pPr>
            <a:r>
              <a:rPr sz="1400" spc="0" dirty="0" smtClean="0">
                <a:latin typeface="+mj-lt"/>
                <a:cs typeface="Symbol"/>
              </a:rPr>
              <a:t></a:t>
            </a:r>
            <a:r>
              <a:rPr sz="1400" spc="0" dirty="0" smtClean="0">
                <a:latin typeface="+mj-lt"/>
                <a:cs typeface="Times New Roman"/>
              </a:rPr>
              <a:t> </a:t>
            </a:r>
            <a:r>
              <a:rPr sz="1400" spc="257" dirty="0" smtClean="0">
                <a:latin typeface="+mj-lt"/>
                <a:cs typeface="Times New Roman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The</a:t>
            </a:r>
            <a:r>
              <a:rPr sz="1400" spc="-31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m</a:t>
            </a:r>
            <a:r>
              <a:rPr sz="1400" spc="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st</a:t>
            </a:r>
            <a:r>
              <a:rPr sz="1400" spc="-38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ef</a:t>
            </a:r>
            <a:r>
              <a:rPr sz="1400" spc="-4" dirty="0" smtClean="0">
                <a:latin typeface="+mj-lt"/>
                <a:cs typeface="Cambria"/>
              </a:rPr>
              <a:t>f</a:t>
            </a:r>
            <a:r>
              <a:rPr sz="1400" spc="0" dirty="0" smtClean="0">
                <a:latin typeface="+mj-lt"/>
                <a:cs typeface="Cambria"/>
              </a:rPr>
              <a:t>ic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ent</a:t>
            </a:r>
            <a:r>
              <a:rPr sz="1400" spc="-34" dirty="0" smtClean="0">
                <a:latin typeface="+mj-lt"/>
                <a:cs typeface="Cambria"/>
              </a:rPr>
              <a:t> </a:t>
            </a:r>
            <a:r>
              <a:rPr sz="1400" spc="-25" dirty="0" smtClean="0">
                <a:latin typeface="+mj-lt"/>
                <a:cs typeface="Cambria"/>
              </a:rPr>
              <a:t>w</a:t>
            </a:r>
            <a:r>
              <a:rPr sz="1400" spc="-34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y</a:t>
            </a:r>
            <a:r>
              <a:rPr sz="1400" spc="-8" dirty="0" smtClean="0">
                <a:latin typeface="+mj-lt"/>
                <a:cs typeface="Cambria"/>
              </a:rPr>
              <a:t> 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23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ss</a:t>
            </a:r>
            <a:r>
              <a:rPr sz="1400" spc="-53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2" dirty="0" smtClean="0">
                <a:latin typeface="+mj-lt"/>
                <a:cs typeface="Cambria"/>
              </a:rPr>
              <a:t> </a:t>
            </a:r>
            <a:r>
              <a:rPr sz="1400" spc="-25" dirty="0" smtClean="0">
                <a:latin typeface="+mj-lt"/>
                <a:cs typeface="Cambria"/>
              </a:rPr>
              <a:t>r</a:t>
            </a:r>
            <a:r>
              <a:rPr sz="1400" spc="-9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w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882134" y="5461000"/>
            <a:ext cx="2825877" cy="83163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837">
              <a:lnSpc>
                <a:spcPct val="97696"/>
              </a:lnSpc>
              <a:spcBef>
                <a:spcPts val="409"/>
              </a:spcBef>
            </a:pPr>
            <a:r>
              <a:rPr sz="1400" spc="0" dirty="0" smtClean="0">
                <a:latin typeface="+mj-lt"/>
                <a:cs typeface="Cambria"/>
              </a:rPr>
              <a:t>Other</a:t>
            </a:r>
            <a:r>
              <a:rPr sz="1400" spc="-4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table</a:t>
            </a:r>
            <a:r>
              <a:rPr sz="1400" spc="-2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ss</a:t>
            </a:r>
            <a:r>
              <a:rPr sz="1400" spc="-63" dirty="0" smtClean="0">
                <a:latin typeface="+mj-lt"/>
                <a:cs typeface="Cambria"/>
              </a:rPr>
              <a:t> 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-4" dirty="0" smtClean="0">
                <a:latin typeface="+mj-lt"/>
                <a:cs typeface="Cambria"/>
              </a:rPr>
              <a:t>h</a:t>
            </a:r>
            <a:r>
              <a:rPr sz="1400" spc="0" dirty="0" smtClean="0">
                <a:latin typeface="+mj-lt"/>
                <a:cs typeface="Cambria"/>
              </a:rPr>
              <a:t>nique</a:t>
            </a:r>
            <a:r>
              <a:rPr sz="1400" spc="-4" dirty="0" smtClean="0">
                <a:latin typeface="+mj-lt"/>
                <a:cs typeface="Cambria"/>
              </a:rPr>
              <a:t>s</a:t>
            </a:r>
            <a:r>
              <a:rPr sz="1400" spc="0" dirty="0" smtClean="0">
                <a:latin typeface="+mj-lt"/>
                <a:cs typeface="Cambria"/>
              </a:rPr>
              <a:t>:</a:t>
            </a:r>
            <a:endParaRPr sz="1400" dirty="0">
              <a:latin typeface="+mj-lt"/>
              <a:cs typeface="Cambria"/>
            </a:endParaRPr>
          </a:p>
          <a:p>
            <a:pPr marL="92837">
              <a:lnSpc>
                <a:spcPct val="97696"/>
              </a:lnSpc>
              <a:spcBef>
                <a:spcPts val="45"/>
              </a:spcBef>
            </a:pPr>
            <a:r>
              <a:rPr sz="1400" spc="0" dirty="0" smtClean="0">
                <a:latin typeface="+mj-lt"/>
                <a:cs typeface="Cambria"/>
              </a:rPr>
              <a:t>•  </a:t>
            </a:r>
            <a:r>
              <a:rPr sz="1400" spc="32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Se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ond</a:t>
            </a:r>
            <a:r>
              <a:rPr sz="1400" spc="4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ry</a:t>
            </a:r>
            <a:r>
              <a:rPr sz="1400" spc="-66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d</a:t>
            </a:r>
            <a:r>
              <a:rPr sz="1400" spc="-19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x</a:t>
            </a:r>
            <a:r>
              <a:rPr sz="1400" spc="-37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ss</a:t>
            </a:r>
            <a:endParaRPr sz="1400" dirty="0">
              <a:latin typeface="+mj-lt"/>
              <a:cs typeface="Cambria"/>
            </a:endParaRPr>
          </a:p>
          <a:p>
            <a:pPr marL="92837">
              <a:lnSpc>
                <a:spcPct val="97696"/>
              </a:lnSpc>
              <a:spcBef>
                <a:spcPts val="45"/>
              </a:spcBef>
            </a:pPr>
            <a:r>
              <a:rPr sz="1400" spc="0" dirty="0" smtClean="0">
                <a:latin typeface="+mj-lt"/>
                <a:cs typeface="Cambria"/>
              </a:rPr>
              <a:t>•  </a:t>
            </a:r>
            <a:r>
              <a:rPr sz="1400" spc="329" dirty="0" smtClean="0">
                <a:latin typeface="+mj-lt"/>
                <a:cs typeface="Cambria"/>
              </a:rPr>
              <a:t> </a:t>
            </a:r>
            <a:r>
              <a:rPr sz="1400" spc="-29" dirty="0" smtClean="0">
                <a:latin typeface="+mj-lt"/>
                <a:cs typeface="Cambria"/>
              </a:rPr>
              <a:t>F</a:t>
            </a:r>
            <a:r>
              <a:rPr sz="1400" spc="-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ll</a:t>
            </a:r>
            <a:r>
              <a:rPr sz="1400" spc="3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table</a:t>
            </a:r>
            <a:r>
              <a:rPr sz="1400" spc="-34" dirty="0" smtClean="0">
                <a:latin typeface="+mj-lt"/>
                <a:cs typeface="Cambria"/>
              </a:rPr>
              <a:t> </a:t>
            </a:r>
            <a:r>
              <a:rPr sz="1400" spc="-4" dirty="0" smtClean="0">
                <a:latin typeface="+mj-lt"/>
                <a:cs typeface="Cambria"/>
              </a:rPr>
              <a:t>s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ns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6058027" y="4895647"/>
            <a:ext cx="669569" cy="13355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7" name="object 17"/>
          <p:cNvSpPr txBox="1"/>
          <p:nvPr/>
        </p:nvSpPr>
        <p:spPr>
          <a:xfrm>
            <a:off x="6035168" y="3976548"/>
            <a:ext cx="1130477" cy="4464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300"/>
              </a:lnSpc>
              <a:spcBef>
                <a:spcPts val="23"/>
              </a:spcBef>
            </a:pPr>
            <a:endParaRPr sz="1300"/>
          </a:p>
          <a:p>
            <a:pPr marL="232791">
              <a:lnSpc>
                <a:spcPct val="97696"/>
              </a:lnSpc>
            </a:pPr>
            <a:r>
              <a:rPr sz="1400" spc="0" dirty="0" smtClean="0">
                <a:latin typeface="Cambria"/>
                <a:cs typeface="Cambria"/>
              </a:rPr>
              <a:t>AMP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035168" y="4423029"/>
            <a:ext cx="513588" cy="3059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5" name="object 15"/>
          <p:cNvSpPr txBox="1"/>
          <p:nvPr/>
        </p:nvSpPr>
        <p:spPr>
          <a:xfrm>
            <a:off x="6548755" y="4423029"/>
            <a:ext cx="616890" cy="3059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4" name="object 14"/>
          <p:cNvSpPr txBox="1"/>
          <p:nvPr/>
        </p:nvSpPr>
        <p:spPr>
          <a:xfrm>
            <a:off x="3680206" y="3955085"/>
            <a:ext cx="1130477" cy="4464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96"/>
              </a:spcBef>
            </a:pPr>
            <a:endParaRPr sz="1400"/>
          </a:p>
          <a:p>
            <a:pPr marL="232537">
              <a:lnSpc>
                <a:spcPct val="97696"/>
              </a:lnSpc>
            </a:pPr>
            <a:r>
              <a:rPr sz="1600" spc="0" dirty="0" smtClean="0">
                <a:latin typeface="Cambria"/>
                <a:cs typeface="Cambria"/>
              </a:rPr>
              <a:t>AMP</a:t>
            </a:r>
            <a:endParaRPr sz="1600">
              <a:latin typeface="Cambria"/>
              <a:cs typeface="Cambri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680206" y="4401567"/>
            <a:ext cx="525018" cy="3225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2" name="object 12"/>
          <p:cNvSpPr txBox="1"/>
          <p:nvPr/>
        </p:nvSpPr>
        <p:spPr>
          <a:xfrm>
            <a:off x="4205225" y="4401567"/>
            <a:ext cx="605460" cy="3225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" name="object 11"/>
          <p:cNvSpPr txBox="1"/>
          <p:nvPr/>
        </p:nvSpPr>
        <p:spPr>
          <a:xfrm>
            <a:off x="1272414" y="3970579"/>
            <a:ext cx="1130477" cy="4464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200"/>
              </a:lnSpc>
              <a:spcBef>
                <a:spcPts val="42"/>
              </a:spcBef>
            </a:pPr>
            <a:endParaRPr sz="1200"/>
          </a:p>
          <a:p>
            <a:pPr marL="190881">
              <a:lnSpc>
                <a:spcPct val="97696"/>
              </a:lnSpc>
            </a:pPr>
            <a:r>
              <a:rPr sz="1600" spc="0" dirty="0" smtClean="0">
                <a:latin typeface="Cambria"/>
                <a:cs typeface="Cambria"/>
              </a:rPr>
              <a:t>AMP</a:t>
            </a:r>
            <a:endParaRPr sz="1600">
              <a:latin typeface="Cambria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272412" y="4417061"/>
            <a:ext cx="577851" cy="30708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" name="object 9"/>
          <p:cNvSpPr txBox="1"/>
          <p:nvPr/>
        </p:nvSpPr>
        <p:spPr>
          <a:xfrm>
            <a:off x="1850264" y="4417061"/>
            <a:ext cx="552627" cy="30708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" name="object 8"/>
          <p:cNvSpPr txBox="1"/>
          <p:nvPr/>
        </p:nvSpPr>
        <p:spPr>
          <a:xfrm>
            <a:off x="1818133" y="3268103"/>
            <a:ext cx="4441697" cy="4988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" name="object 7"/>
          <p:cNvSpPr txBox="1"/>
          <p:nvPr/>
        </p:nvSpPr>
        <p:spPr>
          <a:xfrm>
            <a:off x="6259831" y="3268103"/>
            <a:ext cx="1448181" cy="4988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3091">
              <a:lnSpc>
                <a:spcPct val="97696"/>
              </a:lnSpc>
              <a:spcBef>
                <a:spcPts val="390"/>
              </a:spcBef>
            </a:pPr>
            <a:r>
              <a:rPr sz="1400" spc="-19" dirty="0" smtClean="0">
                <a:latin typeface="Cambria"/>
                <a:cs typeface="Cambria"/>
              </a:rPr>
              <a:t>R</a:t>
            </a:r>
            <a:r>
              <a:rPr sz="1400" spc="-14" dirty="0" smtClean="0">
                <a:latin typeface="Cambria"/>
                <a:cs typeface="Cambria"/>
              </a:rPr>
              <a:t>o</a:t>
            </a:r>
            <a:r>
              <a:rPr sz="1400" spc="0" dirty="0" smtClean="0">
                <a:latin typeface="Cambria"/>
                <a:cs typeface="Cambria"/>
              </a:rPr>
              <a:t>w</a:t>
            </a:r>
            <a:r>
              <a:rPr sz="1400" spc="-14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a</a:t>
            </a:r>
            <a:r>
              <a:rPr sz="1400" spc="-4" dirty="0" smtClean="0">
                <a:latin typeface="Cambria"/>
                <a:cs typeface="Cambria"/>
              </a:rPr>
              <a:t>s</a:t>
            </a:r>
            <a:r>
              <a:rPr sz="1400" spc="0" dirty="0" smtClean="0">
                <a:latin typeface="Cambria"/>
                <a:cs typeface="Cambria"/>
              </a:rPr>
              <a:t>si</a:t>
            </a:r>
            <a:r>
              <a:rPr sz="1400" spc="4" dirty="0" smtClean="0">
                <a:latin typeface="Cambria"/>
                <a:cs typeface="Cambria"/>
              </a:rPr>
              <a:t>g</a:t>
            </a:r>
            <a:r>
              <a:rPr sz="1400" spc="0" dirty="0" smtClean="0">
                <a:latin typeface="Cambria"/>
                <a:cs typeface="Cambria"/>
              </a:rPr>
              <a:t>n</a:t>
            </a:r>
            <a:r>
              <a:rPr sz="1400" spc="-4" dirty="0" smtClean="0">
                <a:latin typeface="Cambria"/>
                <a:cs typeface="Cambria"/>
              </a:rPr>
              <a:t>m</a:t>
            </a:r>
            <a:r>
              <a:rPr sz="1400" spc="0" dirty="0" smtClean="0">
                <a:latin typeface="Cambria"/>
                <a:cs typeface="Cambria"/>
              </a:rPr>
              <a:t>e</a:t>
            </a:r>
            <a:r>
              <a:rPr sz="1400" spc="-4" dirty="0" smtClean="0">
                <a:latin typeface="Cambria"/>
                <a:cs typeface="Cambria"/>
              </a:rPr>
              <a:t>n</a:t>
            </a:r>
            <a:r>
              <a:rPr sz="1400" spc="0" dirty="0" smtClean="0">
                <a:latin typeface="Cambria"/>
                <a:cs typeface="Cambria"/>
              </a:rPr>
              <a:t>t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712468" y="2366785"/>
            <a:ext cx="1021332" cy="33463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00"/>
              </a:lnSpc>
              <a:spcBef>
                <a:spcPts val="9"/>
              </a:spcBef>
            </a:pPr>
            <a:endParaRPr sz="500"/>
          </a:p>
          <a:p>
            <a:pPr marL="127000">
              <a:lnSpc>
                <a:spcPct val="97696"/>
              </a:lnSpc>
            </a:pPr>
            <a:r>
              <a:rPr sz="1600" spc="4" dirty="0" smtClean="0">
                <a:latin typeface="Cambria"/>
                <a:cs typeface="Cambria"/>
              </a:rPr>
              <a:t>PE</a:t>
            </a:r>
            <a:endParaRPr sz="1600">
              <a:latin typeface="Cambria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733800" y="2366785"/>
            <a:ext cx="896848" cy="33463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710">
              <a:lnSpc>
                <a:spcPct val="97696"/>
              </a:lnSpc>
              <a:spcBef>
                <a:spcPts val="370"/>
              </a:spcBef>
            </a:pPr>
            <a:r>
              <a:rPr sz="1600" spc="4" dirty="0" smtClean="0">
                <a:latin typeface="Cambria"/>
                <a:cs typeface="Cambria"/>
              </a:rPr>
              <a:t>P</a:t>
            </a:r>
            <a:r>
              <a:rPr sz="1600" spc="0" dirty="0" smtClean="0">
                <a:latin typeface="Cambria"/>
                <a:cs typeface="Cambria"/>
              </a:rPr>
              <a:t>I</a:t>
            </a:r>
            <a:r>
              <a:rPr sz="1600" spc="-14" dirty="0" smtClean="0">
                <a:latin typeface="Cambria"/>
                <a:cs typeface="Cambria"/>
              </a:rPr>
              <a:t> </a:t>
            </a:r>
            <a:r>
              <a:rPr sz="1600" spc="-104" dirty="0" smtClean="0">
                <a:latin typeface="Cambria"/>
                <a:cs typeface="Cambria"/>
              </a:rPr>
              <a:t>V</a:t>
            </a:r>
            <a:r>
              <a:rPr sz="1600" spc="0" dirty="0" smtClean="0">
                <a:latin typeface="Cambria"/>
                <a:cs typeface="Cambria"/>
              </a:rPr>
              <a:t>alue</a:t>
            </a:r>
            <a:endParaRPr sz="1600">
              <a:latin typeface="Cambria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630649" y="3068968"/>
            <a:ext cx="1170583" cy="33463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2712468" y="3082416"/>
            <a:ext cx="3088766" cy="5666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21"/>
              </a:spcBef>
            </a:pPr>
            <a:endParaRPr sz="700"/>
          </a:p>
          <a:p>
            <a:pPr marL="1234694" marR="1073193">
              <a:lnSpc>
                <a:spcPct val="100041"/>
              </a:lnSpc>
            </a:pPr>
            <a:r>
              <a:rPr sz="1400" spc="-4" dirty="0" smtClean="0">
                <a:latin typeface="Cambria"/>
                <a:cs typeface="Cambria"/>
              </a:rPr>
              <a:t>H</a:t>
            </a:r>
            <a:r>
              <a:rPr sz="1400" spc="0" dirty="0" smtClean="0">
                <a:latin typeface="Cambria"/>
                <a:cs typeface="Cambria"/>
              </a:rPr>
              <a:t>a</a:t>
            </a:r>
            <a:r>
              <a:rPr sz="1400" spc="-4" dirty="0" smtClean="0">
                <a:latin typeface="Cambria"/>
                <a:cs typeface="Cambria"/>
              </a:rPr>
              <a:t>s</a:t>
            </a:r>
            <a:r>
              <a:rPr sz="1400" spc="4" dirty="0" smtClean="0">
                <a:latin typeface="Cambria"/>
                <a:cs typeface="Cambria"/>
              </a:rPr>
              <a:t>hi</a:t>
            </a:r>
            <a:r>
              <a:rPr sz="1400" spc="0" dirty="0" smtClean="0">
                <a:latin typeface="Cambria"/>
                <a:cs typeface="Cambria"/>
              </a:rPr>
              <a:t>ng algo</a:t>
            </a:r>
            <a:r>
              <a:rPr sz="1400" spc="-4" dirty="0" smtClean="0">
                <a:latin typeface="Cambria"/>
                <a:cs typeface="Cambria"/>
              </a:rPr>
              <a:t>r</a:t>
            </a:r>
            <a:r>
              <a:rPr sz="1400" spc="4" dirty="0" smtClean="0">
                <a:latin typeface="Cambria"/>
                <a:cs typeface="Cambria"/>
              </a:rPr>
              <a:t>ith</a:t>
            </a:r>
            <a:r>
              <a:rPr sz="1400" spc="0" dirty="0" smtClean="0">
                <a:latin typeface="Cambria"/>
                <a:cs typeface="Cambria"/>
              </a:rPr>
              <a:t>m</a:t>
            </a:r>
            <a:endParaRPr sz="1400">
              <a:latin typeface="Cambria"/>
              <a:cs typeface="Cambri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Title 12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ng New Row </a:t>
            </a:r>
            <a:endParaRPr lang="en-US" dirty="0"/>
          </a:p>
        </p:txBody>
      </p:sp>
      <p:sp>
        <p:nvSpPr>
          <p:cNvPr id="115" name="object 115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5689093" y="1100201"/>
            <a:ext cx="3717036" cy="0"/>
          </a:xfrm>
          <a:custGeom>
            <a:avLst/>
            <a:gdLst/>
            <a:ahLst/>
            <a:cxnLst/>
            <a:rect l="l" t="t" r="r" b="b"/>
            <a:pathLst>
              <a:path w="3717036">
                <a:moveTo>
                  <a:pt x="0" y="0"/>
                </a:moveTo>
                <a:lnTo>
                  <a:pt x="3717036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8" name="object 118"/>
          <p:cNvSpPr/>
          <p:nvPr/>
        </p:nvSpPr>
        <p:spPr>
          <a:xfrm>
            <a:off x="5668392" y="1390650"/>
            <a:ext cx="3717036" cy="0"/>
          </a:xfrm>
          <a:custGeom>
            <a:avLst/>
            <a:gdLst/>
            <a:ahLst/>
            <a:cxnLst/>
            <a:rect l="l" t="t" r="r" b="b"/>
            <a:pathLst>
              <a:path w="3717036">
                <a:moveTo>
                  <a:pt x="0" y="0"/>
                </a:moveTo>
                <a:lnTo>
                  <a:pt x="3717036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9" name="object 119"/>
          <p:cNvSpPr/>
          <p:nvPr/>
        </p:nvSpPr>
        <p:spPr>
          <a:xfrm>
            <a:off x="5700523" y="1256157"/>
            <a:ext cx="3717036" cy="0"/>
          </a:xfrm>
          <a:custGeom>
            <a:avLst/>
            <a:gdLst/>
            <a:ahLst/>
            <a:cxnLst/>
            <a:rect l="l" t="t" r="r" b="b"/>
            <a:pathLst>
              <a:path w="3717035">
                <a:moveTo>
                  <a:pt x="0" y="0"/>
                </a:moveTo>
                <a:lnTo>
                  <a:pt x="3717035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0" name="object 120"/>
          <p:cNvSpPr/>
          <p:nvPr/>
        </p:nvSpPr>
        <p:spPr>
          <a:xfrm>
            <a:off x="5670677" y="1537080"/>
            <a:ext cx="3710178" cy="0"/>
          </a:xfrm>
          <a:custGeom>
            <a:avLst/>
            <a:gdLst/>
            <a:ahLst/>
            <a:cxnLst/>
            <a:rect l="l" t="t" r="r" b="b"/>
            <a:pathLst>
              <a:path w="3710178">
                <a:moveTo>
                  <a:pt x="0" y="0"/>
                </a:moveTo>
                <a:lnTo>
                  <a:pt x="3710178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1" name="object 121"/>
          <p:cNvSpPr/>
          <p:nvPr/>
        </p:nvSpPr>
        <p:spPr>
          <a:xfrm>
            <a:off x="5650104" y="1091819"/>
            <a:ext cx="0" cy="2246756"/>
          </a:xfrm>
          <a:custGeom>
            <a:avLst/>
            <a:gdLst/>
            <a:ahLst/>
            <a:cxnLst/>
            <a:rect l="l" t="t" r="r" b="b"/>
            <a:pathLst>
              <a:path h="2246756">
                <a:moveTo>
                  <a:pt x="0" y="0"/>
                </a:moveTo>
                <a:lnTo>
                  <a:pt x="0" y="2246756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2" name="object 122"/>
          <p:cNvSpPr/>
          <p:nvPr/>
        </p:nvSpPr>
        <p:spPr>
          <a:xfrm>
            <a:off x="6876923" y="1091819"/>
            <a:ext cx="0" cy="2246756"/>
          </a:xfrm>
          <a:custGeom>
            <a:avLst/>
            <a:gdLst/>
            <a:ahLst/>
            <a:cxnLst/>
            <a:rect l="l" t="t" r="r" b="b"/>
            <a:pathLst>
              <a:path h="2246756">
                <a:moveTo>
                  <a:pt x="0" y="0"/>
                </a:moveTo>
                <a:lnTo>
                  <a:pt x="0" y="2246756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3" name="object 123"/>
          <p:cNvSpPr/>
          <p:nvPr/>
        </p:nvSpPr>
        <p:spPr>
          <a:xfrm>
            <a:off x="7842250" y="1091819"/>
            <a:ext cx="0" cy="2246756"/>
          </a:xfrm>
          <a:custGeom>
            <a:avLst/>
            <a:gdLst/>
            <a:ahLst/>
            <a:cxnLst/>
            <a:rect l="l" t="t" r="r" b="b"/>
            <a:pathLst>
              <a:path h="2246756">
                <a:moveTo>
                  <a:pt x="0" y="0"/>
                </a:moveTo>
                <a:lnTo>
                  <a:pt x="0" y="2246756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4" name="object 124"/>
          <p:cNvSpPr/>
          <p:nvPr/>
        </p:nvSpPr>
        <p:spPr>
          <a:xfrm>
            <a:off x="9410701" y="1091819"/>
            <a:ext cx="0" cy="2246756"/>
          </a:xfrm>
          <a:custGeom>
            <a:avLst/>
            <a:gdLst/>
            <a:ahLst/>
            <a:cxnLst/>
            <a:rect l="l" t="t" r="r" b="b"/>
            <a:pathLst>
              <a:path h="2246756">
                <a:moveTo>
                  <a:pt x="0" y="0"/>
                </a:moveTo>
                <a:lnTo>
                  <a:pt x="0" y="2246756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2267712" y="3616452"/>
            <a:ext cx="446531" cy="45110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2341246" y="3657601"/>
            <a:ext cx="300355" cy="304800"/>
          </a:xfrm>
          <a:custGeom>
            <a:avLst/>
            <a:gdLst/>
            <a:ahLst/>
            <a:cxnLst/>
            <a:rect l="l" t="t" r="r" b="b"/>
            <a:pathLst>
              <a:path w="300355" h="304800">
                <a:moveTo>
                  <a:pt x="0" y="0"/>
                </a:moveTo>
                <a:lnTo>
                  <a:pt x="150113" y="304800"/>
                </a:lnTo>
                <a:lnTo>
                  <a:pt x="300355" y="0"/>
                </a:lnTo>
                <a:lnTo>
                  <a:pt x="0" y="0"/>
                </a:lnTo>
                <a:close/>
              </a:path>
            </a:pathLst>
          </a:custGeom>
          <a:solidFill>
            <a:srgbClr val="B7BD1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2341246" y="3657601"/>
            <a:ext cx="300355" cy="304800"/>
          </a:xfrm>
          <a:custGeom>
            <a:avLst/>
            <a:gdLst/>
            <a:ahLst/>
            <a:cxnLst/>
            <a:rect l="l" t="t" r="r" b="b"/>
            <a:pathLst>
              <a:path w="300355" h="304800">
                <a:moveTo>
                  <a:pt x="0" y="0"/>
                </a:moveTo>
                <a:lnTo>
                  <a:pt x="0" y="0"/>
                </a:lnTo>
                <a:lnTo>
                  <a:pt x="75056" y="0"/>
                </a:lnTo>
                <a:lnTo>
                  <a:pt x="225298" y="0"/>
                </a:lnTo>
                <a:lnTo>
                  <a:pt x="300355" y="0"/>
                </a:lnTo>
                <a:lnTo>
                  <a:pt x="150113" y="304800"/>
                </a:lnTo>
                <a:lnTo>
                  <a:pt x="0" y="0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1" name="object 81"/>
          <p:cNvSpPr/>
          <p:nvPr/>
        </p:nvSpPr>
        <p:spPr>
          <a:xfrm>
            <a:off x="1784605" y="2845307"/>
            <a:ext cx="1411224" cy="33375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1832104" y="2872943"/>
            <a:ext cx="1316227" cy="23931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3" name="object 83"/>
          <p:cNvSpPr/>
          <p:nvPr/>
        </p:nvSpPr>
        <p:spPr>
          <a:xfrm>
            <a:off x="1832104" y="2872943"/>
            <a:ext cx="1316227" cy="239318"/>
          </a:xfrm>
          <a:custGeom>
            <a:avLst/>
            <a:gdLst/>
            <a:ahLst/>
            <a:cxnLst/>
            <a:rect l="l" t="t" r="r" b="b"/>
            <a:pathLst>
              <a:path w="1316227" h="239318">
                <a:moveTo>
                  <a:pt x="0" y="239318"/>
                </a:moveTo>
                <a:lnTo>
                  <a:pt x="1316227" y="239318"/>
                </a:lnTo>
                <a:lnTo>
                  <a:pt x="1316227" y="0"/>
                </a:lnTo>
                <a:lnTo>
                  <a:pt x="0" y="0"/>
                </a:lnTo>
                <a:lnTo>
                  <a:pt x="0" y="239318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1444753" y="3172967"/>
            <a:ext cx="2002536" cy="49377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5" name="object 85"/>
          <p:cNvSpPr/>
          <p:nvPr/>
        </p:nvSpPr>
        <p:spPr>
          <a:xfrm>
            <a:off x="1036459" y="2814663"/>
            <a:ext cx="2967227" cy="854875"/>
          </a:xfrm>
          <a:custGeom>
            <a:avLst/>
            <a:gdLst/>
            <a:ahLst/>
            <a:cxnLst/>
            <a:rect l="l" t="t" r="r" b="b"/>
            <a:pathLst>
              <a:path w="2967228" h="854875">
                <a:moveTo>
                  <a:pt x="0" y="854875"/>
                </a:moveTo>
                <a:lnTo>
                  <a:pt x="2967228" y="854875"/>
                </a:lnTo>
                <a:lnTo>
                  <a:pt x="2967228" y="0"/>
                </a:lnTo>
                <a:lnTo>
                  <a:pt x="0" y="0"/>
                </a:lnTo>
                <a:lnTo>
                  <a:pt x="0" y="854875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2410842" y="3032506"/>
            <a:ext cx="76200" cy="169037"/>
          </a:xfrm>
          <a:custGeom>
            <a:avLst/>
            <a:gdLst/>
            <a:ahLst/>
            <a:cxnLst/>
            <a:rect l="l" t="t" r="r" b="b"/>
            <a:pathLst>
              <a:path w="76200" h="169037">
                <a:moveTo>
                  <a:pt x="76200" y="92837"/>
                </a:moveTo>
                <a:lnTo>
                  <a:pt x="44449" y="114003"/>
                </a:lnTo>
                <a:lnTo>
                  <a:pt x="38100" y="118237"/>
                </a:lnTo>
                <a:lnTo>
                  <a:pt x="31750" y="118237"/>
                </a:lnTo>
                <a:lnTo>
                  <a:pt x="31749" y="114003"/>
                </a:lnTo>
                <a:lnTo>
                  <a:pt x="0" y="92837"/>
                </a:lnTo>
                <a:lnTo>
                  <a:pt x="38100" y="169037"/>
                </a:lnTo>
                <a:lnTo>
                  <a:pt x="44450" y="118237"/>
                </a:lnTo>
                <a:lnTo>
                  <a:pt x="76200" y="92837"/>
                </a:lnTo>
                <a:close/>
              </a:path>
              <a:path w="76200" h="169037">
                <a:moveTo>
                  <a:pt x="38100" y="118237"/>
                </a:moveTo>
                <a:lnTo>
                  <a:pt x="44449" y="114003"/>
                </a:lnTo>
                <a:lnTo>
                  <a:pt x="44450" y="0"/>
                </a:lnTo>
                <a:lnTo>
                  <a:pt x="31750" y="0"/>
                </a:lnTo>
                <a:lnTo>
                  <a:pt x="31750" y="118237"/>
                </a:lnTo>
                <a:lnTo>
                  <a:pt x="38100" y="118237"/>
                </a:lnTo>
                <a:close/>
              </a:path>
              <a:path w="76200" h="169037">
                <a:moveTo>
                  <a:pt x="44450" y="118237"/>
                </a:moveTo>
                <a:lnTo>
                  <a:pt x="38100" y="169037"/>
                </a:lnTo>
                <a:lnTo>
                  <a:pt x="76200" y="92837"/>
                </a:lnTo>
                <a:lnTo>
                  <a:pt x="44450" y="118237"/>
                </a:lnTo>
                <a:close/>
              </a:path>
            </a:pathLst>
          </a:custGeom>
          <a:solidFill>
            <a:srgbClr val="25304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7" name="object 87"/>
          <p:cNvSpPr/>
          <p:nvPr/>
        </p:nvSpPr>
        <p:spPr>
          <a:xfrm>
            <a:off x="165100" y="4876800"/>
            <a:ext cx="2311399" cy="1371600"/>
          </a:xfrm>
          <a:custGeom>
            <a:avLst/>
            <a:gdLst/>
            <a:ahLst/>
            <a:cxnLst/>
            <a:rect l="l" t="t" r="r" b="b"/>
            <a:pathLst>
              <a:path w="2311400" h="1371600">
                <a:moveTo>
                  <a:pt x="2311400" y="140335"/>
                </a:moveTo>
                <a:lnTo>
                  <a:pt x="2277813" y="174040"/>
                </a:lnTo>
                <a:lnTo>
                  <a:pt x="2220583" y="194925"/>
                </a:lnTo>
                <a:lnTo>
                  <a:pt x="2182407" y="204784"/>
                </a:lnTo>
                <a:lnTo>
                  <a:pt x="2138255" y="214206"/>
                </a:lnTo>
                <a:lnTo>
                  <a:pt x="2088424" y="223155"/>
                </a:lnTo>
                <a:lnTo>
                  <a:pt x="2033211" y="231595"/>
                </a:lnTo>
                <a:lnTo>
                  <a:pt x="1972913" y="239490"/>
                </a:lnTo>
                <a:lnTo>
                  <a:pt x="1907828" y="246804"/>
                </a:lnTo>
                <a:lnTo>
                  <a:pt x="1838252" y="253501"/>
                </a:lnTo>
                <a:lnTo>
                  <a:pt x="1764485" y="259545"/>
                </a:lnTo>
                <a:lnTo>
                  <a:pt x="1686822" y="264899"/>
                </a:lnTo>
                <a:lnTo>
                  <a:pt x="1605561" y="269529"/>
                </a:lnTo>
                <a:lnTo>
                  <a:pt x="1521000" y="273398"/>
                </a:lnTo>
                <a:lnTo>
                  <a:pt x="1433436" y="276470"/>
                </a:lnTo>
                <a:lnTo>
                  <a:pt x="1343166" y="278708"/>
                </a:lnTo>
                <a:lnTo>
                  <a:pt x="1250488" y="280078"/>
                </a:lnTo>
                <a:lnTo>
                  <a:pt x="1155700" y="280543"/>
                </a:lnTo>
                <a:lnTo>
                  <a:pt x="1060914" y="280078"/>
                </a:lnTo>
                <a:lnTo>
                  <a:pt x="968239" y="278708"/>
                </a:lnTo>
                <a:lnTo>
                  <a:pt x="877971" y="276470"/>
                </a:lnTo>
                <a:lnTo>
                  <a:pt x="790408" y="273398"/>
                </a:lnTo>
                <a:lnTo>
                  <a:pt x="705848" y="269529"/>
                </a:lnTo>
                <a:lnTo>
                  <a:pt x="624588" y="264899"/>
                </a:lnTo>
                <a:lnTo>
                  <a:pt x="546926" y="259545"/>
                </a:lnTo>
                <a:lnTo>
                  <a:pt x="473158" y="253501"/>
                </a:lnTo>
                <a:lnTo>
                  <a:pt x="403582" y="246804"/>
                </a:lnTo>
                <a:lnTo>
                  <a:pt x="338496" y="239490"/>
                </a:lnTo>
                <a:lnTo>
                  <a:pt x="278197" y="231595"/>
                </a:lnTo>
                <a:lnTo>
                  <a:pt x="222982" y="223155"/>
                </a:lnTo>
                <a:lnTo>
                  <a:pt x="173150" y="214206"/>
                </a:lnTo>
                <a:lnTo>
                  <a:pt x="128996" y="204784"/>
                </a:lnTo>
                <a:lnTo>
                  <a:pt x="90820" y="194925"/>
                </a:lnTo>
                <a:lnTo>
                  <a:pt x="33587" y="174040"/>
                </a:lnTo>
                <a:lnTo>
                  <a:pt x="0" y="140335"/>
                </a:lnTo>
                <a:lnTo>
                  <a:pt x="3831" y="128830"/>
                </a:lnTo>
                <a:lnTo>
                  <a:pt x="15126" y="117580"/>
                </a:lnTo>
                <a:lnTo>
                  <a:pt x="58919" y="95991"/>
                </a:lnTo>
                <a:lnTo>
                  <a:pt x="128999" y="75858"/>
                </a:lnTo>
                <a:lnTo>
                  <a:pt x="173153" y="66427"/>
                </a:lnTo>
                <a:lnTo>
                  <a:pt x="222986" y="57470"/>
                </a:lnTo>
                <a:lnTo>
                  <a:pt x="278201" y="49020"/>
                </a:lnTo>
                <a:lnTo>
                  <a:pt x="338501" y="41116"/>
                </a:lnTo>
                <a:lnTo>
                  <a:pt x="403587" y="33792"/>
                </a:lnTo>
                <a:lnTo>
                  <a:pt x="473163" y="27086"/>
                </a:lnTo>
                <a:lnTo>
                  <a:pt x="546931" y="21033"/>
                </a:lnTo>
                <a:lnTo>
                  <a:pt x="624594" y="15670"/>
                </a:lnTo>
                <a:lnTo>
                  <a:pt x="705854" y="11033"/>
                </a:lnTo>
                <a:lnTo>
                  <a:pt x="790413" y="7157"/>
                </a:lnTo>
                <a:lnTo>
                  <a:pt x="877975" y="4080"/>
                </a:lnTo>
                <a:lnTo>
                  <a:pt x="968242" y="1837"/>
                </a:lnTo>
                <a:lnTo>
                  <a:pt x="1060916" y="465"/>
                </a:lnTo>
                <a:lnTo>
                  <a:pt x="1155700" y="0"/>
                </a:lnTo>
                <a:lnTo>
                  <a:pt x="1250488" y="465"/>
                </a:lnTo>
                <a:lnTo>
                  <a:pt x="1343166" y="1837"/>
                </a:lnTo>
                <a:lnTo>
                  <a:pt x="1433436" y="4080"/>
                </a:lnTo>
                <a:lnTo>
                  <a:pt x="1521000" y="7157"/>
                </a:lnTo>
                <a:lnTo>
                  <a:pt x="1605561" y="11033"/>
                </a:lnTo>
                <a:lnTo>
                  <a:pt x="1686822" y="15670"/>
                </a:lnTo>
                <a:lnTo>
                  <a:pt x="1764485" y="21033"/>
                </a:lnTo>
                <a:lnTo>
                  <a:pt x="1838252" y="27086"/>
                </a:lnTo>
                <a:lnTo>
                  <a:pt x="1907828" y="33792"/>
                </a:lnTo>
                <a:lnTo>
                  <a:pt x="1972913" y="41116"/>
                </a:lnTo>
                <a:lnTo>
                  <a:pt x="2033211" y="49020"/>
                </a:lnTo>
                <a:lnTo>
                  <a:pt x="2088424" y="57470"/>
                </a:lnTo>
                <a:lnTo>
                  <a:pt x="2138255" y="66427"/>
                </a:lnTo>
                <a:lnTo>
                  <a:pt x="2182407" y="75858"/>
                </a:lnTo>
                <a:lnTo>
                  <a:pt x="2220583" y="85725"/>
                </a:lnTo>
                <a:lnTo>
                  <a:pt x="2277813" y="106622"/>
                </a:lnTo>
                <a:lnTo>
                  <a:pt x="2311400" y="140335"/>
                </a:lnTo>
                <a:lnTo>
                  <a:pt x="2311400" y="1231315"/>
                </a:lnTo>
                <a:lnTo>
                  <a:pt x="2307569" y="1242822"/>
                </a:lnTo>
                <a:lnTo>
                  <a:pt x="2296274" y="1254072"/>
                </a:lnTo>
                <a:lnTo>
                  <a:pt x="2252484" y="1275658"/>
                </a:lnTo>
                <a:lnTo>
                  <a:pt x="2182407" y="1295787"/>
                </a:lnTo>
                <a:lnTo>
                  <a:pt x="2138255" y="1305214"/>
                </a:lnTo>
                <a:lnTo>
                  <a:pt x="2088424" y="1314168"/>
                </a:lnTo>
                <a:lnTo>
                  <a:pt x="2033211" y="1322613"/>
                </a:lnTo>
                <a:lnTo>
                  <a:pt x="1972913" y="1330513"/>
                </a:lnTo>
                <a:lnTo>
                  <a:pt x="1907828" y="1337833"/>
                </a:lnTo>
                <a:lnTo>
                  <a:pt x="1838252" y="1344534"/>
                </a:lnTo>
                <a:lnTo>
                  <a:pt x="1764485" y="1350583"/>
                </a:lnTo>
                <a:lnTo>
                  <a:pt x="1686822" y="1355942"/>
                </a:lnTo>
                <a:lnTo>
                  <a:pt x="1605561" y="1360576"/>
                </a:lnTo>
                <a:lnTo>
                  <a:pt x="1521000" y="1364448"/>
                </a:lnTo>
                <a:lnTo>
                  <a:pt x="1433436" y="1367523"/>
                </a:lnTo>
                <a:lnTo>
                  <a:pt x="1343166" y="1369764"/>
                </a:lnTo>
                <a:lnTo>
                  <a:pt x="1250488" y="1371135"/>
                </a:lnTo>
                <a:lnTo>
                  <a:pt x="1155700" y="1371600"/>
                </a:lnTo>
                <a:lnTo>
                  <a:pt x="1060914" y="1371135"/>
                </a:lnTo>
                <a:lnTo>
                  <a:pt x="968239" y="1369764"/>
                </a:lnTo>
                <a:lnTo>
                  <a:pt x="877971" y="1367523"/>
                </a:lnTo>
                <a:lnTo>
                  <a:pt x="790408" y="1364448"/>
                </a:lnTo>
                <a:lnTo>
                  <a:pt x="705848" y="1360576"/>
                </a:lnTo>
                <a:lnTo>
                  <a:pt x="624588" y="1355942"/>
                </a:lnTo>
                <a:lnTo>
                  <a:pt x="546926" y="1350583"/>
                </a:lnTo>
                <a:lnTo>
                  <a:pt x="473158" y="1344534"/>
                </a:lnTo>
                <a:lnTo>
                  <a:pt x="403582" y="1337833"/>
                </a:lnTo>
                <a:lnTo>
                  <a:pt x="338496" y="1330513"/>
                </a:lnTo>
                <a:lnTo>
                  <a:pt x="278197" y="1322613"/>
                </a:lnTo>
                <a:lnTo>
                  <a:pt x="222982" y="1314168"/>
                </a:lnTo>
                <a:lnTo>
                  <a:pt x="173150" y="1305214"/>
                </a:lnTo>
                <a:lnTo>
                  <a:pt x="128996" y="1295787"/>
                </a:lnTo>
                <a:lnTo>
                  <a:pt x="90820" y="1285923"/>
                </a:lnTo>
                <a:lnTo>
                  <a:pt x="33587" y="1265029"/>
                </a:lnTo>
                <a:lnTo>
                  <a:pt x="0" y="1231315"/>
                </a:lnTo>
                <a:lnTo>
                  <a:pt x="0" y="140335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1289305" y="4628389"/>
            <a:ext cx="379476" cy="41757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89" name="object 89"/>
          <p:cNvSpPr/>
          <p:nvPr/>
        </p:nvSpPr>
        <p:spPr>
          <a:xfrm>
            <a:off x="1371220" y="4669663"/>
            <a:ext cx="215519" cy="283337"/>
          </a:xfrm>
          <a:custGeom>
            <a:avLst/>
            <a:gdLst/>
            <a:ahLst/>
            <a:cxnLst/>
            <a:rect l="l" t="t" r="r" b="b"/>
            <a:pathLst>
              <a:path w="215519" h="283337">
                <a:moveTo>
                  <a:pt x="107822" y="283337"/>
                </a:moveTo>
                <a:lnTo>
                  <a:pt x="215519" y="146812"/>
                </a:lnTo>
                <a:lnTo>
                  <a:pt x="161671" y="146812"/>
                </a:lnTo>
                <a:lnTo>
                  <a:pt x="161671" y="0"/>
                </a:lnTo>
                <a:lnTo>
                  <a:pt x="53975" y="0"/>
                </a:lnTo>
                <a:lnTo>
                  <a:pt x="53975" y="146812"/>
                </a:lnTo>
                <a:lnTo>
                  <a:pt x="0" y="146812"/>
                </a:lnTo>
                <a:lnTo>
                  <a:pt x="107822" y="283337"/>
                </a:lnTo>
                <a:close/>
              </a:path>
            </a:pathLst>
          </a:custGeom>
          <a:solidFill>
            <a:srgbClr val="B7BD16"/>
          </a:solid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90" name="object 90"/>
          <p:cNvSpPr/>
          <p:nvPr/>
        </p:nvSpPr>
        <p:spPr>
          <a:xfrm>
            <a:off x="1371220" y="4669663"/>
            <a:ext cx="215519" cy="283337"/>
          </a:xfrm>
          <a:custGeom>
            <a:avLst/>
            <a:gdLst/>
            <a:ahLst/>
            <a:cxnLst/>
            <a:rect l="l" t="t" r="r" b="b"/>
            <a:pathLst>
              <a:path w="215519" h="283337">
                <a:moveTo>
                  <a:pt x="0" y="146812"/>
                </a:moveTo>
                <a:lnTo>
                  <a:pt x="53975" y="146812"/>
                </a:lnTo>
                <a:lnTo>
                  <a:pt x="53975" y="0"/>
                </a:lnTo>
                <a:lnTo>
                  <a:pt x="161671" y="0"/>
                </a:lnTo>
                <a:lnTo>
                  <a:pt x="161671" y="146812"/>
                </a:lnTo>
                <a:lnTo>
                  <a:pt x="215519" y="146812"/>
                </a:lnTo>
                <a:lnTo>
                  <a:pt x="107822" y="283337"/>
                </a:lnTo>
                <a:lnTo>
                  <a:pt x="0" y="146812"/>
                </a:lnTo>
                <a:close/>
              </a:path>
            </a:pathLst>
          </a:custGeom>
          <a:ln w="38099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91" name="object 91"/>
          <p:cNvSpPr/>
          <p:nvPr/>
        </p:nvSpPr>
        <p:spPr>
          <a:xfrm>
            <a:off x="1295401" y="3980689"/>
            <a:ext cx="367284" cy="54101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2" name="object 92"/>
          <p:cNvSpPr/>
          <p:nvPr/>
        </p:nvSpPr>
        <p:spPr>
          <a:xfrm>
            <a:off x="1371220" y="4021964"/>
            <a:ext cx="215519" cy="397637"/>
          </a:xfrm>
          <a:custGeom>
            <a:avLst/>
            <a:gdLst/>
            <a:ahLst/>
            <a:cxnLst/>
            <a:rect l="l" t="t" r="r" b="b"/>
            <a:pathLst>
              <a:path w="215519" h="397637">
                <a:moveTo>
                  <a:pt x="107822" y="397637"/>
                </a:moveTo>
                <a:lnTo>
                  <a:pt x="215519" y="205994"/>
                </a:lnTo>
                <a:lnTo>
                  <a:pt x="161671" y="205994"/>
                </a:lnTo>
                <a:lnTo>
                  <a:pt x="161671" y="0"/>
                </a:lnTo>
                <a:lnTo>
                  <a:pt x="53975" y="0"/>
                </a:lnTo>
                <a:lnTo>
                  <a:pt x="53975" y="205994"/>
                </a:lnTo>
                <a:lnTo>
                  <a:pt x="0" y="205994"/>
                </a:lnTo>
                <a:lnTo>
                  <a:pt x="107822" y="397637"/>
                </a:lnTo>
                <a:close/>
              </a:path>
            </a:pathLst>
          </a:custGeom>
          <a:solidFill>
            <a:srgbClr val="B7BD1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1371220" y="4021964"/>
            <a:ext cx="215519" cy="397637"/>
          </a:xfrm>
          <a:custGeom>
            <a:avLst/>
            <a:gdLst/>
            <a:ahLst/>
            <a:cxnLst/>
            <a:rect l="l" t="t" r="r" b="b"/>
            <a:pathLst>
              <a:path w="215519" h="397637">
                <a:moveTo>
                  <a:pt x="0" y="205994"/>
                </a:moveTo>
                <a:lnTo>
                  <a:pt x="53975" y="205994"/>
                </a:lnTo>
                <a:lnTo>
                  <a:pt x="53975" y="0"/>
                </a:lnTo>
                <a:lnTo>
                  <a:pt x="161671" y="0"/>
                </a:lnTo>
                <a:lnTo>
                  <a:pt x="161671" y="205994"/>
                </a:lnTo>
                <a:lnTo>
                  <a:pt x="215519" y="205994"/>
                </a:lnTo>
                <a:lnTo>
                  <a:pt x="107822" y="397637"/>
                </a:lnTo>
                <a:lnTo>
                  <a:pt x="0" y="205994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4" name="object 94"/>
          <p:cNvSpPr/>
          <p:nvPr/>
        </p:nvSpPr>
        <p:spPr>
          <a:xfrm>
            <a:off x="463295" y="4395216"/>
            <a:ext cx="1978153" cy="43281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95" name="object 95"/>
          <p:cNvSpPr/>
          <p:nvPr/>
        </p:nvSpPr>
        <p:spPr>
          <a:xfrm>
            <a:off x="511352" y="4419536"/>
            <a:ext cx="1882648" cy="338137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96" name="object 96"/>
          <p:cNvSpPr/>
          <p:nvPr/>
        </p:nvSpPr>
        <p:spPr>
          <a:xfrm>
            <a:off x="511352" y="4419536"/>
            <a:ext cx="1882648" cy="338137"/>
          </a:xfrm>
          <a:custGeom>
            <a:avLst/>
            <a:gdLst/>
            <a:ahLst/>
            <a:cxnLst/>
            <a:rect l="l" t="t" r="r" b="b"/>
            <a:pathLst>
              <a:path w="1882648" h="338137">
                <a:moveTo>
                  <a:pt x="0" y="338137"/>
                </a:moveTo>
                <a:lnTo>
                  <a:pt x="1882648" y="338137"/>
                </a:lnTo>
                <a:lnTo>
                  <a:pt x="1882648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97" name="object 97"/>
          <p:cNvSpPr/>
          <p:nvPr/>
        </p:nvSpPr>
        <p:spPr>
          <a:xfrm>
            <a:off x="696468" y="5544312"/>
            <a:ext cx="818388" cy="35661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98" name="object 98"/>
          <p:cNvSpPr/>
          <p:nvPr/>
        </p:nvSpPr>
        <p:spPr>
          <a:xfrm>
            <a:off x="710184" y="5553456"/>
            <a:ext cx="694944" cy="294131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744119" y="5571172"/>
            <a:ext cx="724065" cy="261874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100" name="object 100"/>
          <p:cNvSpPr/>
          <p:nvPr/>
        </p:nvSpPr>
        <p:spPr>
          <a:xfrm>
            <a:off x="744119" y="5571172"/>
            <a:ext cx="724065" cy="261874"/>
          </a:xfrm>
          <a:custGeom>
            <a:avLst/>
            <a:gdLst/>
            <a:ahLst/>
            <a:cxnLst/>
            <a:rect l="l" t="t" r="r" b="b"/>
            <a:pathLst>
              <a:path w="724065" h="261874">
                <a:moveTo>
                  <a:pt x="0" y="261873"/>
                </a:moveTo>
                <a:lnTo>
                  <a:pt x="724065" y="261873"/>
                </a:lnTo>
                <a:lnTo>
                  <a:pt x="724065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101" name="object 101"/>
          <p:cNvSpPr/>
          <p:nvPr/>
        </p:nvSpPr>
        <p:spPr>
          <a:xfrm>
            <a:off x="1440180" y="5535169"/>
            <a:ext cx="1002793" cy="35661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102" name="object 102"/>
          <p:cNvSpPr/>
          <p:nvPr/>
        </p:nvSpPr>
        <p:spPr>
          <a:xfrm>
            <a:off x="1452373" y="5544313"/>
            <a:ext cx="874776" cy="29413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103" name="object 103"/>
          <p:cNvSpPr/>
          <p:nvPr/>
        </p:nvSpPr>
        <p:spPr>
          <a:xfrm>
            <a:off x="1486915" y="5562587"/>
            <a:ext cx="909104" cy="261874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104" name="object 104"/>
          <p:cNvSpPr/>
          <p:nvPr/>
        </p:nvSpPr>
        <p:spPr>
          <a:xfrm>
            <a:off x="1486915" y="5562587"/>
            <a:ext cx="909104" cy="261874"/>
          </a:xfrm>
          <a:custGeom>
            <a:avLst/>
            <a:gdLst/>
            <a:ahLst/>
            <a:cxnLst/>
            <a:rect l="l" t="t" r="r" b="b"/>
            <a:pathLst>
              <a:path w="909104" h="261874">
                <a:moveTo>
                  <a:pt x="0" y="261873"/>
                </a:moveTo>
                <a:lnTo>
                  <a:pt x="909104" y="261873"/>
                </a:lnTo>
                <a:lnTo>
                  <a:pt x="909104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105" name="object 105"/>
          <p:cNvSpPr/>
          <p:nvPr/>
        </p:nvSpPr>
        <p:spPr>
          <a:xfrm>
            <a:off x="283464" y="5544312"/>
            <a:ext cx="438912" cy="356616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106" name="object 106"/>
          <p:cNvSpPr/>
          <p:nvPr/>
        </p:nvSpPr>
        <p:spPr>
          <a:xfrm>
            <a:off x="297180" y="5553456"/>
            <a:ext cx="438912" cy="294131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107" name="object 107"/>
          <p:cNvSpPr/>
          <p:nvPr/>
        </p:nvSpPr>
        <p:spPr>
          <a:xfrm>
            <a:off x="331127" y="5571172"/>
            <a:ext cx="343255" cy="261874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108" name="object 108"/>
          <p:cNvSpPr/>
          <p:nvPr/>
        </p:nvSpPr>
        <p:spPr>
          <a:xfrm>
            <a:off x="331127" y="5571172"/>
            <a:ext cx="343255" cy="261874"/>
          </a:xfrm>
          <a:custGeom>
            <a:avLst/>
            <a:gdLst/>
            <a:ahLst/>
            <a:cxnLst/>
            <a:rect l="l" t="t" r="r" b="b"/>
            <a:pathLst>
              <a:path w="343255" h="261874">
                <a:moveTo>
                  <a:pt x="0" y="261873"/>
                </a:moveTo>
                <a:lnTo>
                  <a:pt x="343255" y="261873"/>
                </a:lnTo>
                <a:lnTo>
                  <a:pt x="343255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109" name="object 109"/>
          <p:cNvSpPr/>
          <p:nvPr/>
        </p:nvSpPr>
        <p:spPr>
          <a:xfrm>
            <a:off x="365759" y="3858768"/>
            <a:ext cx="8674609" cy="399288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412751" y="3886200"/>
            <a:ext cx="8580629" cy="304800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1" name="object 111"/>
          <p:cNvSpPr/>
          <p:nvPr/>
        </p:nvSpPr>
        <p:spPr>
          <a:xfrm>
            <a:off x="412751" y="3886200"/>
            <a:ext cx="8580629" cy="304800"/>
          </a:xfrm>
          <a:custGeom>
            <a:avLst/>
            <a:gdLst/>
            <a:ahLst/>
            <a:cxnLst/>
            <a:rect l="l" t="t" r="r" b="b"/>
            <a:pathLst>
              <a:path w="8580628" h="304800">
                <a:moveTo>
                  <a:pt x="0" y="304800"/>
                </a:moveTo>
                <a:lnTo>
                  <a:pt x="8580628" y="304800"/>
                </a:lnTo>
                <a:lnTo>
                  <a:pt x="8580628" y="0"/>
                </a:lnTo>
                <a:lnTo>
                  <a:pt x="0" y="0"/>
                </a:lnTo>
                <a:lnTo>
                  <a:pt x="0" y="304800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7" name="object 77"/>
          <p:cNvSpPr/>
          <p:nvPr/>
        </p:nvSpPr>
        <p:spPr>
          <a:xfrm>
            <a:off x="7346950" y="4876800"/>
            <a:ext cx="2311399" cy="1143000"/>
          </a:xfrm>
          <a:custGeom>
            <a:avLst/>
            <a:gdLst/>
            <a:ahLst/>
            <a:cxnLst/>
            <a:rect l="l" t="t" r="r" b="b"/>
            <a:pathLst>
              <a:path w="2311400" h="1143000">
                <a:moveTo>
                  <a:pt x="2311400" y="116839"/>
                </a:moveTo>
                <a:lnTo>
                  <a:pt x="2277813" y="144962"/>
                </a:lnTo>
                <a:lnTo>
                  <a:pt x="2220583" y="162387"/>
                </a:lnTo>
                <a:lnTo>
                  <a:pt x="2182407" y="170612"/>
                </a:lnTo>
                <a:lnTo>
                  <a:pt x="2138255" y="178472"/>
                </a:lnTo>
                <a:lnTo>
                  <a:pt x="2088424" y="185938"/>
                </a:lnTo>
                <a:lnTo>
                  <a:pt x="2033211" y="192978"/>
                </a:lnTo>
                <a:lnTo>
                  <a:pt x="1972913" y="199564"/>
                </a:lnTo>
                <a:lnTo>
                  <a:pt x="1907828" y="205665"/>
                </a:lnTo>
                <a:lnTo>
                  <a:pt x="1838252" y="211251"/>
                </a:lnTo>
                <a:lnTo>
                  <a:pt x="1764485" y="216293"/>
                </a:lnTo>
                <a:lnTo>
                  <a:pt x="1686822" y="220759"/>
                </a:lnTo>
                <a:lnTo>
                  <a:pt x="1605561" y="224621"/>
                </a:lnTo>
                <a:lnTo>
                  <a:pt x="1521000" y="227848"/>
                </a:lnTo>
                <a:lnTo>
                  <a:pt x="1433436" y="230410"/>
                </a:lnTo>
                <a:lnTo>
                  <a:pt x="1343166" y="232277"/>
                </a:lnTo>
                <a:lnTo>
                  <a:pt x="1250488" y="233419"/>
                </a:lnTo>
                <a:lnTo>
                  <a:pt x="1155700" y="233806"/>
                </a:lnTo>
                <a:lnTo>
                  <a:pt x="1060911" y="233419"/>
                </a:lnTo>
                <a:lnTo>
                  <a:pt x="968233" y="232277"/>
                </a:lnTo>
                <a:lnTo>
                  <a:pt x="877963" y="230410"/>
                </a:lnTo>
                <a:lnTo>
                  <a:pt x="790399" y="227848"/>
                </a:lnTo>
                <a:lnTo>
                  <a:pt x="705838" y="224621"/>
                </a:lnTo>
                <a:lnTo>
                  <a:pt x="624577" y="220759"/>
                </a:lnTo>
                <a:lnTo>
                  <a:pt x="546914" y="216293"/>
                </a:lnTo>
                <a:lnTo>
                  <a:pt x="473147" y="211251"/>
                </a:lnTo>
                <a:lnTo>
                  <a:pt x="403571" y="205665"/>
                </a:lnTo>
                <a:lnTo>
                  <a:pt x="338486" y="199564"/>
                </a:lnTo>
                <a:lnTo>
                  <a:pt x="278188" y="192978"/>
                </a:lnTo>
                <a:lnTo>
                  <a:pt x="222975" y="185938"/>
                </a:lnTo>
                <a:lnTo>
                  <a:pt x="173144" y="178472"/>
                </a:lnTo>
                <a:lnTo>
                  <a:pt x="128992" y="170612"/>
                </a:lnTo>
                <a:lnTo>
                  <a:pt x="90816" y="162387"/>
                </a:lnTo>
                <a:lnTo>
                  <a:pt x="33586" y="144962"/>
                </a:lnTo>
                <a:lnTo>
                  <a:pt x="0" y="116839"/>
                </a:lnTo>
                <a:lnTo>
                  <a:pt x="3830" y="107259"/>
                </a:lnTo>
                <a:lnTo>
                  <a:pt x="15125" y="97891"/>
                </a:lnTo>
                <a:lnTo>
                  <a:pt x="58915" y="79914"/>
                </a:lnTo>
                <a:lnTo>
                  <a:pt x="128992" y="63151"/>
                </a:lnTo>
                <a:lnTo>
                  <a:pt x="173144" y="55299"/>
                </a:lnTo>
                <a:lnTo>
                  <a:pt x="222975" y="47841"/>
                </a:lnTo>
                <a:lnTo>
                  <a:pt x="278188" y="40807"/>
                </a:lnTo>
                <a:lnTo>
                  <a:pt x="338486" y="34226"/>
                </a:lnTo>
                <a:lnTo>
                  <a:pt x="403571" y="28129"/>
                </a:lnTo>
                <a:lnTo>
                  <a:pt x="473147" y="22547"/>
                </a:lnTo>
                <a:lnTo>
                  <a:pt x="546914" y="17508"/>
                </a:lnTo>
                <a:lnTo>
                  <a:pt x="624577" y="13043"/>
                </a:lnTo>
                <a:lnTo>
                  <a:pt x="705838" y="9183"/>
                </a:lnTo>
                <a:lnTo>
                  <a:pt x="790399" y="5957"/>
                </a:lnTo>
                <a:lnTo>
                  <a:pt x="877963" y="3396"/>
                </a:lnTo>
                <a:lnTo>
                  <a:pt x="968233" y="1529"/>
                </a:lnTo>
                <a:lnTo>
                  <a:pt x="1060911" y="387"/>
                </a:lnTo>
                <a:lnTo>
                  <a:pt x="1155700" y="0"/>
                </a:lnTo>
                <a:lnTo>
                  <a:pt x="1250488" y="387"/>
                </a:lnTo>
                <a:lnTo>
                  <a:pt x="1343166" y="1529"/>
                </a:lnTo>
                <a:lnTo>
                  <a:pt x="1433436" y="3396"/>
                </a:lnTo>
                <a:lnTo>
                  <a:pt x="1521000" y="5957"/>
                </a:lnTo>
                <a:lnTo>
                  <a:pt x="1605561" y="9183"/>
                </a:lnTo>
                <a:lnTo>
                  <a:pt x="1686822" y="13043"/>
                </a:lnTo>
                <a:lnTo>
                  <a:pt x="1764485" y="17508"/>
                </a:lnTo>
                <a:lnTo>
                  <a:pt x="1838252" y="22547"/>
                </a:lnTo>
                <a:lnTo>
                  <a:pt x="1907828" y="28129"/>
                </a:lnTo>
                <a:lnTo>
                  <a:pt x="1972913" y="34226"/>
                </a:lnTo>
                <a:lnTo>
                  <a:pt x="2033211" y="40807"/>
                </a:lnTo>
                <a:lnTo>
                  <a:pt x="2088424" y="47841"/>
                </a:lnTo>
                <a:lnTo>
                  <a:pt x="2138255" y="55299"/>
                </a:lnTo>
                <a:lnTo>
                  <a:pt x="2182407" y="63151"/>
                </a:lnTo>
                <a:lnTo>
                  <a:pt x="2220583" y="71366"/>
                </a:lnTo>
                <a:lnTo>
                  <a:pt x="2277813" y="88766"/>
                </a:lnTo>
                <a:lnTo>
                  <a:pt x="2311400" y="116839"/>
                </a:lnTo>
                <a:lnTo>
                  <a:pt x="2311400" y="1026096"/>
                </a:lnTo>
                <a:lnTo>
                  <a:pt x="2307569" y="1035684"/>
                </a:lnTo>
                <a:lnTo>
                  <a:pt x="2296274" y="1045059"/>
                </a:lnTo>
                <a:lnTo>
                  <a:pt x="2252484" y="1063048"/>
                </a:lnTo>
                <a:lnTo>
                  <a:pt x="2182407" y="1079821"/>
                </a:lnTo>
                <a:lnTo>
                  <a:pt x="2138255" y="1087677"/>
                </a:lnTo>
                <a:lnTo>
                  <a:pt x="2088424" y="1095139"/>
                </a:lnTo>
                <a:lnTo>
                  <a:pt x="2033211" y="1102177"/>
                </a:lnTo>
                <a:lnTo>
                  <a:pt x="1972913" y="1108760"/>
                </a:lnTo>
                <a:lnTo>
                  <a:pt x="1907828" y="1114860"/>
                </a:lnTo>
                <a:lnTo>
                  <a:pt x="1838252" y="1120445"/>
                </a:lnTo>
                <a:lnTo>
                  <a:pt x="1764485" y="1125485"/>
                </a:lnTo>
                <a:lnTo>
                  <a:pt x="1686822" y="1129951"/>
                </a:lnTo>
                <a:lnTo>
                  <a:pt x="1605561" y="1133813"/>
                </a:lnTo>
                <a:lnTo>
                  <a:pt x="1521000" y="1137040"/>
                </a:lnTo>
                <a:lnTo>
                  <a:pt x="1433436" y="1139602"/>
                </a:lnTo>
                <a:lnTo>
                  <a:pt x="1343166" y="1141470"/>
                </a:lnTo>
                <a:lnTo>
                  <a:pt x="1250488" y="1142612"/>
                </a:lnTo>
                <a:lnTo>
                  <a:pt x="1155700" y="1143000"/>
                </a:lnTo>
                <a:lnTo>
                  <a:pt x="1060911" y="1142612"/>
                </a:lnTo>
                <a:lnTo>
                  <a:pt x="968233" y="1141470"/>
                </a:lnTo>
                <a:lnTo>
                  <a:pt x="877963" y="1139602"/>
                </a:lnTo>
                <a:lnTo>
                  <a:pt x="790399" y="1137040"/>
                </a:lnTo>
                <a:lnTo>
                  <a:pt x="705838" y="1133813"/>
                </a:lnTo>
                <a:lnTo>
                  <a:pt x="624577" y="1129951"/>
                </a:lnTo>
                <a:lnTo>
                  <a:pt x="546914" y="1125485"/>
                </a:lnTo>
                <a:lnTo>
                  <a:pt x="473147" y="1120445"/>
                </a:lnTo>
                <a:lnTo>
                  <a:pt x="403571" y="1114860"/>
                </a:lnTo>
                <a:lnTo>
                  <a:pt x="338486" y="1108760"/>
                </a:lnTo>
                <a:lnTo>
                  <a:pt x="278188" y="1102177"/>
                </a:lnTo>
                <a:lnTo>
                  <a:pt x="222975" y="1095139"/>
                </a:lnTo>
                <a:lnTo>
                  <a:pt x="173144" y="1087677"/>
                </a:lnTo>
                <a:lnTo>
                  <a:pt x="128992" y="1079821"/>
                </a:lnTo>
                <a:lnTo>
                  <a:pt x="90816" y="1071601"/>
                </a:lnTo>
                <a:lnTo>
                  <a:pt x="33586" y="1054190"/>
                </a:lnTo>
                <a:lnTo>
                  <a:pt x="0" y="1026096"/>
                </a:lnTo>
                <a:lnTo>
                  <a:pt x="0" y="116839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76" name="object 76"/>
          <p:cNvSpPr/>
          <p:nvPr/>
        </p:nvSpPr>
        <p:spPr>
          <a:xfrm>
            <a:off x="4953001" y="4876800"/>
            <a:ext cx="2311399" cy="1371600"/>
          </a:xfrm>
          <a:custGeom>
            <a:avLst/>
            <a:gdLst/>
            <a:ahLst/>
            <a:cxnLst/>
            <a:rect l="l" t="t" r="r" b="b"/>
            <a:pathLst>
              <a:path w="2311400" h="1371600">
                <a:moveTo>
                  <a:pt x="2311400" y="140335"/>
                </a:moveTo>
                <a:lnTo>
                  <a:pt x="2277813" y="174040"/>
                </a:lnTo>
                <a:lnTo>
                  <a:pt x="2220583" y="194925"/>
                </a:lnTo>
                <a:lnTo>
                  <a:pt x="2182407" y="204784"/>
                </a:lnTo>
                <a:lnTo>
                  <a:pt x="2138255" y="214206"/>
                </a:lnTo>
                <a:lnTo>
                  <a:pt x="2088424" y="223155"/>
                </a:lnTo>
                <a:lnTo>
                  <a:pt x="2033211" y="231595"/>
                </a:lnTo>
                <a:lnTo>
                  <a:pt x="1972913" y="239490"/>
                </a:lnTo>
                <a:lnTo>
                  <a:pt x="1907828" y="246804"/>
                </a:lnTo>
                <a:lnTo>
                  <a:pt x="1838252" y="253501"/>
                </a:lnTo>
                <a:lnTo>
                  <a:pt x="1764485" y="259545"/>
                </a:lnTo>
                <a:lnTo>
                  <a:pt x="1686822" y="264899"/>
                </a:lnTo>
                <a:lnTo>
                  <a:pt x="1605561" y="269529"/>
                </a:lnTo>
                <a:lnTo>
                  <a:pt x="1521000" y="273398"/>
                </a:lnTo>
                <a:lnTo>
                  <a:pt x="1433436" y="276470"/>
                </a:lnTo>
                <a:lnTo>
                  <a:pt x="1343166" y="278708"/>
                </a:lnTo>
                <a:lnTo>
                  <a:pt x="1250488" y="280078"/>
                </a:lnTo>
                <a:lnTo>
                  <a:pt x="1155700" y="280543"/>
                </a:lnTo>
                <a:lnTo>
                  <a:pt x="1060911" y="280078"/>
                </a:lnTo>
                <a:lnTo>
                  <a:pt x="968233" y="278708"/>
                </a:lnTo>
                <a:lnTo>
                  <a:pt x="877963" y="276470"/>
                </a:lnTo>
                <a:lnTo>
                  <a:pt x="790399" y="273398"/>
                </a:lnTo>
                <a:lnTo>
                  <a:pt x="705838" y="269529"/>
                </a:lnTo>
                <a:lnTo>
                  <a:pt x="624577" y="264899"/>
                </a:lnTo>
                <a:lnTo>
                  <a:pt x="546914" y="259545"/>
                </a:lnTo>
                <a:lnTo>
                  <a:pt x="473147" y="253501"/>
                </a:lnTo>
                <a:lnTo>
                  <a:pt x="403571" y="246804"/>
                </a:lnTo>
                <a:lnTo>
                  <a:pt x="338486" y="239490"/>
                </a:lnTo>
                <a:lnTo>
                  <a:pt x="278188" y="231595"/>
                </a:lnTo>
                <a:lnTo>
                  <a:pt x="222975" y="223155"/>
                </a:lnTo>
                <a:lnTo>
                  <a:pt x="173144" y="214206"/>
                </a:lnTo>
                <a:lnTo>
                  <a:pt x="128992" y="204784"/>
                </a:lnTo>
                <a:lnTo>
                  <a:pt x="90816" y="194925"/>
                </a:lnTo>
                <a:lnTo>
                  <a:pt x="33586" y="174040"/>
                </a:lnTo>
                <a:lnTo>
                  <a:pt x="0" y="140335"/>
                </a:lnTo>
                <a:lnTo>
                  <a:pt x="3830" y="128830"/>
                </a:lnTo>
                <a:lnTo>
                  <a:pt x="15125" y="117580"/>
                </a:lnTo>
                <a:lnTo>
                  <a:pt x="58915" y="95991"/>
                </a:lnTo>
                <a:lnTo>
                  <a:pt x="128992" y="75858"/>
                </a:lnTo>
                <a:lnTo>
                  <a:pt x="173144" y="66427"/>
                </a:lnTo>
                <a:lnTo>
                  <a:pt x="222975" y="57470"/>
                </a:lnTo>
                <a:lnTo>
                  <a:pt x="278188" y="49020"/>
                </a:lnTo>
                <a:lnTo>
                  <a:pt x="338486" y="41116"/>
                </a:lnTo>
                <a:lnTo>
                  <a:pt x="403571" y="33792"/>
                </a:lnTo>
                <a:lnTo>
                  <a:pt x="473147" y="27086"/>
                </a:lnTo>
                <a:lnTo>
                  <a:pt x="546914" y="21033"/>
                </a:lnTo>
                <a:lnTo>
                  <a:pt x="624577" y="15670"/>
                </a:lnTo>
                <a:lnTo>
                  <a:pt x="705838" y="11033"/>
                </a:lnTo>
                <a:lnTo>
                  <a:pt x="790399" y="7157"/>
                </a:lnTo>
                <a:lnTo>
                  <a:pt x="877963" y="4080"/>
                </a:lnTo>
                <a:lnTo>
                  <a:pt x="968233" y="1837"/>
                </a:lnTo>
                <a:lnTo>
                  <a:pt x="1060911" y="465"/>
                </a:lnTo>
                <a:lnTo>
                  <a:pt x="1155700" y="0"/>
                </a:lnTo>
                <a:lnTo>
                  <a:pt x="1250488" y="465"/>
                </a:lnTo>
                <a:lnTo>
                  <a:pt x="1343166" y="1837"/>
                </a:lnTo>
                <a:lnTo>
                  <a:pt x="1433436" y="4080"/>
                </a:lnTo>
                <a:lnTo>
                  <a:pt x="1521000" y="7157"/>
                </a:lnTo>
                <a:lnTo>
                  <a:pt x="1605561" y="11033"/>
                </a:lnTo>
                <a:lnTo>
                  <a:pt x="1686822" y="15670"/>
                </a:lnTo>
                <a:lnTo>
                  <a:pt x="1764485" y="21033"/>
                </a:lnTo>
                <a:lnTo>
                  <a:pt x="1838252" y="27086"/>
                </a:lnTo>
                <a:lnTo>
                  <a:pt x="1907828" y="33792"/>
                </a:lnTo>
                <a:lnTo>
                  <a:pt x="1972913" y="41116"/>
                </a:lnTo>
                <a:lnTo>
                  <a:pt x="2033211" y="49020"/>
                </a:lnTo>
                <a:lnTo>
                  <a:pt x="2088424" y="57470"/>
                </a:lnTo>
                <a:lnTo>
                  <a:pt x="2138255" y="66427"/>
                </a:lnTo>
                <a:lnTo>
                  <a:pt x="2182407" y="75858"/>
                </a:lnTo>
                <a:lnTo>
                  <a:pt x="2220583" y="85725"/>
                </a:lnTo>
                <a:lnTo>
                  <a:pt x="2277813" y="106622"/>
                </a:lnTo>
                <a:lnTo>
                  <a:pt x="2311400" y="140335"/>
                </a:lnTo>
                <a:lnTo>
                  <a:pt x="2311400" y="1231315"/>
                </a:lnTo>
                <a:lnTo>
                  <a:pt x="2307569" y="1242822"/>
                </a:lnTo>
                <a:lnTo>
                  <a:pt x="2296274" y="1254072"/>
                </a:lnTo>
                <a:lnTo>
                  <a:pt x="2252484" y="1275658"/>
                </a:lnTo>
                <a:lnTo>
                  <a:pt x="2182407" y="1295787"/>
                </a:lnTo>
                <a:lnTo>
                  <a:pt x="2138255" y="1305214"/>
                </a:lnTo>
                <a:lnTo>
                  <a:pt x="2088424" y="1314168"/>
                </a:lnTo>
                <a:lnTo>
                  <a:pt x="2033211" y="1322613"/>
                </a:lnTo>
                <a:lnTo>
                  <a:pt x="1972913" y="1330513"/>
                </a:lnTo>
                <a:lnTo>
                  <a:pt x="1907828" y="1337833"/>
                </a:lnTo>
                <a:lnTo>
                  <a:pt x="1838252" y="1344534"/>
                </a:lnTo>
                <a:lnTo>
                  <a:pt x="1764485" y="1350583"/>
                </a:lnTo>
                <a:lnTo>
                  <a:pt x="1686822" y="1355942"/>
                </a:lnTo>
                <a:lnTo>
                  <a:pt x="1605561" y="1360576"/>
                </a:lnTo>
                <a:lnTo>
                  <a:pt x="1521000" y="1364448"/>
                </a:lnTo>
                <a:lnTo>
                  <a:pt x="1433436" y="1367523"/>
                </a:lnTo>
                <a:lnTo>
                  <a:pt x="1343166" y="1369764"/>
                </a:lnTo>
                <a:lnTo>
                  <a:pt x="1250488" y="1371135"/>
                </a:lnTo>
                <a:lnTo>
                  <a:pt x="1155700" y="1371600"/>
                </a:lnTo>
                <a:lnTo>
                  <a:pt x="1060911" y="1371135"/>
                </a:lnTo>
                <a:lnTo>
                  <a:pt x="968233" y="1369764"/>
                </a:lnTo>
                <a:lnTo>
                  <a:pt x="877963" y="1367523"/>
                </a:lnTo>
                <a:lnTo>
                  <a:pt x="790399" y="1364448"/>
                </a:lnTo>
                <a:lnTo>
                  <a:pt x="705838" y="1360576"/>
                </a:lnTo>
                <a:lnTo>
                  <a:pt x="624577" y="1355942"/>
                </a:lnTo>
                <a:lnTo>
                  <a:pt x="546914" y="1350583"/>
                </a:lnTo>
                <a:lnTo>
                  <a:pt x="473147" y="1344534"/>
                </a:lnTo>
                <a:lnTo>
                  <a:pt x="403571" y="1337833"/>
                </a:lnTo>
                <a:lnTo>
                  <a:pt x="338486" y="1330513"/>
                </a:lnTo>
                <a:lnTo>
                  <a:pt x="278188" y="1322613"/>
                </a:lnTo>
                <a:lnTo>
                  <a:pt x="222975" y="1314168"/>
                </a:lnTo>
                <a:lnTo>
                  <a:pt x="173144" y="1305214"/>
                </a:lnTo>
                <a:lnTo>
                  <a:pt x="128992" y="1295787"/>
                </a:lnTo>
                <a:lnTo>
                  <a:pt x="90816" y="1285923"/>
                </a:lnTo>
                <a:lnTo>
                  <a:pt x="33586" y="1265029"/>
                </a:lnTo>
                <a:lnTo>
                  <a:pt x="0" y="1231315"/>
                </a:lnTo>
                <a:lnTo>
                  <a:pt x="0" y="140335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72" name="object 72"/>
          <p:cNvSpPr/>
          <p:nvPr/>
        </p:nvSpPr>
        <p:spPr>
          <a:xfrm>
            <a:off x="2559050" y="4876800"/>
            <a:ext cx="2311399" cy="1371600"/>
          </a:xfrm>
          <a:custGeom>
            <a:avLst/>
            <a:gdLst/>
            <a:ahLst/>
            <a:cxnLst/>
            <a:rect l="l" t="t" r="r" b="b"/>
            <a:pathLst>
              <a:path w="2311400" h="1371600">
                <a:moveTo>
                  <a:pt x="2311400" y="140335"/>
                </a:moveTo>
                <a:lnTo>
                  <a:pt x="2277813" y="174040"/>
                </a:lnTo>
                <a:lnTo>
                  <a:pt x="2220583" y="194925"/>
                </a:lnTo>
                <a:lnTo>
                  <a:pt x="2182407" y="204784"/>
                </a:lnTo>
                <a:lnTo>
                  <a:pt x="2138255" y="214206"/>
                </a:lnTo>
                <a:lnTo>
                  <a:pt x="2088424" y="223155"/>
                </a:lnTo>
                <a:lnTo>
                  <a:pt x="2033211" y="231595"/>
                </a:lnTo>
                <a:lnTo>
                  <a:pt x="1972913" y="239490"/>
                </a:lnTo>
                <a:lnTo>
                  <a:pt x="1907828" y="246804"/>
                </a:lnTo>
                <a:lnTo>
                  <a:pt x="1838252" y="253501"/>
                </a:lnTo>
                <a:lnTo>
                  <a:pt x="1764485" y="259545"/>
                </a:lnTo>
                <a:lnTo>
                  <a:pt x="1686822" y="264899"/>
                </a:lnTo>
                <a:lnTo>
                  <a:pt x="1605561" y="269529"/>
                </a:lnTo>
                <a:lnTo>
                  <a:pt x="1521000" y="273398"/>
                </a:lnTo>
                <a:lnTo>
                  <a:pt x="1433436" y="276470"/>
                </a:lnTo>
                <a:lnTo>
                  <a:pt x="1343166" y="278708"/>
                </a:lnTo>
                <a:lnTo>
                  <a:pt x="1250488" y="280078"/>
                </a:lnTo>
                <a:lnTo>
                  <a:pt x="1155700" y="280543"/>
                </a:lnTo>
                <a:lnTo>
                  <a:pt x="1060911" y="280078"/>
                </a:lnTo>
                <a:lnTo>
                  <a:pt x="968233" y="278708"/>
                </a:lnTo>
                <a:lnTo>
                  <a:pt x="877963" y="276470"/>
                </a:lnTo>
                <a:lnTo>
                  <a:pt x="790399" y="273398"/>
                </a:lnTo>
                <a:lnTo>
                  <a:pt x="705838" y="269529"/>
                </a:lnTo>
                <a:lnTo>
                  <a:pt x="624577" y="264899"/>
                </a:lnTo>
                <a:lnTo>
                  <a:pt x="546914" y="259545"/>
                </a:lnTo>
                <a:lnTo>
                  <a:pt x="473147" y="253501"/>
                </a:lnTo>
                <a:lnTo>
                  <a:pt x="403571" y="246804"/>
                </a:lnTo>
                <a:lnTo>
                  <a:pt x="338486" y="239490"/>
                </a:lnTo>
                <a:lnTo>
                  <a:pt x="278188" y="231595"/>
                </a:lnTo>
                <a:lnTo>
                  <a:pt x="222975" y="223155"/>
                </a:lnTo>
                <a:lnTo>
                  <a:pt x="173144" y="214206"/>
                </a:lnTo>
                <a:lnTo>
                  <a:pt x="128992" y="204784"/>
                </a:lnTo>
                <a:lnTo>
                  <a:pt x="90816" y="194925"/>
                </a:lnTo>
                <a:lnTo>
                  <a:pt x="33586" y="174040"/>
                </a:lnTo>
                <a:lnTo>
                  <a:pt x="0" y="140335"/>
                </a:lnTo>
                <a:lnTo>
                  <a:pt x="3830" y="128830"/>
                </a:lnTo>
                <a:lnTo>
                  <a:pt x="15125" y="117580"/>
                </a:lnTo>
                <a:lnTo>
                  <a:pt x="58915" y="95991"/>
                </a:lnTo>
                <a:lnTo>
                  <a:pt x="128992" y="75858"/>
                </a:lnTo>
                <a:lnTo>
                  <a:pt x="173144" y="66427"/>
                </a:lnTo>
                <a:lnTo>
                  <a:pt x="222975" y="57470"/>
                </a:lnTo>
                <a:lnTo>
                  <a:pt x="278188" y="49020"/>
                </a:lnTo>
                <a:lnTo>
                  <a:pt x="338486" y="41116"/>
                </a:lnTo>
                <a:lnTo>
                  <a:pt x="403571" y="33792"/>
                </a:lnTo>
                <a:lnTo>
                  <a:pt x="473147" y="27086"/>
                </a:lnTo>
                <a:lnTo>
                  <a:pt x="546914" y="21033"/>
                </a:lnTo>
                <a:lnTo>
                  <a:pt x="624577" y="15670"/>
                </a:lnTo>
                <a:lnTo>
                  <a:pt x="705838" y="11033"/>
                </a:lnTo>
                <a:lnTo>
                  <a:pt x="790399" y="7157"/>
                </a:lnTo>
                <a:lnTo>
                  <a:pt x="877963" y="4080"/>
                </a:lnTo>
                <a:lnTo>
                  <a:pt x="968233" y="1837"/>
                </a:lnTo>
                <a:lnTo>
                  <a:pt x="1060911" y="465"/>
                </a:lnTo>
                <a:lnTo>
                  <a:pt x="1155700" y="0"/>
                </a:lnTo>
                <a:lnTo>
                  <a:pt x="1250488" y="465"/>
                </a:lnTo>
                <a:lnTo>
                  <a:pt x="1343166" y="1837"/>
                </a:lnTo>
                <a:lnTo>
                  <a:pt x="1433436" y="4080"/>
                </a:lnTo>
                <a:lnTo>
                  <a:pt x="1521000" y="7157"/>
                </a:lnTo>
                <a:lnTo>
                  <a:pt x="1605561" y="11033"/>
                </a:lnTo>
                <a:lnTo>
                  <a:pt x="1686822" y="15670"/>
                </a:lnTo>
                <a:lnTo>
                  <a:pt x="1764485" y="21033"/>
                </a:lnTo>
                <a:lnTo>
                  <a:pt x="1838252" y="27086"/>
                </a:lnTo>
                <a:lnTo>
                  <a:pt x="1907828" y="33792"/>
                </a:lnTo>
                <a:lnTo>
                  <a:pt x="1972913" y="41116"/>
                </a:lnTo>
                <a:lnTo>
                  <a:pt x="2033211" y="49020"/>
                </a:lnTo>
                <a:lnTo>
                  <a:pt x="2088424" y="57470"/>
                </a:lnTo>
                <a:lnTo>
                  <a:pt x="2138255" y="66427"/>
                </a:lnTo>
                <a:lnTo>
                  <a:pt x="2182407" y="75858"/>
                </a:lnTo>
                <a:lnTo>
                  <a:pt x="2220583" y="85725"/>
                </a:lnTo>
                <a:lnTo>
                  <a:pt x="2277813" y="106622"/>
                </a:lnTo>
                <a:lnTo>
                  <a:pt x="2311400" y="140335"/>
                </a:lnTo>
                <a:lnTo>
                  <a:pt x="2311400" y="1231315"/>
                </a:lnTo>
                <a:lnTo>
                  <a:pt x="2307569" y="1242822"/>
                </a:lnTo>
                <a:lnTo>
                  <a:pt x="2296274" y="1254072"/>
                </a:lnTo>
                <a:lnTo>
                  <a:pt x="2252484" y="1275658"/>
                </a:lnTo>
                <a:lnTo>
                  <a:pt x="2182407" y="1295787"/>
                </a:lnTo>
                <a:lnTo>
                  <a:pt x="2138255" y="1305214"/>
                </a:lnTo>
                <a:lnTo>
                  <a:pt x="2088424" y="1314168"/>
                </a:lnTo>
                <a:lnTo>
                  <a:pt x="2033211" y="1322613"/>
                </a:lnTo>
                <a:lnTo>
                  <a:pt x="1972913" y="1330513"/>
                </a:lnTo>
                <a:lnTo>
                  <a:pt x="1907828" y="1337833"/>
                </a:lnTo>
                <a:lnTo>
                  <a:pt x="1838252" y="1344534"/>
                </a:lnTo>
                <a:lnTo>
                  <a:pt x="1764485" y="1350583"/>
                </a:lnTo>
                <a:lnTo>
                  <a:pt x="1686822" y="1355942"/>
                </a:lnTo>
                <a:lnTo>
                  <a:pt x="1605561" y="1360576"/>
                </a:lnTo>
                <a:lnTo>
                  <a:pt x="1521000" y="1364448"/>
                </a:lnTo>
                <a:lnTo>
                  <a:pt x="1433436" y="1367523"/>
                </a:lnTo>
                <a:lnTo>
                  <a:pt x="1343166" y="1369764"/>
                </a:lnTo>
                <a:lnTo>
                  <a:pt x="1250488" y="1371135"/>
                </a:lnTo>
                <a:lnTo>
                  <a:pt x="1155700" y="1371600"/>
                </a:lnTo>
                <a:lnTo>
                  <a:pt x="1060911" y="1371135"/>
                </a:lnTo>
                <a:lnTo>
                  <a:pt x="968233" y="1369764"/>
                </a:lnTo>
                <a:lnTo>
                  <a:pt x="877963" y="1367523"/>
                </a:lnTo>
                <a:lnTo>
                  <a:pt x="790399" y="1364448"/>
                </a:lnTo>
                <a:lnTo>
                  <a:pt x="705838" y="1360576"/>
                </a:lnTo>
                <a:lnTo>
                  <a:pt x="624577" y="1355942"/>
                </a:lnTo>
                <a:lnTo>
                  <a:pt x="546914" y="1350583"/>
                </a:lnTo>
                <a:lnTo>
                  <a:pt x="473147" y="1344534"/>
                </a:lnTo>
                <a:lnTo>
                  <a:pt x="403571" y="1337833"/>
                </a:lnTo>
                <a:lnTo>
                  <a:pt x="338486" y="1330513"/>
                </a:lnTo>
                <a:lnTo>
                  <a:pt x="278188" y="1322613"/>
                </a:lnTo>
                <a:lnTo>
                  <a:pt x="222975" y="1314168"/>
                </a:lnTo>
                <a:lnTo>
                  <a:pt x="173144" y="1305214"/>
                </a:lnTo>
                <a:lnTo>
                  <a:pt x="128992" y="1295787"/>
                </a:lnTo>
                <a:lnTo>
                  <a:pt x="90816" y="1285923"/>
                </a:lnTo>
                <a:lnTo>
                  <a:pt x="33586" y="1265029"/>
                </a:lnTo>
                <a:lnTo>
                  <a:pt x="0" y="1231315"/>
                </a:lnTo>
                <a:lnTo>
                  <a:pt x="0" y="140335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73" name="object 73"/>
          <p:cNvSpPr/>
          <p:nvPr/>
        </p:nvSpPr>
        <p:spPr>
          <a:xfrm>
            <a:off x="2653284" y="4434840"/>
            <a:ext cx="1975105" cy="432816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2701163" y="4462462"/>
            <a:ext cx="1880362" cy="338137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75" name="object 75"/>
          <p:cNvSpPr/>
          <p:nvPr/>
        </p:nvSpPr>
        <p:spPr>
          <a:xfrm>
            <a:off x="2701163" y="4462462"/>
            <a:ext cx="1880362" cy="338137"/>
          </a:xfrm>
          <a:custGeom>
            <a:avLst/>
            <a:gdLst/>
            <a:ahLst/>
            <a:cxnLst/>
            <a:rect l="l" t="t" r="r" b="b"/>
            <a:pathLst>
              <a:path w="1880362" h="338137">
                <a:moveTo>
                  <a:pt x="0" y="338137"/>
                </a:moveTo>
                <a:lnTo>
                  <a:pt x="1880362" y="338137"/>
                </a:lnTo>
                <a:lnTo>
                  <a:pt x="1880362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69" name="object 69"/>
          <p:cNvSpPr/>
          <p:nvPr/>
        </p:nvSpPr>
        <p:spPr>
          <a:xfrm>
            <a:off x="7254241" y="4392168"/>
            <a:ext cx="1975103" cy="432816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7301104" y="4419536"/>
            <a:ext cx="1880362" cy="338137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71" name="object 71"/>
          <p:cNvSpPr/>
          <p:nvPr/>
        </p:nvSpPr>
        <p:spPr>
          <a:xfrm>
            <a:off x="7301104" y="4419536"/>
            <a:ext cx="1880362" cy="338137"/>
          </a:xfrm>
          <a:custGeom>
            <a:avLst/>
            <a:gdLst/>
            <a:ahLst/>
            <a:cxnLst/>
            <a:rect l="l" t="t" r="r" b="b"/>
            <a:pathLst>
              <a:path w="1880362" h="338137">
                <a:moveTo>
                  <a:pt x="0" y="338137"/>
                </a:moveTo>
                <a:lnTo>
                  <a:pt x="1880362" y="338137"/>
                </a:lnTo>
                <a:lnTo>
                  <a:pt x="1880362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66" name="object 66"/>
          <p:cNvSpPr/>
          <p:nvPr/>
        </p:nvSpPr>
        <p:spPr>
          <a:xfrm>
            <a:off x="4953001" y="4392168"/>
            <a:ext cx="1976626" cy="432816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67" name="object 67"/>
          <p:cNvSpPr/>
          <p:nvPr/>
        </p:nvSpPr>
        <p:spPr>
          <a:xfrm>
            <a:off x="5001133" y="4419536"/>
            <a:ext cx="1880362" cy="338137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68" name="object 68"/>
          <p:cNvSpPr/>
          <p:nvPr/>
        </p:nvSpPr>
        <p:spPr>
          <a:xfrm>
            <a:off x="5001133" y="4419536"/>
            <a:ext cx="1880362" cy="338137"/>
          </a:xfrm>
          <a:custGeom>
            <a:avLst/>
            <a:gdLst/>
            <a:ahLst/>
            <a:cxnLst/>
            <a:rect l="l" t="t" r="r" b="b"/>
            <a:pathLst>
              <a:path w="1880362" h="338137">
                <a:moveTo>
                  <a:pt x="0" y="338137"/>
                </a:moveTo>
                <a:lnTo>
                  <a:pt x="1880362" y="338137"/>
                </a:lnTo>
                <a:lnTo>
                  <a:pt x="1880362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65" name="object 65"/>
          <p:cNvSpPr/>
          <p:nvPr/>
        </p:nvSpPr>
        <p:spPr>
          <a:xfrm>
            <a:off x="440271" y="2358543"/>
            <a:ext cx="3895344" cy="339191"/>
          </a:xfrm>
          <a:custGeom>
            <a:avLst/>
            <a:gdLst/>
            <a:ahLst/>
            <a:cxnLst/>
            <a:rect l="l" t="t" r="r" b="b"/>
            <a:pathLst>
              <a:path w="3895344" h="339191">
                <a:moveTo>
                  <a:pt x="0" y="339191"/>
                </a:moveTo>
                <a:lnTo>
                  <a:pt x="3895344" y="339191"/>
                </a:lnTo>
                <a:lnTo>
                  <a:pt x="3895344" y="0"/>
                </a:lnTo>
                <a:lnTo>
                  <a:pt x="0" y="0"/>
                </a:lnTo>
                <a:lnTo>
                  <a:pt x="0" y="339191"/>
                </a:lnTo>
                <a:close/>
              </a:path>
            </a:pathLst>
          </a:custGeom>
          <a:ln w="9525">
            <a:solidFill>
              <a:srgbClr val="E37D1A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6196329" y="975769"/>
            <a:ext cx="1068447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Cambria"/>
                <a:cs typeface="Cambria"/>
              </a:rPr>
              <a:t>C</a:t>
            </a:r>
            <a:r>
              <a:rPr sz="1100" spc="4" dirty="0" smtClean="0">
                <a:latin typeface="Cambria"/>
                <a:cs typeface="Cambria"/>
              </a:rPr>
              <a:t>UST</a:t>
            </a:r>
            <a:r>
              <a:rPr sz="1100" spc="0" dirty="0" smtClean="0">
                <a:latin typeface="Cambria"/>
                <a:cs typeface="Cambria"/>
              </a:rPr>
              <a:t>OMER</a:t>
            </a:r>
            <a:r>
              <a:rPr sz="1100" spc="-39" dirty="0" smtClean="0">
                <a:latin typeface="Cambria"/>
                <a:cs typeface="Cambria"/>
              </a:rPr>
              <a:t> </a:t>
            </a:r>
            <a:r>
              <a:rPr sz="1100" spc="0" dirty="0" smtClean="0">
                <a:latin typeface="Cambria"/>
                <a:cs typeface="Cambria"/>
              </a:rPr>
              <a:t>ta</a:t>
            </a:r>
            <a:r>
              <a:rPr sz="1100" spc="-4" dirty="0" smtClean="0">
                <a:latin typeface="Cambria"/>
                <a:cs typeface="Cambria"/>
              </a:rPr>
              <a:t>b</a:t>
            </a:r>
            <a:r>
              <a:rPr sz="1100" spc="0" dirty="0" smtClean="0">
                <a:latin typeface="Cambria"/>
                <a:cs typeface="Cambria"/>
              </a:rPr>
              <a:t>le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1203149" y="1156725"/>
            <a:ext cx="2545933" cy="105758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6791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R</a:t>
            </a:r>
            <a:r>
              <a:rPr sz="1400" spc="-14" dirty="0" smtClean="0">
                <a:latin typeface="+mj-lt"/>
                <a:cs typeface="Cambria"/>
              </a:rPr>
              <a:t>E</a:t>
            </a:r>
            <a:r>
              <a:rPr sz="1400" spc="-84" dirty="0" smtClean="0">
                <a:latin typeface="+mj-lt"/>
                <a:cs typeface="Cambria"/>
              </a:rPr>
              <a:t>A</a:t>
            </a:r>
            <a:r>
              <a:rPr sz="1400" spc="-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25" dirty="0" smtClean="0">
                <a:latin typeface="+mj-lt"/>
                <a:cs typeface="Cambria"/>
              </a:rPr>
              <a:t> </a:t>
            </a:r>
            <a:r>
              <a:rPr sz="1400" spc="-10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4" dirty="0" smtClean="0">
                <a:latin typeface="+mj-lt"/>
                <a:cs typeface="Cambria"/>
              </a:rPr>
              <a:t>B</a:t>
            </a:r>
            <a:r>
              <a:rPr sz="1400" spc="0" dirty="0" smtClean="0">
                <a:latin typeface="+mj-lt"/>
                <a:cs typeface="Cambria"/>
              </a:rPr>
              <a:t>LE</a:t>
            </a:r>
            <a:r>
              <a:rPr sz="1400" spc="-34" dirty="0" smtClean="0">
                <a:latin typeface="+mj-lt"/>
                <a:cs typeface="Cambria"/>
              </a:rPr>
              <a:t> </a:t>
            </a:r>
            <a:r>
              <a:rPr sz="1400" spc="-9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er</a:t>
            </a:r>
            <a:endParaRPr sz="1400" dirty="0">
              <a:latin typeface="+mj-lt"/>
              <a:cs typeface="Cambria"/>
            </a:endParaRPr>
          </a:p>
          <a:p>
            <a:pPr marL="12700" marR="26791">
              <a:lnSpc>
                <a:spcPct val="97696"/>
              </a:lnSpc>
            </a:pPr>
            <a:r>
              <a:rPr sz="1400" spc="4" dirty="0" smtClean="0">
                <a:latin typeface="+mj-lt"/>
                <a:cs typeface="Cambria"/>
              </a:rPr>
              <a:t>(</a:t>
            </a:r>
            <a:r>
              <a:rPr sz="1400" spc="-9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st</a:t>
            </a:r>
            <a:r>
              <a:rPr sz="1400" spc="-1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</a:t>
            </a:r>
            <a:r>
              <a:rPr sz="1400" spc="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T</a:t>
            </a:r>
            <a:endParaRPr sz="1400" dirty="0">
              <a:latin typeface="+mj-lt"/>
              <a:cs typeface="Cambria"/>
            </a:endParaRPr>
          </a:p>
          <a:p>
            <a:pPr marL="12700" marR="26791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,Name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CHAR</a:t>
            </a:r>
            <a:r>
              <a:rPr sz="1400" spc="4" dirty="0" smtClean="0">
                <a:latin typeface="+mj-lt"/>
                <a:cs typeface="Cambria"/>
              </a:rPr>
              <a:t>(</a:t>
            </a:r>
            <a:r>
              <a:rPr sz="1400" spc="0" dirty="0" smtClean="0">
                <a:latin typeface="+mj-lt"/>
                <a:cs typeface="Cambria"/>
              </a:rPr>
              <a:t>1</a:t>
            </a:r>
            <a:r>
              <a:rPr sz="1400" spc="4" dirty="0" smtClean="0">
                <a:latin typeface="+mj-lt"/>
                <a:cs typeface="Cambria"/>
              </a:rPr>
              <a:t>0</a:t>
            </a:r>
            <a:r>
              <a:rPr sz="1400" spc="0" dirty="0" smtClean="0">
                <a:latin typeface="+mj-lt"/>
                <a:cs typeface="Cambria"/>
              </a:rPr>
              <a:t>)</a:t>
            </a:r>
            <a:endParaRPr sz="1400" dirty="0">
              <a:latin typeface="+mj-lt"/>
              <a:cs typeface="Cambria"/>
            </a:endParaRPr>
          </a:p>
          <a:p>
            <a:pPr marL="12700" marR="26791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,</a:t>
            </a:r>
            <a:r>
              <a:rPr sz="1400" spc="-4" dirty="0" smtClean="0">
                <a:latin typeface="+mj-lt"/>
                <a:cs typeface="Cambria"/>
              </a:rPr>
              <a:t>P</a:t>
            </a:r>
            <a:r>
              <a:rPr sz="1400" spc="4" dirty="0" smtClean="0">
                <a:latin typeface="+mj-lt"/>
                <a:cs typeface="Cambria"/>
              </a:rPr>
              <a:t>h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e CHA</a:t>
            </a:r>
            <a:r>
              <a:rPr sz="1400" spc="4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(</a:t>
            </a:r>
            <a:r>
              <a:rPr sz="1400" spc="4" dirty="0" smtClean="0">
                <a:latin typeface="+mj-lt"/>
                <a:cs typeface="Cambria"/>
              </a:rPr>
              <a:t>8</a:t>
            </a:r>
            <a:r>
              <a:rPr sz="1400" spc="0" dirty="0" smtClean="0">
                <a:latin typeface="+mj-lt"/>
                <a:cs typeface="Cambria"/>
              </a:rPr>
              <a:t>)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)</a:t>
            </a:r>
            <a:endParaRPr sz="1400" dirty="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  <a:spcBef>
                <a:spcPts val="40"/>
              </a:spcBef>
            </a:pPr>
            <a:r>
              <a:rPr sz="1400" spc="0" dirty="0" smtClean="0">
                <a:latin typeface="+mj-lt"/>
                <a:cs typeface="Cambria"/>
              </a:rPr>
              <a:t>UNIQUE</a:t>
            </a:r>
            <a:r>
              <a:rPr sz="1400" spc="-39" dirty="0" smtClean="0">
                <a:latin typeface="+mj-lt"/>
                <a:cs typeface="Cambria"/>
              </a:rPr>
              <a:t> </a:t>
            </a:r>
            <a:r>
              <a:rPr sz="1400" spc="-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RIMA</a:t>
            </a:r>
            <a:r>
              <a:rPr sz="1400" spc="-5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Y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</a:t>
            </a:r>
            <a:r>
              <a:rPr sz="1400" spc="-4" dirty="0" smtClean="0">
                <a:latin typeface="+mj-lt"/>
                <a:cs typeface="Cambria"/>
              </a:rPr>
              <a:t>DE</a:t>
            </a:r>
            <a:r>
              <a:rPr sz="1400" spc="0" dirty="0" smtClean="0">
                <a:latin typeface="+mj-lt"/>
                <a:cs typeface="Cambria"/>
              </a:rPr>
              <a:t>X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(</a:t>
            </a:r>
            <a:r>
              <a:rPr sz="1400" spc="-9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us</a:t>
            </a:r>
            <a:r>
              <a:rPr sz="1400" spc="4" dirty="0" smtClean="0">
                <a:latin typeface="+mj-lt"/>
                <a:cs typeface="Cambria"/>
              </a:rPr>
              <a:t>t);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6175375" y="1299873"/>
            <a:ext cx="213517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-4" dirty="0" smtClean="0">
                <a:latin typeface="+mj-lt"/>
                <a:cs typeface="Cambria"/>
              </a:rPr>
              <a:t>PK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7828240" y="2717801"/>
            <a:ext cx="668061" cy="6685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0131" marR="3048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666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5555</a:t>
            </a:r>
            <a:endParaRPr sz="1100" dirty="0">
              <a:latin typeface="+mj-lt"/>
              <a:cs typeface="Cambria"/>
            </a:endParaRPr>
          </a:p>
          <a:p>
            <a:pPr marL="43179">
              <a:lnSpc>
                <a:spcPct val="97696"/>
              </a:lnSpc>
            </a:pPr>
            <a:r>
              <a:rPr sz="1100" spc="0" dirty="0" smtClean="0">
                <a:latin typeface="+mj-lt"/>
                <a:cs typeface="Cambria"/>
              </a:rPr>
              <a:t>111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 dirty="0">
              <a:latin typeface="+mj-lt"/>
              <a:cs typeface="Cambria"/>
            </a:endParaRPr>
          </a:p>
          <a:p>
            <a:pPr marL="41655" marR="1524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888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2222</a:t>
            </a:r>
            <a:endParaRPr sz="1100" dirty="0">
              <a:latin typeface="+mj-lt"/>
              <a:cs typeface="Cambria"/>
            </a:endParaRPr>
          </a:p>
          <a:p>
            <a:pPr marL="12700" marR="21031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111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2222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6151627" y="3207513"/>
            <a:ext cx="201699" cy="5008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51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</a:pPr>
            <a:r>
              <a:rPr sz="1100" spc="0" dirty="0" smtClean="0">
                <a:latin typeface="+mj-lt"/>
                <a:cs typeface="Cambria"/>
              </a:rPr>
              <a:t>31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6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6880351" y="3263674"/>
            <a:ext cx="457056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d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6849873" y="3466594"/>
            <a:ext cx="374295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lack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7858940" y="3431314"/>
            <a:ext cx="637361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444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5555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5693410" y="4933343"/>
            <a:ext cx="692638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7922768" y="4933343"/>
            <a:ext cx="692638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3230626" y="4961029"/>
            <a:ext cx="692638" cy="44272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  <a:p>
            <a:pPr marL="283083" marR="21031">
              <a:lnSpc>
                <a:spcPct val="97696"/>
              </a:lnSpc>
              <a:spcBef>
                <a:spcPts val="830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905053" y="4968140"/>
            <a:ext cx="682123" cy="436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  <a:p>
            <a:pPr marL="102869" marR="182751" algn="ctr">
              <a:lnSpc>
                <a:spcPct val="97696"/>
              </a:lnSpc>
              <a:spcBef>
                <a:spcPts val="784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5115815" y="5161943"/>
            <a:ext cx="302454" cy="3180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00"/>
              </a:lnSpc>
              <a:spcBef>
                <a:spcPts val="95"/>
              </a:spcBef>
            </a:pPr>
            <a:r>
              <a:rPr sz="1100" spc="4" dirty="0" smtClean="0">
                <a:latin typeface="+mj-lt"/>
                <a:cs typeface="Cambria"/>
              </a:rPr>
              <a:t>U</a:t>
            </a:r>
            <a:r>
              <a:rPr sz="1100" spc="0" dirty="0" smtClean="0">
                <a:latin typeface="+mj-lt"/>
                <a:cs typeface="Cambria"/>
              </a:rPr>
              <a:t>PI C</a:t>
            </a:r>
            <a:r>
              <a:rPr sz="1100" spc="4" dirty="0" smtClean="0">
                <a:latin typeface="+mj-lt"/>
                <a:cs typeface="Cambria"/>
              </a:rPr>
              <a:t>us</a:t>
            </a:r>
            <a:r>
              <a:rPr sz="1100" spc="0" dirty="0" smtClean="0">
                <a:latin typeface="+mj-lt"/>
                <a:cs typeface="Cambria"/>
              </a:rPr>
              <a:t>t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360376" y="5208552"/>
            <a:ext cx="315153" cy="2692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80"/>
              </a:lnSpc>
              <a:spcBef>
                <a:spcPts val="54"/>
              </a:spcBef>
            </a:pPr>
            <a:r>
              <a:rPr sz="1100" spc="0" baseline="-7754" dirty="0" smtClean="0">
                <a:latin typeface="+mj-lt"/>
                <a:cs typeface="Cambria"/>
              </a:rPr>
              <a:t>C</a:t>
            </a:r>
            <a:r>
              <a:rPr sz="1100" spc="4" baseline="-7754" dirty="0" smtClean="0">
                <a:latin typeface="+mj-lt"/>
                <a:cs typeface="Cambria"/>
              </a:rPr>
              <a:t>us</a:t>
            </a:r>
            <a:r>
              <a:rPr sz="1100" spc="0" baseline="-7754" dirty="0" smtClean="0">
                <a:latin typeface="+mj-lt"/>
                <a:cs typeface="Cambria"/>
              </a:rPr>
              <a:t>t</a:t>
            </a:r>
            <a:endParaRPr sz="1100">
              <a:latin typeface="+mj-lt"/>
              <a:cs typeface="Cambria"/>
            </a:endParaRPr>
          </a:p>
          <a:p>
            <a:pPr marL="62077" marR="2990">
              <a:lnSpc>
                <a:spcPts val="980"/>
              </a:lnSpc>
            </a:pPr>
            <a:r>
              <a:rPr sz="1100" spc="4" baseline="2584" dirty="0" smtClean="0">
                <a:latin typeface="+mj-lt"/>
                <a:cs typeface="Cambria"/>
              </a:rPr>
              <a:t>U</a:t>
            </a:r>
            <a:r>
              <a:rPr sz="1100" spc="0" baseline="2584" dirty="0" smtClean="0">
                <a:latin typeface="+mj-lt"/>
                <a:cs typeface="Cambria"/>
              </a:rPr>
              <a:t>PI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1732915" y="5239412"/>
            <a:ext cx="424472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2886584" y="5238142"/>
            <a:ext cx="315153" cy="3180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C</a:t>
            </a:r>
            <a:r>
              <a:rPr sz="1100" spc="4" dirty="0" smtClean="0">
                <a:latin typeface="+mj-lt"/>
                <a:cs typeface="Cambria"/>
              </a:rPr>
              <a:t>us</a:t>
            </a:r>
            <a:r>
              <a:rPr sz="1100" spc="0" dirty="0" smtClean="0">
                <a:latin typeface="+mj-lt"/>
                <a:cs typeface="Cambria"/>
              </a:rPr>
              <a:t>t</a:t>
            </a:r>
            <a:endParaRPr sz="1100">
              <a:latin typeface="+mj-lt"/>
              <a:cs typeface="Cambria"/>
            </a:endParaRPr>
          </a:p>
          <a:p>
            <a:pPr marL="12700" marR="24566">
              <a:lnSpc>
                <a:spcPts val="1200"/>
              </a:lnSpc>
            </a:pPr>
            <a:r>
              <a:rPr sz="1100" spc="4" dirty="0" smtClean="0">
                <a:latin typeface="+mj-lt"/>
                <a:cs typeface="Cambria"/>
              </a:rPr>
              <a:t>U</a:t>
            </a:r>
            <a:r>
              <a:rPr sz="1100" spc="0" dirty="0" smtClean="0">
                <a:latin typeface="+mj-lt"/>
                <a:cs typeface="Cambria"/>
              </a:rPr>
              <a:t>PI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4058539" y="5238142"/>
            <a:ext cx="424472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5611116" y="5314342"/>
            <a:ext cx="396501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6356350" y="5314342"/>
            <a:ext cx="424472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7470775" y="5314343"/>
            <a:ext cx="1007856" cy="4445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1031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C</a:t>
            </a:r>
            <a:r>
              <a:rPr sz="1100" spc="4" dirty="0" smtClean="0">
                <a:latin typeface="+mj-lt"/>
                <a:cs typeface="Cambria"/>
              </a:rPr>
              <a:t>us</a:t>
            </a:r>
            <a:r>
              <a:rPr sz="1100" spc="0" dirty="0" smtClean="0">
                <a:latin typeface="+mj-lt"/>
                <a:cs typeface="Cambria"/>
              </a:rPr>
              <a:t>t      </a:t>
            </a:r>
            <a:r>
              <a:rPr sz="1100" spc="119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  <a:p>
            <a:pPr marL="265302" marR="21031">
              <a:lnSpc>
                <a:spcPts val="1170"/>
              </a:lnSpc>
              <a:spcBef>
                <a:spcPts val="1"/>
              </a:spcBef>
            </a:pPr>
            <a:r>
              <a:rPr sz="1100" spc="0" baseline="-5169" dirty="0" smtClean="0">
                <a:latin typeface="+mj-lt"/>
                <a:cs typeface="Cambria"/>
              </a:rPr>
              <a:t>27   </a:t>
            </a:r>
            <a:r>
              <a:rPr sz="1100" spc="157" baseline="-5169" dirty="0" smtClean="0">
                <a:latin typeface="+mj-lt"/>
                <a:cs typeface="Cambria"/>
              </a:rPr>
              <a:t> </a:t>
            </a:r>
            <a:r>
              <a:rPr sz="1100" spc="0" baseline="-5169" dirty="0" smtClean="0">
                <a:latin typeface="+mj-lt"/>
                <a:cs typeface="Cambria"/>
              </a:rPr>
              <a:t>Jo</a:t>
            </a:r>
            <a:r>
              <a:rPr sz="1100" spc="-4" baseline="-5169" dirty="0" smtClean="0">
                <a:latin typeface="+mj-lt"/>
                <a:cs typeface="Cambria"/>
              </a:rPr>
              <a:t>n</a:t>
            </a:r>
            <a:r>
              <a:rPr sz="1100" spc="0" baseline="-5169" dirty="0" smtClean="0">
                <a:latin typeface="+mj-lt"/>
                <a:cs typeface="Cambria"/>
              </a:rPr>
              <a:t>es</a:t>
            </a:r>
            <a:endParaRPr sz="1100">
              <a:latin typeface="+mj-lt"/>
              <a:cs typeface="Cambria"/>
            </a:endParaRPr>
          </a:p>
          <a:p>
            <a:pPr marL="265302">
              <a:lnSpc>
                <a:spcPts val="1019"/>
              </a:lnSpc>
            </a:pPr>
            <a:r>
              <a:rPr sz="1100" spc="0" baseline="2584" dirty="0" smtClean="0">
                <a:latin typeface="+mj-lt"/>
                <a:cs typeface="Cambria"/>
              </a:rPr>
              <a:t>72   </a:t>
            </a:r>
            <a:r>
              <a:rPr sz="1100" spc="157" baseline="2584" dirty="0" smtClean="0">
                <a:latin typeface="+mj-lt"/>
                <a:cs typeface="Cambria"/>
              </a:rPr>
              <a:t> </a:t>
            </a:r>
            <a:r>
              <a:rPr sz="1100" spc="-4" baseline="2584" dirty="0" smtClean="0">
                <a:latin typeface="+mj-lt"/>
                <a:cs typeface="Cambria"/>
              </a:rPr>
              <a:t>A</a:t>
            </a:r>
            <a:r>
              <a:rPr sz="1100" spc="0" baseline="2584" dirty="0" smtClean="0">
                <a:latin typeface="+mj-lt"/>
                <a:cs typeface="Cambria"/>
              </a:rPr>
              <a:t>da</a:t>
            </a:r>
            <a:r>
              <a:rPr sz="1100" spc="4" baseline="2584" dirty="0" smtClean="0">
                <a:latin typeface="+mj-lt"/>
                <a:cs typeface="Cambria"/>
              </a:rPr>
              <a:t>m</a:t>
            </a:r>
            <a:r>
              <a:rPr sz="1100" spc="0" baseline="2584" dirty="0" smtClean="0">
                <a:latin typeface="+mj-lt"/>
                <a:cs typeface="Cambria"/>
              </a:rPr>
              <a:t>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8562849" y="5314342"/>
            <a:ext cx="627064" cy="43718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38201" marR="64391" algn="ctr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  <a:p>
            <a:pPr algn="ctr">
              <a:lnSpc>
                <a:spcPts val="1120"/>
              </a:lnSpc>
            </a:pPr>
            <a:r>
              <a:rPr sz="1100" spc="0" baseline="-5169" dirty="0" smtClean="0">
                <a:latin typeface="+mj-lt"/>
                <a:cs typeface="Cambria"/>
              </a:rPr>
              <a:t>222</a:t>
            </a:r>
            <a:r>
              <a:rPr sz="1100" spc="4" baseline="-5169" dirty="0" smtClean="0">
                <a:latin typeface="+mj-lt"/>
                <a:cs typeface="Cambria"/>
              </a:rPr>
              <a:t>-</a:t>
            </a:r>
            <a:r>
              <a:rPr sz="1100" spc="0" baseline="-5169" dirty="0" smtClean="0">
                <a:latin typeface="+mj-lt"/>
                <a:cs typeface="Cambria"/>
              </a:rPr>
              <a:t>8888</a:t>
            </a:r>
            <a:endParaRPr sz="1100">
              <a:latin typeface="+mj-lt"/>
              <a:cs typeface="Cambria"/>
            </a:endParaRPr>
          </a:p>
          <a:p>
            <a:pPr algn="ctr">
              <a:lnSpc>
                <a:spcPts val="1019"/>
              </a:lnSpc>
            </a:pPr>
            <a:r>
              <a:rPr sz="1100" spc="0" baseline="2584" dirty="0" smtClean="0">
                <a:latin typeface="+mj-lt"/>
                <a:cs typeface="Cambria"/>
              </a:rPr>
              <a:t>666</a:t>
            </a:r>
            <a:r>
              <a:rPr sz="1100" spc="4" baseline="2584" dirty="0" smtClean="0">
                <a:latin typeface="+mj-lt"/>
                <a:cs typeface="Cambria"/>
              </a:rPr>
              <a:t>-</a:t>
            </a:r>
            <a:r>
              <a:rPr sz="1100" spc="0" baseline="2584" dirty="0" smtClean="0">
                <a:latin typeface="+mj-lt"/>
                <a:cs typeface="Cambria"/>
              </a:rPr>
              <a:t>7777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3748534" y="5608532"/>
            <a:ext cx="637625" cy="39445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666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5555</a:t>
            </a:r>
            <a:endParaRPr sz="1100">
              <a:latin typeface="+mj-lt"/>
              <a:cs typeface="Cambria"/>
            </a:endParaRPr>
          </a:p>
          <a:p>
            <a:pPr marL="12700" marR="45">
              <a:lnSpc>
                <a:spcPct val="97696"/>
              </a:lnSpc>
              <a:spcBef>
                <a:spcPts val="448"/>
              </a:spcBef>
            </a:pPr>
            <a:r>
              <a:rPr sz="1100" spc="0" dirty="0" smtClean="0">
                <a:latin typeface="+mj-lt"/>
                <a:cs typeface="Cambria"/>
              </a:rPr>
              <a:t>777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2909063" y="5615789"/>
            <a:ext cx="668294" cy="3942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1031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84   </a:t>
            </a:r>
            <a:r>
              <a:rPr sz="1100" spc="157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Ri</a:t>
            </a:r>
            <a:r>
              <a:rPr sz="1100" spc="4" dirty="0" smtClean="0">
                <a:latin typeface="+mj-lt"/>
                <a:cs typeface="Cambria"/>
              </a:rPr>
              <a:t>c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  <a:spcBef>
                <a:spcPts val="448"/>
              </a:spcBef>
            </a:pPr>
            <a:r>
              <a:rPr sz="1100" spc="0" dirty="0" smtClean="0">
                <a:latin typeface="+mj-lt"/>
                <a:cs typeface="Cambria"/>
              </a:rPr>
              <a:t>77   </a:t>
            </a:r>
            <a:r>
              <a:rPr sz="1100" spc="157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Jo</a:t>
            </a:r>
            <a:r>
              <a:rPr sz="1100" spc="-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e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6250687" y="5619446"/>
            <a:ext cx="637835" cy="5085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100" spc="0" baseline="-5169" dirty="0" smtClean="0">
                <a:latin typeface="+mj-lt"/>
                <a:cs typeface="Cambria"/>
              </a:rPr>
              <a:t>77</a:t>
            </a:r>
            <a:r>
              <a:rPr sz="1100" spc="4" baseline="-5169" dirty="0" smtClean="0">
                <a:latin typeface="+mj-lt"/>
                <a:cs typeface="Cambria"/>
              </a:rPr>
              <a:t>7-</a:t>
            </a:r>
            <a:r>
              <a:rPr sz="1100" spc="0" baseline="-5169" dirty="0" smtClean="0">
                <a:latin typeface="+mj-lt"/>
                <a:cs typeface="Cambria"/>
              </a:rPr>
              <a:t>4444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900"/>
              </a:lnSpc>
            </a:pPr>
            <a:r>
              <a:rPr sz="1100" spc="0" baseline="-2584" dirty="0" smtClean="0">
                <a:latin typeface="+mj-lt"/>
                <a:cs typeface="Cambria"/>
              </a:rPr>
              <a:t>55</a:t>
            </a:r>
            <a:r>
              <a:rPr sz="1100" spc="4" baseline="-2584" dirty="0" smtClean="0">
                <a:latin typeface="+mj-lt"/>
                <a:cs typeface="Cambria"/>
              </a:rPr>
              <a:t>5-</a:t>
            </a:r>
            <a:r>
              <a:rPr sz="1100" spc="0" baseline="-2584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900"/>
              </a:lnSpc>
            </a:pPr>
            <a:r>
              <a:rPr sz="1100" spc="0" baseline="-2584" dirty="0" smtClean="0">
                <a:latin typeface="+mj-lt"/>
                <a:cs typeface="Cambria"/>
              </a:rPr>
              <a:t>33</a:t>
            </a:r>
            <a:r>
              <a:rPr sz="1100" spc="4" baseline="-2584" dirty="0" smtClean="0">
                <a:latin typeface="+mj-lt"/>
                <a:cs typeface="Cambria"/>
              </a:rPr>
              <a:t>3-</a:t>
            </a:r>
            <a:r>
              <a:rPr sz="1100" spc="0" baseline="-2584" dirty="0" smtClean="0">
                <a:latin typeface="+mj-lt"/>
                <a:cs typeface="Cambria"/>
              </a:rPr>
              <a:t>9999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1019"/>
              </a:lnSpc>
              <a:spcBef>
                <a:spcPts val="6"/>
              </a:spcBef>
            </a:pPr>
            <a:r>
              <a:rPr sz="1100" spc="0" baseline="2584" dirty="0" smtClean="0">
                <a:latin typeface="+mj-lt"/>
                <a:cs typeface="Cambria"/>
              </a:rPr>
              <a:t>11</a:t>
            </a:r>
            <a:r>
              <a:rPr sz="1100" spc="4" baseline="2584" dirty="0" smtClean="0">
                <a:latin typeface="+mj-lt"/>
                <a:cs typeface="Cambria"/>
              </a:rPr>
              <a:t>1-</a:t>
            </a:r>
            <a:r>
              <a:rPr sz="1100" spc="0" baseline="2584" dirty="0" smtClean="0">
                <a:latin typeface="+mj-lt"/>
                <a:cs typeface="Cambria"/>
              </a:rPr>
              <a:t>222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5168646" y="5626457"/>
            <a:ext cx="201798" cy="5085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100" spc="0" baseline="-5169" dirty="0" smtClean="0">
                <a:latin typeface="+mj-lt"/>
                <a:cs typeface="Cambria"/>
              </a:rPr>
              <a:t>12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900"/>
              </a:lnSpc>
            </a:pPr>
            <a:r>
              <a:rPr sz="1100" spc="0" baseline="-2584" dirty="0" smtClean="0">
                <a:latin typeface="+mj-lt"/>
                <a:cs typeface="Cambria"/>
              </a:rPr>
              <a:t>74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900"/>
              </a:lnSpc>
            </a:pPr>
            <a:r>
              <a:rPr sz="1100" spc="0" baseline="-2584" dirty="0" smtClean="0">
                <a:latin typeface="+mj-lt"/>
                <a:cs typeface="Cambria"/>
              </a:rPr>
              <a:t>98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1019"/>
              </a:lnSpc>
              <a:spcBef>
                <a:spcPts val="6"/>
              </a:spcBef>
            </a:pPr>
            <a:r>
              <a:rPr sz="1100" spc="0" baseline="2584" dirty="0" smtClean="0">
                <a:latin typeface="+mj-lt"/>
                <a:cs typeface="Cambria"/>
              </a:rPr>
              <a:t>31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552949" y="5626457"/>
            <a:ext cx="447892" cy="5085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just">
              <a:lnSpc>
                <a:spcPts val="1289"/>
              </a:lnSpc>
              <a:spcBef>
                <a:spcPts val="265"/>
              </a:spcBef>
            </a:pPr>
            <a:r>
              <a:rPr sz="1100" spc="-4" dirty="0" smtClean="0">
                <a:latin typeface="+mj-lt"/>
                <a:cs typeface="Cambria"/>
              </a:rPr>
              <a:t>Y</a:t>
            </a:r>
            <a:r>
              <a:rPr sz="1100" spc="0" dirty="0" smtClean="0">
                <a:latin typeface="+mj-lt"/>
                <a:cs typeface="Cambria"/>
              </a:rPr>
              <a:t>o</a:t>
            </a:r>
            <a:r>
              <a:rPr sz="1100" spc="4" dirty="0" smtClean="0">
                <a:latin typeface="+mj-lt"/>
                <a:cs typeface="Cambria"/>
              </a:rPr>
              <a:t>u</a:t>
            </a:r>
            <a:r>
              <a:rPr sz="1100" spc="-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g </a:t>
            </a:r>
            <a:endParaRPr sz="1100">
              <a:latin typeface="+mj-lt"/>
              <a:cs typeface="Cambria"/>
            </a:endParaRPr>
          </a:p>
          <a:p>
            <a:pPr marL="12700" algn="just">
              <a:lnSpc>
                <a:spcPts val="1289"/>
              </a:lnSpc>
            </a:pPr>
            <a:r>
              <a:rPr sz="1100" spc="4" dirty="0" smtClean="0">
                <a:latin typeface="+mj-lt"/>
                <a:cs typeface="Cambria"/>
              </a:rPr>
              <a:t>Smi</a:t>
            </a:r>
            <a:r>
              <a:rPr sz="1100" spc="0" dirty="0" smtClean="0">
                <a:latin typeface="+mj-lt"/>
                <a:cs typeface="Cambria"/>
              </a:rPr>
              <a:t>th </a:t>
            </a:r>
            <a:endParaRPr sz="1100">
              <a:latin typeface="+mj-lt"/>
              <a:cs typeface="Cambria"/>
            </a:endParaRPr>
          </a:p>
          <a:p>
            <a:pPr marL="12700" algn="just">
              <a:lnSpc>
                <a:spcPts val="1289"/>
              </a:lnSpc>
            </a:pPr>
            <a:r>
              <a:rPr sz="1100" spc="0" dirty="0" smtClean="0">
                <a:latin typeface="+mj-lt"/>
                <a:cs typeface="Cambria"/>
              </a:rPr>
              <a:t>B</a:t>
            </a:r>
            <a:r>
              <a:rPr sz="1100" spc="-4" dirty="0" smtClean="0">
                <a:latin typeface="+mj-lt"/>
                <a:cs typeface="Cambria"/>
              </a:rPr>
              <a:t>r</a:t>
            </a:r>
            <a:r>
              <a:rPr sz="1100" spc="0" dirty="0" smtClean="0">
                <a:latin typeface="+mj-lt"/>
                <a:cs typeface="Cambria"/>
              </a:rPr>
              <a:t>own </a:t>
            </a:r>
            <a:endParaRPr sz="1100">
              <a:latin typeface="+mj-lt"/>
              <a:cs typeface="Cambria"/>
            </a:endParaRPr>
          </a:p>
          <a:p>
            <a:pPr marL="12700" algn="just">
              <a:lnSpc>
                <a:spcPts val="1289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d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8562849" y="5700218"/>
            <a:ext cx="637581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222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3333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7723380" y="5707534"/>
            <a:ext cx="696146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40   </a:t>
            </a:r>
            <a:r>
              <a:rPr sz="1100" spc="157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Smi</a:t>
            </a:r>
            <a:r>
              <a:rPr sz="1100" spc="0" dirty="0" smtClean="0">
                <a:latin typeface="+mj-lt"/>
                <a:cs typeface="Cambria"/>
              </a:rPr>
              <a:t>th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7723380" y="5814518"/>
            <a:ext cx="1477050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37   </a:t>
            </a:r>
            <a:r>
              <a:rPr sz="1100" spc="157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W</a:t>
            </a:r>
            <a:r>
              <a:rPr sz="1100" spc="4" dirty="0" smtClean="0">
                <a:latin typeface="+mj-lt"/>
                <a:cs typeface="Cambria"/>
              </a:rPr>
              <a:t>hi</a:t>
            </a:r>
            <a:r>
              <a:rPr sz="1100" spc="0" dirty="0" smtClean="0">
                <a:latin typeface="+mj-lt"/>
                <a:cs typeface="Cambria"/>
              </a:rPr>
              <a:t>te    </a:t>
            </a:r>
            <a:r>
              <a:rPr sz="1100" spc="197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555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4444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1705738" y="5898035"/>
            <a:ext cx="637581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888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222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574649" y="5907482"/>
            <a:ext cx="201798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51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923342" y="5907482"/>
            <a:ext cx="425379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Mar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h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744119" y="5566879"/>
            <a:ext cx="733431" cy="261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52">
              <a:lnSpc>
                <a:spcPct val="97696"/>
              </a:lnSpc>
              <a:spcBef>
                <a:spcPts val="430"/>
              </a:spcBef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d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477549" y="5566879"/>
            <a:ext cx="918470" cy="261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01568">
              <a:lnSpc>
                <a:spcPct val="97696"/>
              </a:lnSpc>
              <a:spcBef>
                <a:spcPts val="360"/>
              </a:spcBef>
            </a:pPr>
            <a:r>
              <a:rPr sz="1100" spc="0" dirty="0" smtClean="0">
                <a:latin typeface="+mj-lt"/>
                <a:cs typeface="Cambria"/>
              </a:rPr>
              <a:t>444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31127" y="5571172"/>
            <a:ext cx="343255" cy="261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40">
              <a:lnSpc>
                <a:spcPct val="97696"/>
              </a:lnSpc>
              <a:spcBef>
                <a:spcPts val="395"/>
              </a:spcBef>
            </a:pPr>
            <a:r>
              <a:rPr sz="1100" spc="0" dirty="0" smtClean="0">
                <a:latin typeface="+mj-lt"/>
                <a:cs typeface="Cambria"/>
              </a:rPr>
              <a:t>45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701163" y="4462462"/>
            <a:ext cx="1880362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3"/>
              </a:spcBef>
            </a:pPr>
            <a:endParaRPr sz="1100">
              <a:latin typeface="+mj-lt"/>
            </a:endParaRPr>
          </a:p>
          <a:p>
            <a:pPr marL="720950" marR="719448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7301104" y="4419536"/>
            <a:ext cx="1880362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2"/>
              </a:spcBef>
            </a:pPr>
            <a:endParaRPr sz="1100">
              <a:latin typeface="+mj-lt"/>
            </a:endParaRPr>
          </a:p>
          <a:p>
            <a:pPr marL="724814" marR="722042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4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5001133" y="4419536"/>
            <a:ext cx="1880362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2"/>
              </a:spcBef>
            </a:pPr>
            <a:endParaRPr sz="1100">
              <a:latin typeface="+mj-lt"/>
            </a:endParaRPr>
          </a:p>
          <a:p>
            <a:pPr marL="724433" marR="722423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3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11352" y="4419536"/>
            <a:ext cx="1882648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2"/>
              </a:spcBef>
            </a:pPr>
            <a:endParaRPr sz="1100">
              <a:latin typeface="+mj-lt"/>
            </a:endParaRPr>
          </a:p>
          <a:p>
            <a:pPr marL="724255" marR="724887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1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12751" y="3886200"/>
            <a:ext cx="8580629" cy="304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447186" marR="4662745" algn="ctr">
              <a:lnSpc>
                <a:spcPct val="97696"/>
              </a:lnSpc>
              <a:spcBef>
                <a:spcPts val="390"/>
              </a:spcBef>
            </a:pPr>
            <a:r>
              <a:rPr sz="1100" spc="0" dirty="0" smtClean="0">
                <a:latin typeface="+mj-lt"/>
                <a:cs typeface="Cambria"/>
              </a:rPr>
              <a:t>B</a:t>
            </a:r>
            <a:r>
              <a:rPr sz="1100" spc="-9" dirty="0" smtClean="0">
                <a:latin typeface="+mj-lt"/>
                <a:cs typeface="Cambria"/>
              </a:rPr>
              <a:t>Y</a:t>
            </a: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ET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832104" y="2872943"/>
            <a:ext cx="1316227" cy="2393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036459" y="2814663"/>
            <a:ext cx="2967227" cy="8548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82156">
              <a:lnSpc>
                <a:spcPts val="1839"/>
              </a:lnSpc>
              <a:spcBef>
                <a:spcPts val="185"/>
              </a:spcBef>
            </a:pPr>
            <a:r>
              <a:rPr sz="1650" spc="-4" baseline="28432" dirty="0" smtClean="0">
                <a:latin typeface="+mj-lt"/>
                <a:cs typeface="Cambria"/>
              </a:rPr>
              <a:t>P</a:t>
            </a:r>
            <a:r>
              <a:rPr sz="1650" spc="0" baseline="28432" dirty="0" smtClean="0">
                <a:latin typeface="+mj-lt"/>
                <a:cs typeface="Cambria"/>
              </a:rPr>
              <a:t>E                          </a:t>
            </a:r>
            <a:r>
              <a:rPr sz="1650" spc="89" baseline="28432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U</a:t>
            </a:r>
            <a:r>
              <a:rPr sz="1100" spc="0" dirty="0" smtClean="0">
                <a:latin typeface="+mj-lt"/>
                <a:cs typeface="Cambria"/>
              </a:rPr>
              <a:t>PI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= 45</a:t>
            </a:r>
            <a:endParaRPr sz="1100">
              <a:latin typeface="+mj-lt"/>
              <a:cs typeface="Cambria"/>
            </a:endParaRPr>
          </a:p>
          <a:p>
            <a:pPr marL="834377">
              <a:lnSpc>
                <a:spcPct val="97696"/>
              </a:lnSpc>
              <a:spcBef>
                <a:spcPts val="1758"/>
              </a:spcBef>
            </a:pPr>
            <a:r>
              <a:rPr sz="1100" spc="0" dirty="0" smtClean="0">
                <a:latin typeface="+mj-lt"/>
                <a:cs typeface="Cambria"/>
              </a:rPr>
              <a:t>H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h</a:t>
            </a:r>
            <a:r>
              <a:rPr sz="1100" spc="4" dirty="0" smtClean="0">
                <a:latin typeface="+mj-lt"/>
                <a:cs typeface="Cambria"/>
              </a:rPr>
              <a:t>i</a:t>
            </a:r>
            <a:r>
              <a:rPr sz="1100" spc="-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g</a:t>
            </a:r>
            <a:r>
              <a:rPr sz="1100" spc="-44" dirty="0" smtClean="0">
                <a:latin typeface="+mj-lt"/>
                <a:cs typeface="Cambria"/>
              </a:rPr>
              <a:t> </a:t>
            </a: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l</a:t>
            </a:r>
            <a:r>
              <a:rPr sz="1100" spc="-4" dirty="0" smtClean="0">
                <a:latin typeface="+mj-lt"/>
                <a:cs typeface="Cambria"/>
              </a:rPr>
              <a:t>g</a:t>
            </a:r>
            <a:r>
              <a:rPr sz="1100" spc="0" dirty="0" smtClean="0">
                <a:latin typeface="+mj-lt"/>
                <a:cs typeface="Cambria"/>
              </a:rPr>
              <a:t>or</a:t>
            </a:r>
            <a:r>
              <a:rPr sz="1100" spc="4" dirty="0" smtClean="0">
                <a:latin typeface="+mj-lt"/>
                <a:cs typeface="Cambria"/>
              </a:rPr>
              <a:t>i</a:t>
            </a:r>
            <a:r>
              <a:rPr sz="1100" spc="0" dirty="0" smtClean="0">
                <a:latin typeface="+mj-lt"/>
                <a:cs typeface="Cambria"/>
              </a:rPr>
              <a:t>thm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40271" y="2358543"/>
            <a:ext cx="3895344" cy="3391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14">
              <a:lnSpc>
                <a:spcPct val="97696"/>
              </a:lnSpc>
              <a:spcBef>
                <a:spcPts val="405"/>
              </a:spcBef>
            </a:pPr>
            <a:r>
              <a:rPr sz="1100" spc="0" dirty="0" smtClean="0">
                <a:latin typeface="+mj-lt"/>
                <a:cs typeface="Cambria"/>
              </a:rPr>
              <a:t>Insert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i</a:t>
            </a:r>
            <a:r>
              <a:rPr sz="1100" spc="-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to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C</a:t>
            </a:r>
            <a:r>
              <a:rPr sz="1100" spc="4" dirty="0" smtClean="0">
                <a:latin typeface="+mj-lt"/>
                <a:cs typeface="Cambria"/>
              </a:rPr>
              <a:t>us</a:t>
            </a:r>
            <a:r>
              <a:rPr sz="1100" spc="0" dirty="0" smtClean="0">
                <a:latin typeface="+mj-lt"/>
                <a:cs typeface="Cambria"/>
              </a:rPr>
              <a:t>to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r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r>
              <a:rPr sz="1100" spc="227" dirty="0" smtClean="0">
                <a:latin typeface="+mj-lt"/>
                <a:cs typeface="Cambria"/>
              </a:rPr>
              <a:t> </a:t>
            </a:r>
            <a:r>
              <a:rPr sz="1100" spc="-9" dirty="0" smtClean="0">
                <a:latin typeface="+mj-lt"/>
                <a:cs typeface="Cambria"/>
              </a:rPr>
              <a:t>v</a:t>
            </a:r>
            <a:r>
              <a:rPr sz="1100" spc="0" dirty="0" smtClean="0">
                <a:latin typeface="+mj-lt"/>
                <a:cs typeface="Cambria"/>
              </a:rPr>
              <a:t>alues</a:t>
            </a:r>
            <a:r>
              <a:rPr sz="1100" spc="-19" dirty="0" smtClean="0">
                <a:latin typeface="+mj-lt"/>
                <a:cs typeface="Cambria"/>
              </a:rPr>
              <a:t> </a:t>
            </a:r>
            <a:r>
              <a:rPr sz="1100" spc="9" dirty="0" smtClean="0">
                <a:latin typeface="+mj-lt"/>
                <a:cs typeface="Cambria"/>
              </a:rPr>
              <a:t>(</a:t>
            </a:r>
            <a:r>
              <a:rPr sz="1600" b="1" spc="4" dirty="0" smtClean="0">
                <a:solidFill>
                  <a:srgbClr val="5C5F0A"/>
                </a:solidFill>
                <a:latin typeface="+mj-lt"/>
                <a:cs typeface="Cambria"/>
              </a:rPr>
              <a:t>4</a:t>
            </a:r>
            <a:r>
              <a:rPr sz="1600" b="1" spc="0" dirty="0" smtClean="0">
                <a:solidFill>
                  <a:srgbClr val="5C5F0A"/>
                </a:solidFill>
                <a:latin typeface="+mj-lt"/>
                <a:cs typeface="Cambria"/>
              </a:rPr>
              <a:t>5</a:t>
            </a:r>
            <a:r>
              <a:rPr sz="1100" spc="0" dirty="0" smtClean="0">
                <a:latin typeface="+mj-lt"/>
                <a:cs typeface="Cambria"/>
              </a:rPr>
              <a:t>,</a:t>
            </a:r>
            <a:r>
              <a:rPr sz="1100" spc="-8" dirty="0" smtClean="0">
                <a:latin typeface="+mj-lt"/>
                <a:cs typeface="Cambria"/>
              </a:rPr>
              <a:t> </a:t>
            </a:r>
            <a:r>
              <a:rPr sz="1100" spc="-4" dirty="0" smtClean="0">
                <a:latin typeface="+mj-lt"/>
                <a:cs typeface="Cambria"/>
              </a:rPr>
              <a:t>‘A</a:t>
            </a:r>
            <a:r>
              <a:rPr sz="1100" spc="0" dirty="0" smtClean="0">
                <a:latin typeface="+mj-lt"/>
                <a:cs typeface="Cambria"/>
              </a:rPr>
              <a:t>da</a:t>
            </a:r>
            <a:r>
              <a:rPr sz="1100" spc="4" dirty="0" smtClean="0">
                <a:latin typeface="+mj-lt"/>
                <a:cs typeface="Cambria"/>
              </a:rPr>
              <a:t>ms</a:t>
            </a:r>
            <a:r>
              <a:rPr sz="1100" spc="0" dirty="0" smtClean="0">
                <a:latin typeface="+mj-lt"/>
                <a:cs typeface="Cambria"/>
              </a:rPr>
              <a:t>’</a:t>
            </a:r>
            <a:r>
              <a:rPr sz="1100" spc="-29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,</a:t>
            </a:r>
            <a:r>
              <a:rPr sz="1100" spc="-9" dirty="0" smtClean="0">
                <a:latin typeface="+mj-lt"/>
                <a:cs typeface="Cambria"/>
              </a:rPr>
              <a:t> </a:t>
            </a:r>
            <a:r>
              <a:rPr sz="1100" spc="-4" dirty="0" smtClean="0">
                <a:latin typeface="+mj-lt"/>
                <a:cs typeface="Cambria"/>
              </a:rPr>
              <a:t>‘</a:t>
            </a:r>
            <a:r>
              <a:rPr sz="1100" spc="0" dirty="0" smtClean="0">
                <a:latin typeface="+mj-lt"/>
                <a:cs typeface="Cambria"/>
              </a:rPr>
              <a:t>44</a:t>
            </a:r>
            <a:r>
              <a:rPr sz="1100" spc="4" dirty="0" smtClean="0">
                <a:latin typeface="+mj-lt"/>
                <a:cs typeface="Cambria"/>
              </a:rPr>
              <a:t>4-</a:t>
            </a:r>
            <a:r>
              <a:rPr sz="1100" spc="0" dirty="0" smtClean="0">
                <a:latin typeface="+mj-lt"/>
                <a:cs typeface="Cambria"/>
              </a:rPr>
              <a:t>6666’;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689093" y="1100201"/>
            <a:ext cx="1187831" cy="1559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37921" marR="438291" algn="ctr">
              <a:lnSpc>
                <a:spcPts val="1120"/>
              </a:lnSpc>
              <a:spcBef>
                <a:spcPts val="161"/>
              </a:spcBef>
            </a:pPr>
            <a:r>
              <a:rPr sz="1650" spc="0" baseline="-7754" dirty="0" smtClean="0">
                <a:latin typeface="+mj-lt"/>
                <a:cs typeface="Cambria"/>
              </a:rPr>
              <a:t>C</a:t>
            </a:r>
            <a:r>
              <a:rPr sz="1650" spc="4" baseline="-7754" dirty="0" smtClean="0">
                <a:latin typeface="+mj-lt"/>
                <a:cs typeface="Cambria"/>
              </a:rPr>
              <a:t>us</a:t>
            </a:r>
            <a:r>
              <a:rPr sz="1650" spc="0" baseline="-7754" dirty="0" smtClean="0">
                <a:latin typeface="+mj-lt"/>
                <a:cs typeface="Cambria"/>
              </a:rPr>
              <a:t>t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876923" y="1100201"/>
            <a:ext cx="965326" cy="1559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36448">
              <a:lnSpc>
                <a:spcPts val="1215"/>
              </a:lnSpc>
              <a:spcBef>
                <a:spcPts val="70"/>
              </a:spcBef>
            </a:pPr>
            <a:r>
              <a:rPr sz="1650" spc="4" baseline="-2584" dirty="0" smtClean="0">
                <a:latin typeface="+mj-lt"/>
                <a:cs typeface="Cambria"/>
              </a:rPr>
              <a:t>N</a:t>
            </a:r>
            <a:r>
              <a:rPr sz="1650" spc="0" baseline="-2584" dirty="0" smtClean="0">
                <a:latin typeface="+mj-lt"/>
                <a:cs typeface="Cambria"/>
              </a:rPr>
              <a:t>a</a:t>
            </a:r>
            <a:r>
              <a:rPr sz="1650" spc="4" baseline="-2584" dirty="0" smtClean="0">
                <a:latin typeface="+mj-lt"/>
                <a:cs typeface="Cambria"/>
              </a:rPr>
              <a:t>m</a:t>
            </a:r>
            <a:r>
              <a:rPr sz="1650" spc="0" baseline="-2584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7842251" y="1100201"/>
            <a:ext cx="1568450" cy="1559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807974">
              <a:lnSpc>
                <a:spcPts val="1120"/>
              </a:lnSpc>
              <a:spcBef>
                <a:spcPts val="161"/>
              </a:spcBef>
            </a:pPr>
            <a:r>
              <a:rPr sz="1650" spc="0" baseline="-7754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650104" y="1256157"/>
            <a:ext cx="1226820" cy="1344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876923" y="1256157"/>
            <a:ext cx="965326" cy="1344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7842251" y="1256157"/>
            <a:ext cx="1568450" cy="1344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650104" y="1390650"/>
            <a:ext cx="1226820" cy="1464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37616" marR="426418" algn="ctr">
              <a:lnSpc>
                <a:spcPts val="960"/>
              </a:lnSpc>
              <a:spcBef>
                <a:spcPts val="238"/>
              </a:spcBef>
            </a:pPr>
            <a:r>
              <a:rPr sz="1650" spc="4" baseline="-15508" dirty="0" smtClean="0">
                <a:latin typeface="+mj-lt"/>
                <a:cs typeface="Cambria"/>
              </a:rPr>
              <a:t>U</a:t>
            </a:r>
            <a:r>
              <a:rPr sz="1650" spc="0" baseline="-15508" dirty="0" smtClean="0">
                <a:latin typeface="+mj-lt"/>
                <a:cs typeface="Cambria"/>
              </a:rPr>
              <a:t>PI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876923" y="1390650"/>
            <a:ext cx="965326" cy="1464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7842251" y="1390650"/>
            <a:ext cx="1568450" cy="1464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669280" y="1525905"/>
            <a:ext cx="1226820" cy="18014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91007" marR="534014" algn="ctr">
              <a:lnSpc>
                <a:spcPct val="97696"/>
              </a:lnSpc>
              <a:spcBef>
                <a:spcPts val="340"/>
              </a:spcBef>
            </a:pPr>
            <a:r>
              <a:rPr sz="1100" spc="0" dirty="0" smtClean="0">
                <a:latin typeface="+mj-lt"/>
                <a:cs typeface="Cambria"/>
              </a:rPr>
              <a:t>37</a:t>
            </a:r>
            <a:endParaRPr sz="1100" dirty="0">
              <a:latin typeface="+mj-lt"/>
              <a:cs typeface="Cambria"/>
            </a:endParaRPr>
          </a:p>
          <a:p>
            <a:pPr marL="491007" marR="534014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98</a:t>
            </a:r>
            <a:endParaRPr sz="1100" dirty="0">
              <a:latin typeface="+mj-lt"/>
              <a:cs typeface="Cambria"/>
            </a:endParaRPr>
          </a:p>
          <a:p>
            <a:pPr marL="491007" marR="534014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74</a:t>
            </a:r>
            <a:endParaRPr sz="1100" dirty="0">
              <a:latin typeface="+mj-lt"/>
              <a:cs typeface="Cambria"/>
            </a:endParaRPr>
          </a:p>
          <a:p>
            <a:pPr marL="491007" marR="534014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95</a:t>
            </a:r>
            <a:endParaRPr sz="1100" dirty="0">
              <a:latin typeface="+mj-lt"/>
              <a:cs typeface="Cambria"/>
            </a:endParaRPr>
          </a:p>
          <a:p>
            <a:pPr marL="491007" marR="534014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27</a:t>
            </a:r>
            <a:endParaRPr sz="1100" dirty="0">
              <a:latin typeface="+mj-lt"/>
              <a:cs typeface="Cambria"/>
            </a:endParaRPr>
          </a:p>
          <a:p>
            <a:pPr marL="490984" marR="533991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56</a:t>
            </a:r>
            <a:endParaRPr sz="1100" dirty="0">
              <a:latin typeface="+mj-lt"/>
              <a:cs typeface="Cambria"/>
            </a:endParaRPr>
          </a:p>
          <a:p>
            <a:pPr marL="491007" marR="534014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45</a:t>
            </a:r>
            <a:endParaRPr sz="1100" dirty="0">
              <a:latin typeface="+mj-lt"/>
              <a:cs typeface="Cambria"/>
            </a:endParaRPr>
          </a:p>
          <a:p>
            <a:pPr marL="491007" marR="534111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84</a:t>
            </a:r>
            <a:endParaRPr sz="1100" dirty="0">
              <a:latin typeface="+mj-lt"/>
              <a:cs typeface="Cambria"/>
            </a:endParaRPr>
          </a:p>
          <a:p>
            <a:pPr marL="491007" marR="534111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49</a:t>
            </a:r>
            <a:endParaRPr sz="1100" dirty="0">
              <a:latin typeface="+mj-lt"/>
              <a:cs typeface="Cambria"/>
            </a:endParaRPr>
          </a:p>
          <a:p>
            <a:pPr marL="491007" marR="534111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51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921374" y="1574801"/>
            <a:ext cx="965326" cy="18014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495717" indent="48768">
              <a:lnSpc>
                <a:spcPct val="100041"/>
              </a:lnSpc>
              <a:spcBef>
                <a:spcPts val="340"/>
              </a:spcBef>
            </a:pPr>
            <a:r>
              <a:rPr sz="1100" spc="0" dirty="0" smtClean="0">
                <a:latin typeface="+mj-lt"/>
                <a:cs typeface="Cambria"/>
              </a:rPr>
              <a:t>W</a:t>
            </a:r>
            <a:r>
              <a:rPr sz="1100" spc="4" dirty="0" smtClean="0">
                <a:latin typeface="+mj-lt"/>
                <a:cs typeface="Cambria"/>
              </a:rPr>
              <a:t>hi</a:t>
            </a:r>
            <a:r>
              <a:rPr sz="1100" spc="0" dirty="0" smtClean="0">
                <a:latin typeface="+mj-lt"/>
                <a:cs typeface="Cambria"/>
              </a:rPr>
              <a:t>te B</a:t>
            </a:r>
            <a:r>
              <a:rPr sz="1100" spc="-4" dirty="0" smtClean="0">
                <a:latin typeface="+mj-lt"/>
                <a:cs typeface="Cambria"/>
              </a:rPr>
              <a:t>r</a:t>
            </a:r>
            <a:r>
              <a:rPr sz="1100" spc="0" dirty="0" smtClean="0">
                <a:latin typeface="+mj-lt"/>
                <a:cs typeface="Cambria"/>
              </a:rPr>
              <a:t>own </a:t>
            </a:r>
            <a:r>
              <a:rPr sz="1100" spc="4" dirty="0" smtClean="0">
                <a:latin typeface="+mj-lt"/>
                <a:cs typeface="Cambria"/>
              </a:rPr>
              <a:t>Smi</a:t>
            </a:r>
            <a:r>
              <a:rPr sz="1100" spc="0" dirty="0" smtClean="0">
                <a:latin typeface="+mj-lt"/>
                <a:cs typeface="Cambria"/>
              </a:rPr>
              <a:t>th Peters Jo</a:t>
            </a:r>
            <a:r>
              <a:rPr sz="1100" spc="-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es S</a:t>
            </a:r>
            <a:r>
              <a:rPr sz="1100" spc="4" dirty="0" smtClean="0">
                <a:latin typeface="+mj-lt"/>
                <a:cs typeface="Cambria"/>
              </a:rPr>
              <a:t>mi</a:t>
            </a:r>
            <a:r>
              <a:rPr sz="1100" spc="0" dirty="0" smtClean="0">
                <a:latin typeface="+mj-lt"/>
                <a:cs typeface="Cambria"/>
              </a:rPr>
              <a:t>th </a:t>
            </a: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d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s Ri</a:t>
            </a:r>
            <a:r>
              <a:rPr sz="1100" spc="4" dirty="0" smtClean="0">
                <a:latin typeface="+mj-lt"/>
                <a:cs typeface="Cambria"/>
              </a:rPr>
              <a:t>c</a:t>
            </a:r>
            <a:r>
              <a:rPr sz="1100" spc="0" dirty="0" smtClean="0">
                <a:latin typeface="+mj-lt"/>
                <a:cs typeface="Cambria"/>
              </a:rPr>
              <a:t>e </a:t>
            </a:r>
            <a:r>
              <a:rPr sz="1100" spc="4" dirty="0" smtClean="0">
                <a:latin typeface="+mj-lt"/>
                <a:cs typeface="Cambria"/>
              </a:rPr>
              <a:t>Smi</a:t>
            </a:r>
            <a:r>
              <a:rPr sz="1100" spc="0" dirty="0" smtClean="0">
                <a:latin typeface="+mj-lt"/>
                <a:cs typeface="Cambria"/>
              </a:rPr>
              <a:t>th Mar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h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7842251" y="1537081"/>
            <a:ext cx="1568450" cy="18014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7685">
              <a:lnSpc>
                <a:spcPct val="97696"/>
              </a:lnSpc>
              <a:spcBef>
                <a:spcPts val="340"/>
              </a:spcBef>
            </a:pPr>
            <a:r>
              <a:rPr sz="1100" spc="0" dirty="0" smtClean="0">
                <a:latin typeface="+mj-lt"/>
                <a:cs typeface="Cambria"/>
              </a:rPr>
              <a:t>555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4444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333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9999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555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555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7777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222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8888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555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7777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444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2" y="6223000"/>
            <a:ext cx="9905998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100">
              <a:latin typeface="+mj-lt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Title 12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cessing Via a Unique Primary Index </a:t>
            </a:r>
            <a:endParaRPr lang="en-US" dirty="0"/>
          </a:p>
        </p:txBody>
      </p:sp>
      <p:sp>
        <p:nvSpPr>
          <p:cNvPr id="118" name="object 118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5689093" y="1100201"/>
            <a:ext cx="3717036" cy="0"/>
          </a:xfrm>
          <a:custGeom>
            <a:avLst/>
            <a:gdLst/>
            <a:ahLst/>
            <a:cxnLst/>
            <a:rect l="l" t="t" r="r" b="b"/>
            <a:pathLst>
              <a:path w="3717036">
                <a:moveTo>
                  <a:pt x="0" y="0"/>
                </a:moveTo>
                <a:lnTo>
                  <a:pt x="3717036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1" name="object 121"/>
          <p:cNvSpPr/>
          <p:nvPr/>
        </p:nvSpPr>
        <p:spPr>
          <a:xfrm>
            <a:off x="5668392" y="1390650"/>
            <a:ext cx="3717036" cy="0"/>
          </a:xfrm>
          <a:custGeom>
            <a:avLst/>
            <a:gdLst/>
            <a:ahLst/>
            <a:cxnLst/>
            <a:rect l="l" t="t" r="r" b="b"/>
            <a:pathLst>
              <a:path w="3717036">
                <a:moveTo>
                  <a:pt x="0" y="0"/>
                </a:moveTo>
                <a:lnTo>
                  <a:pt x="3717036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2" name="object 122"/>
          <p:cNvSpPr/>
          <p:nvPr/>
        </p:nvSpPr>
        <p:spPr>
          <a:xfrm>
            <a:off x="5700523" y="1256157"/>
            <a:ext cx="3717036" cy="0"/>
          </a:xfrm>
          <a:custGeom>
            <a:avLst/>
            <a:gdLst/>
            <a:ahLst/>
            <a:cxnLst/>
            <a:rect l="l" t="t" r="r" b="b"/>
            <a:pathLst>
              <a:path w="3717035">
                <a:moveTo>
                  <a:pt x="0" y="0"/>
                </a:moveTo>
                <a:lnTo>
                  <a:pt x="3717035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3" name="object 123"/>
          <p:cNvSpPr/>
          <p:nvPr/>
        </p:nvSpPr>
        <p:spPr>
          <a:xfrm>
            <a:off x="5670677" y="1537080"/>
            <a:ext cx="3710178" cy="0"/>
          </a:xfrm>
          <a:custGeom>
            <a:avLst/>
            <a:gdLst/>
            <a:ahLst/>
            <a:cxnLst/>
            <a:rect l="l" t="t" r="r" b="b"/>
            <a:pathLst>
              <a:path w="3710178">
                <a:moveTo>
                  <a:pt x="0" y="0"/>
                </a:moveTo>
                <a:lnTo>
                  <a:pt x="3710178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4" name="object 124"/>
          <p:cNvSpPr/>
          <p:nvPr/>
        </p:nvSpPr>
        <p:spPr>
          <a:xfrm>
            <a:off x="5650104" y="1091819"/>
            <a:ext cx="0" cy="2246756"/>
          </a:xfrm>
          <a:custGeom>
            <a:avLst/>
            <a:gdLst/>
            <a:ahLst/>
            <a:cxnLst/>
            <a:rect l="l" t="t" r="r" b="b"/>
            <a:pathLst>
              <a:path h="2246756">
                <a:moveTo>
                  <a:pt x="0" y="0"/>
                </a:moveTo>
                <a:lnTo>
                  <a:pt x="0" y="2246756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5" name="object 125"/>
          <p:cNvSpPr/>
          <p:nvPr/>
        </p:nvSpPr>
        <p:spPr>
          <a:xfrm>
            <a:off x="6876923" y="1091819"/>
            <a:ext cx="0" cy="2246756"/>
          </a:xfrm>
          <a:custGeom>
            <a:avLst/>
            <a:gdLst/>
            <a:ahLst/>
            <a:cxnLst/>
            <a:rect l="l" t="t" r="r" b="b"/>
            <a:pathLst>
              <a:path h="2246756">
                <a:moveTo>
                  <a:pt x="0" y="0"/>
                </a:moveTo>
                <a:lnTo>
                  <a:pt x="0" y="2246756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6" name="object 126"/>
          <p:cNvSpPr/>
          <p:nvPr/>
        </p:nvSpPr>
        <p:spPr>
          <a:xfrm>
            <a:off x="7842250" y="1091819"/>
            <a:ext cx="0" cy="2246756"/>
          </a:xfrm>
          <a:custGeom>
            <a:avLst/>
            <a:gdLst/>
            <a:ahLst/>
            <a:cxnLst/>
            <a:rect l="l" t="t" r="r" b="b"/>
            <a:pathLst>
              <a:path h="2246756">
                <a:moveTo>
                  <a:pt x="0" y="0"/>
                </a:moveTo>
                <a:lnTo>
                  <a:pt x="0" y="2246756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7" name="object 127"/>
          <p:cNvSpPr/>
          <p:nvPr/>
        </p:nvSpPr>
        <p:spPr>
          <a:xfrm>
            <a:off x="9410701" y="1091819"/>
            <a:ext cx="0" cy="2246756"/>
          </a:xfrm>
          <a:custGeom>
            <a:avLst/>
            <a:gdLst/>
            <a:ahLst/>
            <a:cxnLst/>
            <a:rect l="l" t="t" r="r" b="b"/>
            <a:pathLst>
              <a:path h="2246756">
                <a:moveTo>
                  <a:pt x="0" y="0"/>
                </a:moveTo>
                <a:lnTo>
                  <a:pt x="0" y="2246756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1" name="object 81"/>
          <p:cNvSpPr/>
          <p:nvPr/>
        </p:nvSpPr>
        <p:spPr>
          <a:xfrm>
            <a:off x="2267712" y="3616452"/>
            <a:ext cx="446531" cy="45110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2341246" y="3657601"/>
            <a:ext cx="300355" cy="304800"/>
          </a:xfrm>
          <a:custGeom>
            <a:avLst/>
            <a:gdLst/>
            <a:ahLst/>
            <a:cxnLst/>
            <a:rect l="l" t="t" r="r" b="b"/>
            <a:pathLst>
              <a:path w="300355" h="304800">
                <a:moveTo>
                  <a:pt x="0" y="0"/>
                </a:moveTo>
                <a:lnTo>
                  <a:pt x="150113" y="304800"/>
                </a:lnTo>
                <a:lnTo>
                  <a:pt x="300355" y="0"/>
                </a:lnTo>
                <a:lnTo>
                  <a:pt x="0" y="0"/>
                </a:lnTo>
                <a:close/>
              </a:path>
            </a:pathLst>
          </a:custGeom>
          <a:solidFill>
            <a:srgbClr val="B7BD1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3" name="object 83"/>
          <p:cNvSpPr/>
          <p:nvPr/>
        </p:nvSpPr>
        <p:spPr>
          <a:xfrm>
            <a:off x="2341246" y="3657601"/>
            <a:ext cx="300355" cy="304800"/>
          </a:xfrm>
          <a:custGeom>
            <a:avLst/>
            <a:gdLst/>
            <a:ahLst/>
            <a:cxnLst/>
            <a:rect l="l" t="t" r="r" b="b"/>
            <a:pathLst>
              <a:path w="300355" h="304800">
                <a:moveTo>
                  <a:pt x="0" y="0"/>
                </a:moveTo>
                <a:lnTo>
                  <a:pt x="0" y="0"/>
                </a:lnTo>
                <a:lnTo>
                  <a:pt x="75056" y="0"/>
                </a:lnTo>
                <a:lnTo>
                  <a:pt x="225298" y="0"/>
                </a:lnTo>
                <a:lnTo>
                  <a:pt x="300355" y="0"/>
                </a:lnTo>
                <a:lnTo>
                  <a:pt x="150113" y="304800"/>
                </a:lnTo>
                <a:lnTo>
                  <a:pt x="0" y="0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1784605" y="2845307"/>
            <a:ext cx="1411224" cy="33375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5" name="object 85"/>
          <p:cNvSpPr/>
          <p:nvPr/>
        </p:nvSpPr>
        <p:spPr>
          <a:xfrm>
            <a:off x="1832104" y="2872943"/>
            <a:ext cx="1316227" cy="23931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1832104" y="2872943"/>
            <a:ext cx="1316227" cy="239318"/>
          </a:xfrm>
          <a:custGeom>
            <a:avLst/>
            <a:gdLst/>
            <a:ahLst/>
            <a:cxnLst/>
            <a:rect l="l" t="t" r="r" b="b"/>
            <a:pathLst>
              <a:path w="1316227" h="239318">
                <a:moveTo>
                  <a:pt x="0" y="239318"/>
                </a:moveTo>
                <a:lnTo>
                  <a:pt x="1316227" y="239318"/>
                </a:lnTo>
                <a:lnTo>
                  <a:pt x="1316227" y="0"/>
                </a:lnTo>
                <a:lnTo>
                  <a:pt x="0" y="0"/>
                </a:lnTo>
                <a:lnTo>
                  <a:pt x="0" y="239318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7" name="object 87"/>
          <p:cNvSpPr/>
          <p:nvPr/>
        </p:nvSpPr>
        <p:spPr>
          <a:xfrm>
            <a:off x="1444753" y="3172967"/>
            <a:ext cx="2002536" cy="49377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1036459" y="2814663"/>
            <a:ext cx="2967227" cy="854875"/>
          </a:xfrm>
          <a:custGeom>
            <a:avLst/>
            <a:gdLst/>
            <a:ahLst/>
            <a:cxnLst/>
            <a:rect l="l" t="t" r="r" b="b"/>
            <a:pathLst>
              <a:path w="2967228" h="854875">
                <a:moveTo>
                  <a:pt x="0" y="854875"/>
                </a:moveTo>
                <a:lnTo>
                  <a:pt x="2967228" y="854875"/>
                </a:lnTo>
                <a:lnTo>
                  <a:pt x="2967228" y="0"/>
                </a:lnTo>
                <a:lnTo>
                  <a:pt x="0" y="0"/>
                </a:lnTo>
                <a:lnTo>
                  <a:pt x="0" y="854875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9" name="object 89"/>
          <p:cNvSpPr/>
          <p:nvPr/>
        </p:nvSpPr>
        <p:spPr>
          <a:xfrm>
            <a:off x="2410842" y="3032506"/>
            <a:ext cx="76200" cy="169037"/>
          </a:xfrm>
          <a:custGeom>
            <a:avLst/>
            <a:gdLst/>
            <a:ahLst/>
            <a:cxnLst/>
            <a:rect l="l" t="t" r="r" b="b"/>
            <a:pathLst>
              <a:path w="76200" h="169037">
                <a:moveTo>
                  <a:pt x="76200" y="92837"/>
                </a:moveTo>
                <a:lnTo>
                  <a:pt x="44449" y="114003"/>
                </a:lnTo>
                <a:lnTo>
                  <a:pt x="38100" y="118237"/>
                </a:lnTo>
                <a:lnTo>
                  <a:pt x="31750" y="118237"/>
                </a:lnTo>
                <a:lnTo>
                  <a:pt x="31749" y="114003"/>
                </a:lnTo>
                <a:lnTo>
                  <a:pt x="0" y="92837"/>
                </a:lnTo>
                <a:lnTo>
                  <a:pt x="38100" y="169037"/>
                </a:lnTo>
                <a:lnTo>
                  <a:pt x="44450" y="118237"/>
                </a:lnTo>
                <a:lnTo>
                  <a:pt x="76200" y="92837"/>
                </a:lnTo>
                <a:close/>
              </a:path>
              <a:path w="76200" h="169037">
                <a:moveTo>
                  <a:pt x="38100" y="118237"/>
                </a:moveTo>
                <a:lnTo>
                  <a:pt x="44449" y="114003"/>
                </a:lnTo>
                <a:lnTo>
                  <a:pt x="44450" y="0"/>
                </a:lnTo>
                <a:lnTo>
                  <a:pt x="31750" y="0"/>
                </a:lnTo>
                <a:lnTo>
                  <a:pt x="31750" y="118237"/>
                </a:lnTo>
                <a:lnTo>
                  <a:pt x="38100" y="118237"/>
                </a:lnTo>
                <a:close/>
              </a:path>
              <a:path w="76200" h="169037">
                <a:moveTo>
                  <a:pt x="44450" y="118237"/>
                </a:moveTo>
                <a:lnTo>
                  <a:pt x="38100" y="169037"/>
                </a:lnTo>
                <a:lnTo>
                  <a:pt x="76200" y="92837"/>
                </a:lnTo>
                <a:lnTo>
                  <a:pt x="44450" y="118237"/>
                </a:lnTo>
                <a:close/>
              </a:path>
            </a:pathLst>
          </a:custGeom>
          <a:solidFill>
            <a:srgbClr val="25304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0" name="object 90"/>
          <p:cNvSpPr/>
          <p:nvPr/>
        </p:nvSpPr>
        <p:spPr>
          <a:xfrm>
            <a:off x="165100" y="4876800"/>
            <a:ext cx="2311399" cy="1371600"/>
          </a:xfrm>
          <a:custGeom>
            <a:avLst/>
            <a:gdLst/>
            <a:ahLst/>
            <a:cxnLst/>
            <a:rect l="l" t="t" r="r" b="b"/>
            <a:pathLst>
              <a:path w="2311400" h="1371600">
                <a:moveTo>
                  <a:pt x="2311400" y="140335"/>
                </a:moveTo>
                <a:lnTo>
                  <a:pt x="2277813" y="174040"/>
                </a:lnTo>
                <a:lnTo>
                  <a:pt x="2220583" y="194925"/>
                </a:lnTo>
                <a:lnTo>
                  <a:pt x="2182407" y="204784"/>
                </a:lnTo>
                <a:lnTo>
                  <a:pt x="2138255" y="214206"/>
                </a:lnTo>
                <a:lnTo>
                  <a:pt x="2088424" y="223155"/>
                </a:lnTo>
                <a:lnTo>
                  <a:pt x="2033211" y="231595"/>
                </a:lnTo>
                <a:lnTo>
                  <a:pt x="1972913" y="239490"/>
                </a:lnTo>
                <a:lnTo>
                  <a:pt x="1907828" y="246804"/>
                </a:lnTo>
                <a:lnTo>
                  <a:pt x="1838252" y="253501"/>
                </a:lnTo>
                <a:lnTo>
                  <a:pt x="1764485" y="259545"/>
                </a:lnTo>
                <a:lnTo>
                  <a:pt x="1686822" y="264899"/>
                </a:lnTo>
                <a:lnTo>
                  <a:pt x="1605561" y="269529"/>
                </a:lnTo>
                <a:lnTo>
                  <a:pt x="1521000" y="273398"/>
                </a:lnTo>
                <a:lnTo>
                  <a:pt x="1433436" y="276470"/>
                </a:lnTo>
                <a:lnTo>
                  <a:pt x="1343166" y="278708"/>
                </a:lnTo>
                <a:lnTo>
                  <a:pt x="1250488" y="280078"/>
                </a:lnTo>
                <a:lnTo>
                  <a:pt x="1155700" y="280543"/>
                </a:lnTo>
                <a:lnTo>
                  <a:pt x="1060914" y="280078"/>
                </a:lnTo>
                <a:lnTo>
                  <a:pt x="968239" y="278708"/>
                </a:lnTo>
                <a:lnTo>
                  <a:pt x="877971" y="276470"/>
                </a:lnTo>
                <a:lnTo>
                  <a:pt x="790408" y="273398"/>
                </a:lnTo>
                <a:lnTo>
                  <a:pt x="705848" y="269529"/>
                </a:lnTo>
                <a:lnTo>
                  <a:pt x="624588" y="264899"/>
                </a:lnTo>
                <a:lnTo>
                  <a:pt x="546926" y="259545"/>
                </a:lnTo>
                <a:lnTo>
                  <a:pt x="473158" y="253501"/>
                </a:lnTo>
                <a:lnTo>
                  <a:pt x="403582" y="246804"/>
                </a:lnTo>
                <a:lnTo>
                  <a:pt x="338496" y="239490"/>
                </a:lnTo>
                <a:lnTo>
                  <a:pt x="278197" y="231595"/>
                </a:lnTo>
                <a:lnTo>
                  <a:pt x="222982" y="223155"/>
                </a:lnTo>
                <a:lnTo>
                  <a:pt x="173150" y="214206"/>
                </a:lnTo>
                <a:lnTo>
                  <a:pt x="128996" y="204784"/>
                </a:lnTo>
                <a:lnTo>
                  <a:pt x="90820" y="194925"/>
                </a:lnTo>
                <a:lnTo>
                  <a:pt x="33587" y="174040"/>
                </a:lnTo>
                <a:lnTo>
                  <a:pt x="0" y="140335"/>
                </a:lnTo>
                <a:lnTo>
                  <a:pt x="3831" y="128830"/>
                </a:lnTo>
                <a:lnTo>
                  <a:pt x="15126" y="117580"/>
                </a:lnTo>
                <a:lnTo>
                  <a:pt x="58919" y="95991"/>
                </a:lnTo>
                <a:lnTo>
                  <a:pt x="128999" y="75858"/>
                </a:lnTo>
                <a:lnTo>
                  <a:pt x="173153" y="66427"/>
                </a:lnTo>
                <a:lnTo>
                  <a:pt x="222986" y="57470"/>
                </a:lnTo>
                <a:lnTo>
                  <a:pt x="278201" y="49020"/>
                </a:lnTo>
                <a:lnTo>
                  <a:pt x="338501" y="41116"/>
                </a:lnTo>
                <a:lnTo>
                  <a:pt x="403587" y="33792"/>
                </a:lnTo>
                <a:lnTo>
                  <a:pt x="473163" y="27086"/>
                </a:lnTo>
                <a:lnTo>
                  <a:pt x="546931" y="21033"/>
                </a:lnTo>
                <a:lnTo>
                  <a:pt x="624594" y="15670"/>
                </a:lnTo>
                <a:lnTo>
                  <a:pt x="705854" y="11033"/>
                </a:lnTo>
                <a:lnTo>
                  <a:pt x="790413" y="7157"/>
                </a:lnTo>
                <a:lnTo>
                  <a:pt x="877975" y="4080"/>
                </a:lnTo>
                <a:lnTo>
                  <a:pt x="968242" y="1837"/>
                </a:lnTo>
                <a:lnTo>
                  <a:pt x="1060916" y="465"/>
                </a:lnTo>
                <a:lnTo>
                  <a:pt x="1155700" y="0"/>
                </a:lnTo>
                <a:lnTo>
                  <a:pt x="1250488" y="465"/>
                </a:lnTo>
                <a:lnTo>
                  <a:pt x="1343166" y="1837"/>
                </a:lnTo>
                <a:lnTo>
                  <a:pt x="1433436" y="4080"/>
                </a:lnTo>
                <a:lnTo>
                  <a:pt x="1521000" y="7157"/>
                </a:lnTo>
                <a:lnTo>
                  <a:pt x="1605561" y="11033"/>
                </a:lnTo>
                <a:lnTo>
                  <a:pt x="1686822" y="15670"/>
                </a:lnTo>
                <a:lnTo>
                  <a:pt x="1764485" y="21033"/>
                </a:lnTo>
                <a:lnTo>
                  <a:pt x="1838252" y="27086"/>
                </a:lnTo>
                <a:lnTo>
                  <a:pt x="1907828" y="33792"/>
                </a:lnTo>
                <a:lnTo>
                  <a:pt x="1972913" y="41116"/>
                </a:lnTo>
                <a:lnTo>
                  <a:pt x="2033211" y="49020"/>
                </a:lnTo>
                <a:lnTo>
                  <a:pt x="2088424" y="57470"/>
                </a:lnTo>
                <a:lnTo>
                  <a:pt x="2138255" y="66427"/>
                </a:lnTo>
                <a:lnTo>
                  <a:pt x="2182407" y="75858"/>
                </a:lnTo>
                <a:lnTo>
                  <a:pt x="2220583" y="85725"/>
                </a:lnTo>
                <a:lnTo>
                  <a:pt x="2277813" y="106622"/>
                </a:lnTo>
                <a:lnTo>
                  <a:pt x="2311400" y="140335"/>
                </a:lnTo>
                <a:lnTo>
                  <a:pt x="2311400" y="1231315"/>
                </a:lnTo>
                <a:lnTo>
                  <a:pt x="2307569" y="1242822"/>
                </a:lnTo>
                <a:lnTo>
                  <a:pt x="2296274" y="1254072"/>
                </a:lnTo>
                <a:lnTo>
                  <a:pt x="2252484" y="1275658"/>
                </a:lnTo>
                <a:lnTo>
                  <a:pt x="2182407" y="1295787"/>
                </a:lnTo>
                <a:lnTo>
                  <a:pt x="2138255" y="1305214"/>
                </a:lnTo>
                <a:lnTo>
                  <a:pt x="2088424" y="1314168"/>
                </a:lnTo>
                <a:lnTo>
                  <a:pt x="2033211" y="1322613"/>
                </a:lnTo>
                <a:lnTo>
                  <a:pt x="1972913" y="1330513"/>
                </a:lnTo>
                <a:lnTo>
                  <a:pt x="1907828" y="1337833"/>
                </a:lnTo>
                <a:lnTo>
                  <a:pt x="1838252" y="1344534"/>
                </a:lnTo>
                <a:lnTo>
                  <a:pt x="1764485" y="1350583"/>
                </a:lnTo>
                <a:lnTo>
                  <a:pt x="1686822" y="1355942"/>
                </a:lnTo>
                <a:lnTo>
                  <a:pt x="1605561" y="1360576"/>
                </a:lnTo>
                <a:lnTo>
                  <a:pt x="1521000" y="1364448"/>
                </a:lnTo>
                <a:lnTo>
                  <a:pt x="1433436" y="1367523"/>
                </a:lnTo>
                <a:lnTo>
                  <a:pt x="1343166" y="1369764"/>
                </a:lnTo>
                <a:lnTo>
                  <a:pt x="1250488" y="1371135"/>
                </a:lnTo>
                <a:lnTo>
                  <a:pt x="1155700" y="1371600"/>
                </a:lnTo>
                <a:lnTo>
                  <a:pt x="1060914" y="1371135"/>
                </a:lnTo>
                <a:lnTo>
                  <a:pt x="968239" y="1369764"/>
                </a:lnTo>
                <a:lnTo>
                  <a:pt x="877971" y="1367523"/>
                </a:lnTo>
                <a:lnTo>
                  <a:pt x="790408" y="1364448"/>
                </a:lnTo>
                <a:lnTo>
                  <a:pt x="705848" y="1360576"/>
                </a:lnTo>
                <a:lnTo>
                  <a:pt x="624588" y="1355942"/>
                </a:lnTo>
                <a:lnTo>
                  <a:pt x="546926" y="1350583"/>
                </a:lnTo>
                <a:lnTo>
                  <a:pt x="473158" y="1344534"/>
                </a:lnTo>
                <a:lnTo>
                  <a:pt x="403582" y="1337833"/>
                </a:lnTo>
                <a:lnTo>
                  <a:pt x="338496" y="1330513"/>
                </a:lnTo>
                <a:lnTo>
                  <a:pt x="278197" y="1322613"/>
                </a:lnTo>
                <a:lnTo>
                  <a:pt x="222982" y="1314168"/>
                </a:lnTo>
                <a:lnTo>
                  <a:pt x="173150" y="1305214"/>
                </a:lnTo>
                <a:lnTo>
                  <a:pt x="128996" y="1295787"/>
                </a:lnTo>
                <a:lnTo>
                  <a:pt x="90820" y="1285923"/>
                </a:lnTo>
                <a:lnTo>
                  <a:pt x="33587" y="1265029"/>
                </a:lnTo>
                <a:lnTo>
                  <a:pt x="0" y="1231315"/>
                </a:lnTo>
                <a:lnTo>
                  <a:pt x="0" y="140335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1" name="object 91"/>
          <p:cNvSpPr/>
          <p:nvPr/>
        </p:nvSpPr>
        <p:spPr>
          <a:xfrm>
            <a:off x="1289305" y="4628389"/>
            <a:ext cx="379476" cy="41757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2" name="object 92"/>
          <p:cNvSpPr/>
          <p:nvPr/>
        </p:nvSpPr>
        <p:spPr>
          <a:xfrm>
            <a:off x="1371220" y="4669663"/>
            <a:ext cx="215519" cy="283337"/>
          </a:xfrm>
          <a:custGeom>
            <a:avLst/>
            <a:gdLst/>
            <a:ahLst/>
            <a:cxnLst/>
            <a:rect l="l" t="t" r="r" b="b"/>
            <a:pathLst>
              <a:path w="215519" h="283337">
                <a:moveTo>
                  <a:pt x="107822" y="283337"/>
                </a:moveTo>
                <a:lnTo>
                  <a:pt x="215519" y="146812"/>
                </a:lnTo>
                <a:lnTo>
                  <a:pt x="161671" y="146812"/>
                </a:lnTo>
                <a:lnTo>
                  <a:pt x="161671" y="0"/>
                </a:lnTo>
                <a:lnTo>
                  <a:pt x="53975" y="0"/>
                </a:lnTo>
                <a:lnTo>
                  <a:pt x="53975" y="146812"/>
                </a:lnTo>
                <a:lnTo>
                  <a:pt x="0" y="146812"/>
                </a:lnTo>
                <a:lnTo>
                  <a:pt x="107822" y="283337"/>
                </a:lnTo>
                <a:close/>
              </a:path>
            </a:pathLst>
          </a:custGeom>
          <a:solidFill>
            <a:srgbClr val="B7BD1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1371220" y="4669663"/>
            <a:ext cx="215519" cy="283337"/>
          </a:xfrm>
          <a:custGeom>
            <a:avLst/>
            <a:gdLst/>
            <a:ahLst/>
            <a:cxnLst/>
            <a:rect l="l" t="t" r="r" b="b"/>
            <a:pathLst>
              <a:path w="215519" h="283337">
                <a:moveTo>
                  <a:pt x="0" y="146812"/>
                </a:moveTo>
                <a:lnTo>
                  <a:pt x="53975" y="146812"/>
                </a:lnTo>
                <a:lnTo>
                  <a:pt x="53975" y="0"/>
                </a:lnTo>
                <a:lnTo>
                  <a:pt x="161671" y="0"/>
                </a:lnTo>
                <a:lnTo>
                  <a:pt x="161671" y="146812"/>
                </a:lnTo>
                <a:lnTo>
                  <a:pt x="215519" y="146812"/>
                </a:lnTo>
                <a:lnTo>
                  <a:pt x="107822" y="283337"/>
                </a:lnTo>
                <a:lnTo>
                  <a:pt x="0" y="146812"/>
                </a:lnTo>
                <a:close/>
              </a:path>
            </a:pathLst>
          </a:custGeom>
          <a:ln w="38099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4" name="object 94"/>
          <p:cNvSpPr/>
          <p:nvPr/>
        </p:nvSpPr>
        <p:spPr>
          <a:xfrm>
            <a:off x="1295401" y="3980689"/>
            <a:ext cx="367284" cy="54101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5" name="object 95"/>
          <p:cNvSpPr/>
          <p:nvPr/>
        </p:nvSpPr>
        <p:spPr>
          <a:xfrm>
            <a:off x="1371220" y="4021964"/>
            <a:ext cx="215519" cy="397637"/>
          </a:xfrm>
          <a:custGeom>
            <a:avLst/>
            <a:gdLst/>
            <a:ahLst/>
            <a:cxnLst/>
            <a:rect l="l" t="t" r="r" b="b"/>
            <a:pathLst>
              <a:path w="215519" h="397637">
                <a:moveTo>
                  <a:pt x="107822" y="397637"/>
                </a:moveTo>
                <a:lnTo>
                  <a:pt x="215519" y="205994"/>
                </a:lnTo>
                <a:lnTo>
                  <a:pt x="161671" y="205994"/>
                </a:lnTo>
                <a:lnTo>
                  <a:pt x="161671" y="0"/>
                </a:lnTo>
                <a:lnTo>
                  <a:pt x="53975" y="0"/>
                </a:lnTo>
                <a:lnTo>
                  <a:pt x="53975" y="205994"/>
                </a:lnTo>
                <a:lnTo>
                  <a:pt x="0" y="205994"/>
                </a:lnTo>
                <a:lnTo>
                  <a:pt x="107822" y="397637"/>
                </a:lnTo>
                <a:close/>
              </a:path>
            </a:pathLst>
          </a:custGeom>
          <a:solidFill>
            <a:srgbClr val="B7BD1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6" name="object 96"/>
          <p:cNvSpPr/>
          <p:nvPr/>
        </p:nvSpPr>
        <p:spPr>
          <a:xfrm>
            <a:off x="1371220" y="4021964"/>
            <a:ext cx="215519" cy="397637"/>
          </a:xfrm>
          <a:custGeom>
            <a:avLst/>
            <a:gdLst/>
            <a:ahLst/>
            <a:cxnLst/>
            <a:rect l="l" t="t" r="r" b="b"/>
            <a:pathLst>
              <a:path w="215519" h="397637">
                <a:moveTo>
                  <a:pt x="0" y="205994"/>
                </a:moveTo>
                <a:lnTo>
                  <a:pt x="53975" y="205994"/>
                </a:lnTo>
                <a:lnTo>
                  <a:pt x="53975" y="0"/>
                </a:lnTo>
                <a:lnTo>
                  <a:pt x="161671" y="0"/>
                </a:lnTo>
                <a:lnTo>
                  <a:pt x="161671" y="205994"/>
                </a:lnTo>
                <a:lnTo>
                  <a:pt x="215519" y="205994"/>
                </a:lnTo>
                <a:lnTo>
                  <a:pt x="107822" y="397637"/>
                </a:lnTo>
                <a:lnTo>
                  <a:pt x="0" y="205994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7" name="object 97"/>
          <p:cNvSpPr/>
          <p:nvPr/>
        </p:nvSpPr>
        <p:spPr>
          <a:xfrm>
            <a:off x="463295" y="4395216"/>
            <a:ext cx="1978153" cy="43281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8" name="object 98"/>
          <p:cNvSpPr/>
          <p:nvPr/>
        </p:nvSpPr>
        <p:spPr>
          <a:xfrm>
            <a:off x="511352" y="4419536"/>
            <a:ext cx="1882648" cy="338137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511352" y="4419536"/>
            <a:ext cx="1882648" cy="338137"/>
          </a:xfrm>
          <a:custGeom>
            <a:avLst/>
            <a:gdLst/>
            <a:ahLst/>
            <a:cxnLst/>
            <a:rect l="l" t="t" r="r" b="b"/>
            <a:pathLst>
              <a:path w="1882648" h="338137">
                <a:moveTo>
                  <a:pt x="0" y="338137"/>
                </a:moveTo>
                <a:lnTo>
                  <a:pt x="1882648" y="338137"/>
                </a:lnTo>
                <a:lnTo>
                  <a:pt x="1882648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0" name="object 100"/>
          <p:cNvSpPr/>
          <p:nvPr/>
        </p:nvSpPr>
        <p:spPr>
          <a:xfrm>
            <a:off x="696468" y="5544312"/>
            <a:ext cx="818388" cy="35661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1" name="object 101"/>
          <p:cNvSpPr/>
          <p:nvPr/>
        </p:nvSpPr>
        <p:spPr>
          <a:xfrm>
            <a:off x="710184" y="5553456"/>
            <a:ext cx="694944" cy="294131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2" name="object 102"/>
          <p:cNvSpPr/>
          <p:nvPr/>
        </p:nvSpPr>
        <p:spPr>
          <a:xfrm>
            <a:off x="744119" y="5571172"/>
            <a:ext cx="724065" cy="261874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3" name="object 103"/>
          <p:cNvSpPr/>
          <p:nvPr/>
        </p:nvSpPr>
        <p:spPr>
          <a:xfrm>
            <a:off x="744119" y="5571172"/>
            <a:ext cx="724065" cy="261874"/>
          </a:xfrm>
          <a:custGeom>
            <a:avLst/>
            <a:gdLst/>
            <a:ahLst/>
            <a:cxnLst/>
            <a:rect l="l" t="t" r="r" b="b"/>
            <a:pathLst>
              <a:path w="724065" h="261874">
                <a:moveTo>
                  <a:pt x="0" y="261873"/>
                </a:moveTo>
                <a:lnTo>
                  <a:pt x="724065" y="261873"/>
                </a:lnTo>
                <a:lnTo>
                  <a:pt x="724065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4" name="object 104"/>
          <p:cNvSpPr/>
          <p:nvPr/>
        </p:nvSpPr>
        <p:spPr>
          <a:xfrm>
            <a:off x="1440180" y="5535169"/>
            <a:ext cx="1002793" cy="35661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5" name="object 105"/>
          <p:cNvSpPr/>
          <p:nvPr/>
        </p:nvSpPr>
        <p:spPr>
          <a:xfrm>
            <a:off x="1452373" y="5544313"/>
            <a:ext cx="874776" cy="29413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6" name="object 106"/>
          <p:cNvSpPr/>
          <p:nvPr/>
        </p:nvSpPr>
        <p:spPr>
          <a:xfrm>
            <a:off x="1486915" y="5562587"/>
            <a:ext cx="909104" cy="261874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7" name="object 107"/>
          <p:cNvSpPr/>
          <p:nvPr/>
        </p:nvSpPr>
        <p:spPr>
          <a:xfrm>
            <a:off x="1486915" y="5562587"/>
            <a:ext cx="909104" cy="261874"/>
          </a:xfrm>
          <a:custGeom>
            <a:avLst/>
            <a:gdLst/>
            <a:ahLst/>
            <a:cxnLst/>
            <a:rect l="l" t="t" r="r" b="b"/>
            <a:pathLst>
              <a:path w="909104" h="261874">
                <a:moveTo>
                  <a:pt x="0" y="261873"/>
                </a:moveTo>
                <a:lnTo>
                  <a:pt x="909104" y="261873"/>
                </a:lnTo>
                <a:lnTo>
                  <a:pt x="909104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8" name="object 108"/>
          <p:cNvSpPr/>
          <p:nvPr/>
        </p:nvSpPr>
        <p:spPr>
          <a:xfrm>
            <a:off x="283464" y="5544312"/>
            <a:ext cx="438912" cy="356616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9" name="object 109"/>
          <p:cNvSpPr/>
          <p:nvPr/>
        </p:nvSpPr>
        <p:spPr>
          <a:xfrm>
            <a:off x="297180" y="5553456"/>
            <a:ext cx="438912" cy="294131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331127" y="5571172"/>
            <a:ext cx="343255" cy="261874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1" name="object 111"/>
          <p:cNvSpPr/>
          <p:nvPr/>
        </p:nvSpPr>
        <p:spPr>
          <a:xfrm>
            <a:off x="331127" y="5571172"/>
            <a:ext cx="343255" cy="261874"/>
          </a:xfrm>
          <a:custGeom>
            <a:avLst/>
            <a:gdLst/>
            <a:ahLst/>
            <a:cxnLst/>
            <a:rect l="l" t="t" r="r" b="b"/>
            <a:pathLst>
              <a:path w="343255" h="261874">
                <a:moveTo>
                  <a:pt x="0" y="261873"/>
                </a:moveTo>
                <a:lnTo>
                  <a:pt x="343255" y="261873"/>
                </a:lnTo>
                <a:lnTo>
                  <a:pt x="343255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2" name="object 112"/>
          <p:cNvSpPr/>
          <p:nvPr/>
        </p:nvSpPr>
        <p:spPr>
          <a:xfrm>
            <a:off x="365759" y="3858768"/>
            <a:ext cx="8674609" cy="399288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3" name="object 113"/>
          <p:cNvSpPr/>
          <p:nvPr/>
        </p:nvSpPr>
        <p:spPr>
          <a:xfrm>
            <a:off x="412751" y="3886200"/>
            <a:ext cx="8580629" cy="304800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4" name="object 114"/>
          <p:cNvSpPr/>
          <p:nvPr/>
        </p:nvSpPr>
        <p:spPr>
          <a:xfrm>
            <a:off x="412751" y="3886200"/>
            <a:ext cx="8580629" cy="304800"/>
          </a:xfrm>
          <a:custGeom>
            <a:avLst/>
            <a:gdLst/>
            <a:ahLst/>
            <a:cxnLst/>
            <a:rect l="l" t="t" r="r" b="b"/>
            <a:pathLst>
              <a:path w="8580628" h="304800">
                <a:moveTo>
                  <a:pt x="0" y="304800"/>
                </a:moveTo>
                <a:lnTo>
                  <a:pt x="8580628" y="304800"/>
                </a:lnTo>
                <a:lnTo>
                  <a:pt x="8580628" y="0"/>
                </a:lnTo>
                <a:lnTo>
                  <a:pt x="0" y="0"/>
                </a:lnTo>
                <a:lnTo>
                  <a:pt x="0" y="304800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7346950" y="4876800"/>
            <a:ext cx="2311399" cy="1143000"/>
          </a:xfrm>
          <a:custGeom>
            <a:avLst/>
            <a:gdLst/>
            <a:ahLst/>
            <a:cxnLst/>
            <a:rect l="l" t="t" r="r" b="b"/>
            <a:pathLst>
              <a:path w="2311400" h="1143000">
                <a:moveTo>
                  <a:pt x="2311400" y="116839"/>
                </a:moveTo>
                <a:lnTo>
                  <a:pt x="2277813" y="144962"/>
                </a:lnTo>
                <a:lnTo>
                  <a:pt x="2220583" y="162387"/>
                </a:lnTo>
                <a:lnTo>
                  <a:pt x="2182407" y="170612"/>
                </a:lnTo>
                <a:lnTo>
                  <a:pt x="2138255" y="178472"/>
                </a:lnTo>
                <a:lnTo>
                  <a:pt x="2088424" y="185938"/>
                </a:lnTo>
                <a:lnTo>
                  <a:pt x="2033211" y="192978"/>
                </a:lnTo>
                <a:lnTo>
                  <a:pt x="1972913" y="199564"/>
                </a:lnTo>
                <a:lnTo>
                  <a:pt x="1907828" y="205665"/>
                </a:lnTo>
                <a:lnTo>
                  <a:pt x="1838252" y="211251"/>
                </a:lnTo>
                <a:lnTo>
                  <a:pt x="1764485" y="216293"/>
                </a:lnTo>
                <a:lnTo>
                  <a:pt x="1686822" y="220759"/>
                </a:lnTo>
                <a:lnTo>
                  <a:pt x="1605561" y="224621"/>
                </a:lnTo>
                <a:lnTo>
                  <a:pt x="1521000" y="227848"/>
                </a:lnTo>
                <a:lnTo>
                  <a:pt x="1433436" y="230410"/>
                </a:lnTo>
                <a:lnTo>
                  <a:pt x="1343166" y="232277"/>
                </a:lnTo>
                <a:lnTo>
                  <a:pt x="1250488" y="233419"/>
                </a:lnTo>
                <a:lnTo>
                  <a:pt x="1155700" y="233806"/>
                </a:lnTo>
                <a:lnTo>
                  <a:pt x="1060911" y="233419"/>
                </a:lnTo>
                <a:lnTo>
                  <a:pt x="968233" y="232277"/>
                </a:lnTo>
                <a:lnTo>
                  <a:pt x="877963" y="230410"/>
                </a:lnTo>
                <a:lnTo>
                  <a:pt x="790399" y="227848"/>
                </a:lnTo>
                <a:lnTo>
                  <a:pt x="705838" y="224621"/>
                </a:lnTo>
                <a:lnTo>
                  <a:pt x="624577" y="220759"/>
                </a:lnTo>
                <a:lnTo>
                  <a:pt x="546914" y="216293"/>
                </a:lnTo>
                <a:lnTo>
                  <a:pt x="473147" y="211251"/>
                </a:lnTo>
                <a:lnTo>
                  <a:pt x="403571" y="205665"/>
                </a:lnTo>
                <a:lnTo>
                  <a:pt x="338486" y="199564"/>
                </a:lnTo>
                <a:lnTo>
                  <a:pt x="278188" y="192978"/>
                </a:lnTo>
                <a:lnTo>
                  <a:pt x="222975" y="185938"/>
                </a:lnTo>
                <a:lnTo>
                  <a:pt x="173144" y="178472"/>
                </a:lnTo>
                <a:lnTo>
                  <a:pt x="128992" y="170612"/>
                </a:lnTo>
                <a:lnTo>
                  <a:pt x="90816" y="162387"/>
                </a:lnTo>
                <a:lnTo>
                  <a:pt x="33586" y="144962"/>
                </a:lnTo>
                <a:lnTo>
                  <a:pt x="0" y="116839"/>
                </a:lnTo>
                <a:lnTo>
                  <a:pt x="3830" y="107259"/>
                </a:lnTo>
                <a:lnTo>
                  <a:pt x="15125" y="97891"/>
                </a:lnTo>
                <a:lnTo>
                  <a:pt x="58915" y="79914"/>
                </a:lnTo>
                <a:lnTo>
                  <a:pt x="128992" y="63151"/>
                </a:lnTo>
                <a:lnTo>
                  <a:pt x="173144" y="55299"/>
                </a:lnTo>
                <a:lnTo>
                  <a:pt x="222975" y="47841"/>
                </a:lnTo>
                <a:lnTo>
                  <a:pt x="278188" y="40807"/>
                </a:lnTo>
                <a:lnTo>
                  <a:pt x="338486" y="34226"/>
                </a:lnTo>
                <a:lnTo>
                  <a:pt x="403571" y="28129"/>
                </a:lnTo>
                <a:lnTo>
                  <a:pt x="473147" y="22547"/>
                </a:lnTo>
                <a:lnTo>
                  <a:pt x="546914" y="17508"/>
                </a:lnTo>
                <a:lnTo>
                  <a:pt x="624577" y="13043"/>
                </a:lnTo>
                <a:lnTo>
                  <a:pt x="705838" y="9183"/>
                </a:lnTo>
                <a:lnTo>
                  <a:pt x="790399" y="5957"/>
                </a:lnTo>
                <a:lnTo>
                  <a:pt x="877963" y="3396"/>
                </a:lnTo>
                <a:lnTo>
                  <a:pt x="968233" y="1529"/>
                </a:lnTo>
                <a:lnTo>
                  <a:pt x="1060911" y="387"/>
                </a:lnTo>
                <a:lnTo>
                  <a:pt x="1155700" y="0"/>
                </a:lnTo>
                <a:lnTo>
                  <a:pt x="1250488" y="387"/>
                </a:lnTo>
                <a:lnTo>
                  <a:pt x="1343166" y="1529"/>
                </a:lnTo>
                <a:lnTo>
                  <a:pt x="1433436" y="3396"/>
                </a:lnTo>
                <a:lnTo>
                  <a:pt x="1521000" y="5957"/>
                </a:lnTo>
                <a:lnTo>
                  <a:pt x="1605561" y="9183"/>
                </a:lnTo>
                <a:lnTo>
                  <a:pt x="1686822" y="13043"/>
                </a:lnTo>
                <a:lnTo>
                  <a:pt x="1764485" y="17508"/>
                </a:lnTo>
                <a:lnTo>
                  <a:pt x="1838252" y="22547"/>
                </a:lnTo>
                <a:lnTo>
                  <a:pt x="1907828" y="28129"/>
                </a:lnTo>
                <a:lnTo>
                  <a:pt x="1972913" y="34226"/>
                </a:lnTo>
                <a:lnTo>
                  <a:pt x="2033211" y="40807"/>
                </a:lnTo>
                <a:lnTo>
                  <a:pt x="2088424" y="47841"/>
                </a:lnTo>
                <a:lnTo>
                  <a:pt x="2138255" y="55299"/>
                </a:lnTo>
                <a:lnTo>
                  <a:pt x="2182407" y="63151"/>
                </a:lnTo>
                <a:lnTo>
                  <a:pt x="2220583" y="71366"/>
                </a:lnTo>
                <a:lnTo>
                  <a:pt x="2277813" y="88766"/>
                </a:lnTo>
                <a:lnTo>
                  <a:pt x="2311400" y="116839"/>
                </a:lnTo>
                <a:lnTo>
                  <a:pt x="2311400" y="1026096"/>
                </a:lnTo>
                <a:lnTo>
                  <a:pt x="2307569" y="1035684"/>
                </a:lnTo>
                <a:lnTo>
                  <a:pt x="2296274" y="1045059"/>
                </a:lnTo>
                <a:lnTo>
                  <a:pt x="2252484" y="1063048"/>
                </a:lnTo>
                <a:lnTo>
                  <a:pt x="2182407" y="1079821"/>
                </a:lnTo>
                <a:lnTo>
                  <a:pt x="2138255" y="1087677"/>
                </a:lnTo>
                <a:lnTo>
                  <a:pt x="2088424" y="1095139"/>
                </a:lnTo>
                <a:lnTo>
                  <a:pt x="2033211" y="1102177"/>
                </a:lnTo>
                <a:lnTo>
                  <a:pt x="1972913" y="1108760"/>
                </a:lnTo>
                <a:lnTo>
                  <a:pt x="1907828" y="1114860"/>
                </a:lnTo>
                <a:lnTo>
                  <a:pt x="1838252" y="1120445"/>
                </a:lnTo>
                <a:lnTo>
                  <a:pt x="1764485" y="1125485"/>
                </a:lnTo>
                <a:lnTo>
                  <a:pt x="1686822" y="1129951"/>
                </a:lnTo>
                <a:lnTo>
                  <a:pt x="1605561" y="1133813"/>
                </a:lnTo>
                <a:lnTo>
                  <a:pt x="1521000" y="1137040"/>
                </a:lnTo>
                <a:lnTo>
                  <a:pt x="1433436" y="1139602"/>
                </a:lnTo>
                <a:lnTo>
                  <a:pt x="1343166" y="1141470"/>
                </a:lnTo>
                <a:lnTo>
                  <a:pt x="1250488" y="1142612"/>
                </a:lnTo>
                <a:lnTo>
                  <a:pt x="1155700" y="1143000"/>
                </a:lnTo>
                <a:lnTo>
                  <a:pt x="1060911" y="1142612"/>
                </a:lnTo>
                <a:lnTo>
                  <a:pt x="968233" y="1141470"/>
                </a:lnTo>
                <a:lnTo>
                  <a:pt x="877963" y="1139602"/>
                </a:lnTo>
                <a:lnTo>
                  <a:pt x="790399" y="1137040"/>
                </a:lnTo>
                <a:lnTo>
                  <a:pt x="705838" y="1133813"/>
                </a:lnTo>
                <a:lnTo>
                  <a:pt x="624577" y="1129951"/>
                </a:lnTo>
                <a:lnTo>
                  <a:pt x="546914" y="1125485"/>
                </a:lnTo>
                <a:lnTo>
                  <a:pt x="473147" y="1120445"/>
                </a:lnTo>
                <a:lnTo>
                  <a:pt x="403571" y="1114860"/>
                </a:lnTo>
                <a:lnTo>
                  <a:pt x="338486" y="1108760"/>
                </a:lnTo>
                <a:lnTo>
                  <a:pt x="278188" y="1102177"/>
                </a:lnTo>
                <a:lnTo>
                  <a:pt x="222975" y="1095139"/>
                </a:lnTo>
                <a:lnTo>
                  <a:pt x="173144" y="1087677"/>
                </a:lnTo>
                <a:lnTo>
                  <a:pt x="128992" y="1079821"/>
                </a:lnTo>
                <a:lnTo>
                  <a:pt x="90816" y="1071601"/>
                </a:lnTo>
                <a:lnTo>
                  <a:pt x="33586" y="1054190"/>
                </a:lnTo>
                <a:lnTo>
                  <a:pt x="0" y="1026096"/>
                </a:lnTo>
                <a:lnTo>
                  <a:pt x="0" y="116839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4953001" y="4876800"/>
            <a:ext cx="2311399" cy="1371600"/>
          </a:xfrm>
          <a:custGeom>
            <a:avLst/>
            <a:gdLst/>
            <a:ahLst/>
            <a:cxnLst/>
            <a:rect l="l" t="t" r="r" b="b"/>
            <a:pathLst>
              <a:path w="2311400" h="1371600">
                <a:moveTo>
                  <a:pt x="2311400" y="140335"/>
                </a:moveTo>
                <a:lnTo>
                  <a:pt x="2277813" y="174040"/>
                </a:lnTo>
                <a:lnTo>
                  <a:pt x="2220583" y="194925"/>
                </a:lnTo>
                <a:lnTo>
                  <a:pt x="2182407" y="204784"/>
                </a:lnTo>
                <a:lnTo>
                  <a:pt x="2138255" y="214206"/>
                </a:lnTo>
                <a:lnTo>
                  <a:pt x="2088424" y="223155"/>
                </a:lnTo>
                <a:lnTo>
                  <a:pt x="2033211" y="231595"/>
                </a:lnTo>
                <a:lnTo>
                  <a:pt x="1972913" y="239490"/>
                </a:lnTo>
                <a:lnTo>
                  <a:pt x="1907828" y="246804"/>
                </a:lnTo>
                <a:lnTo>
                  <a:pt x="1838252" y="253501"/>
                </a:lnTo>
                <a:lnTo>
                  <a:pt x="1764485" y="259545"/>
                </a:lnTo>
                <a:lnTo>
                  <a:pt x="1686822" y="264899"/>
                </a:lnTo>
                <a:lnTo>
                  <a:pt x="1605561" y="269529"/>
                </a:lnTo>
                <a:lnTo>
                  <a:pt x="1521000" y="273398"/>
                </a:lnTo>
                <a:lnTo>
                  <a:pt x="1433436" y="276470"/>
                </a:lnTo>
                <a:lnTo>
                  <a:pt x="1343166" y="278708"/>
                </a:lnTo>
                <a:lnTo>
                  <a:pt x="1250488" y="280078"/>
                </a:lnTo>
                <a:lnTo>
                  <a:pt x="1155700" y="280543"/>
                </a:lnTo>
                <a:lnTo>
                  <a:pt x="1060911" y="280078"/>
                </a:lnTo>
                <a:lnTo>
                  <a:pt x="968233" y="278708"/>
                </a:lnTo>
                <a:lnTo>
                  <a:pt x="877963" y="276470"/>
                </a:lnTo>
                <a:lnTo>
                  <a:pt x="790399" y="273398"/>
                </a:lnTo>
                <a:lnTo>
                  <a:pt x="705838" y="269529"/>
                </a:lnTo>
                <a:lnTo>
                  <a:pt x="624577" y="264899"/>
                </a:lnTo>
                <a:lnTo>
                  <a:pt x="546914" y="259545"/>
                </a:lnTo>
                <a:lnTo>
                  <a:pt x="473147" y="253501"/>
                </a:lnTo>
                <a:lnTo>
                  <a:pt x="403571" y="246804"/>
                </a:lnTo>
                <a:lnTo>
                  <a:pt x="338486" y="239490"/>
                </a:lnTo>
                <a:lnTo>
                  <a:pt x="278188" y="231595"/>
                </a:lnTo>
                <a:lnTo>
                  <a:pt x="222975" y="223155"/>
                </a:lnTo>
                <a:lnTo>
                  <a:pt x="173144" y="214206"/>
                </a:lnTo>
                <a:lnTo>
                  <a:pt x="128992" y="204784"/>
                </a:lnTo>
                <a:lnTo>
                  <a:pt x="90816" y="194925"/>
                </a:lnTo>
                <a:lnTo>
                  <a:pt x="33586" y="174040"/>
                </a:lnTo>
                <a:lnTo>
                  <a:pt x="0" y="140335"/>
                </a:lnTo>
                <a:lnTo>
                  <a:pt x="3830" y="128830"/>
                </a:lnTo>
                <a:lnTo>
                  <a:pt x="15125" y="117580"/>
                </a:lnTo>
                <a:lnTo>
                  <a:pt x="58915" y="95991"/>
                </a:lnTo>
                <a:lnTo>
                  <a:pt x="128992" y="75858"/>
                </a:lnTo>
                <a:lnTo>
                  <a:pt x="173144" y="66427"/>
                </a:lnTo>
                <a:lnTo>
                  <a:pt x="222975" y="57470"/>
                </a:lnTo>
                <a:lnTo>
                  <a:pt x="278188" y="49020"/>
                </a:lnTo>
                <a:lnTo>
                  <a:pt x="338486" y="41116"/>
                </a:lnTo>
                <a:lnTo>
                  <a:pt x="403571" y="33792"/>
                </a:lnTo>
                <a:lnTo>
                  <a:pt x="473147" y="27086"/>
                </a:lnTo>
                <a:lnTo>
                  <a:pt x="546914" y="21033"/>
                </a:lnTo>
                <a:lnTo>
                  <a:pt x="624577" y="15670"/>
                </a:lnTo>
                <a:lnTo>
                  <a:pt x="705838" y="11033"/>
                </a:lnTo>
                <a:lnTo>
                  <a:pt x="790399" y="7157"/>
                </a:lnTo>
                <a:lnTo>
                  <a:pt x="877963" y="4080"/>
                </a:lnTo>
                <a:lnTo>
                  <a:pt x="968233" y="1837"/>
                </a:lnTo>
                <a:lnTo>
                  <a:pt x="1060911" y="465"/>
                </a:lnTo>
                <a:lnTo>
                  <a:pt x="1155700" y="0"/>
                </a:lnTo>
                <a:lnTo>
                  <a:pt x="1250488" y="465"/>
                </a:lnTo>
                <a:lnTo>
                  <a:pt x="1343166" y="1837"/>
                </a:lnTo>
                <a:lnTo>
                  <a:pt x="1433436" y="4080"/>
                </a:lnTo>
                <a:lnTo>
                  <a:pt x="1521000" y="7157"/>
                </a:lnTo>
                <a:lnTo>
                  <a:pt x="1605561" y="11033"/>
                </a:lnTo>
                <a:lnTo>
                  <a:pt x="1686822" y="15670"/>
                </a:lnTo>
                <a:lnTo>
                  <a:pt x="1764485" y="21033"/>
                </a:lnTo>
                <a:lnTo>
                  <a:pt x="1838252" y="27086"/>
                </a:lnTo>
                <a:lnTo>
                  <a:pt x="1907828" y="33792"/>
                </a:lnTo>
                <a:lnTo>
                  <a:pt x="1972913" y="41116"/>
                </a:lnTo>
                <a:lnTo>
                  <a:pt x="2033211" y="49020"/>
                </a:lnTo>
                <a:lnTo>
                  <a:pt x="2088424" y="57470"/>
                </a:lnTo>
                <a:lnTo>
                  <a:pt x="2138255" y="66427"/>
                </a:lnTo>
                <a:lnTo>
                  <a:pt x="2182407" y="75858"/>
                </a:lnTo>
                <a:lnTo>
                  <a:pt x="2220583" y="85725"/>
                </a:lnTo>
                <a:lnTo>
                  <a:pt x="2277813" y="106622"/>
                </a:lnTo>
                <a:lnTo>
                  <a:pt x="2311400" y="140335"/>
                </a:lnTo>
                <a:lnTo>
                  <a:pt x="2311400" y="1231315"/>
                </a:lnTo>
                <a:lnTo>
                  <a:pt x="2307569" y="1242822"/>
                </a:lnTo>
                <a:lnTo>
                  <a:pt x="2296274" y="1254072"/>
                </a:lnTo>
                <a:lnTo>
                  <a:pt x="2252484" y="1275658"/>
                </a:lnTo>
                <a:lnTo>
                  <a:pt x="2182407" y="1295787"/>
                </a:lnTo>
                <a:lnTo>
                  <a:pt x="2138255" y="1305214"/>
                </a:lnTo>
                <a:lnTo>
                  <a:pt x="2088424" y="1314168"/>
                </a:lnTo>
                <a:lnTo>
                  <a:pt x="2033211" y="1322613"/>
                </a:lnTo>
                <a:lnTo>
                  <a:pt x="1972913" y="1330513"/>
                </a:lnTo>
                <a:lnTo>
                  <a:pt x="1907828" y="1337833"/>
                </a:lnTo>
                <a:lnTo>
                  <a:pt x="1838252" y="1344534"/>
                </a:lnTo>
                <a:lnTo>
                  <a:pt x="1764485" y="1350583"/>
                </a:lnTo>
                <a:lnTo>
                  <a:pt x="1686822" y="1355942"/>
                </a:lnTo>
                <a:lnTo>
                  <a:pt x="1605561" y="1360576"/>
                </a:lnTo>
                <a:lnTo>
                  <a:pt x="1521000" y="1364448"/>
                </a:lnTo>
                <a:lnTo>
                  <a:pt x="1433436" y="1367523"/>
                </a:lnTo>
                <a:lnTo>
                  <a:pt x="1343166" y="1369764"/>
                </a:lnTo>
                <a:lnTo>
                  <a:pt x="1250488" y="1371135"/>
                </a:lnTo>
                <a:lnTo>
                  <a:pt x="1155700" y="1371600"/>
                </a:lnTo>
                <a:lnTo>
                  <a:pt x="1060911" y="1371135"/>
                </a:lnTo>
                <a:lnTo>
                  <a:pt x="968233" y="1369764"/>
                </a:lnTo>
                <a:lnTo>
                  <a:pt x="877963" y="1367523"/>
                </a:lnTo>
                <a:lnTo>
                  <a:pt x="790399" y="1364448"/>
                </a:lnTo>
                <a:lnTo>
                  <a:pt x="705838" y="1360576"/>
                </a:lnTo>
                <a:lnTo>
                  <a:pt x="624577" y="1355942"/>
                </a:lnTo>
                <a:lnTo>
                  <a:pt x="546914" y="1350583"/>
                </a:lnTo>
                <a:lnTo>
                  <a:pt x="473147" y="1344534"/>
                </a:lnTo>
                <a:lnTo>
                  <a:pt x="403571" y="1337833"/>
                </a:lnTo>
                <a:lnTo>
                  <a:pt x="338486" y="1330513"/>
                </a:lnTo>
                <a:lnTo>
                  <a:pt x="278188" y="1322613"/>
                </a:lnTo>
                <a:lnTo>
                  <a:pt x="222975" y="1314168"/>
                </a:lnTo>
                <a:lnTo>
                  <a:pt x="173144" y="1305214"/>
                </a:lnTo>
                <a:lnTo>
                  <a:pt x="128992" y="1295787"/>
                </a:lnTo>
                <a:lnTo>
                  <a:pt x="90816" y="1285923"/>
                </a:lnTo>
                <a:lnTo>
                  <a:pt x="33586" y="1265029"/>
                </a:lnTo>
                <a:lnTo>
                  <a:pt x="0" y="1231315"/>
                </a:lnTo>
                <a:lnTo>
                  <a:pt x="0" y="140335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5" name="object 75"/>
          <p:cNvSpPr/>
          <p:nvPr/>
        </p:nvSpPr>
        <p:spPr>
          <a:xfrm>
            <a:off x="2559050" y="4876800"/>
            <a:ext cx="2311399" cy="1371600"/>
          </a:xfrm>
          <a:custGeom>
            <a:avLst/>
            <a:gdLst/>
            <a:ahLst/>
            <a:cxnLst/>
            <a:rect l="l" t="t" r="r" b="b"/>
            <a:pathLst>
              <a:path w="2311400" h="1371600">
                <a:moveTo>
                  <a:pt x="2311400" y="140335"/>
                </a:moveTo>
                <a:lnTo>
                  <a:pt x="2277813" y="174040"/>
                </a:lnTo>
                <a:lnTo>
                  <a:pt x="2220583" y="194925"/>
                </a:lnTo>
                <a:lnTo>
                  <a:pt x="2182407" y="204784"/>
                </a:lnTo>
                <a:lnTo>
                  <a:pt x="2138255" y="214206"/>
                </a:lnTo>
                <a:lnTo>
                  <a:pt x="2088424" y="223155"/>
                </a:lnTo>
                <a:lnTo>
                  <a:pt x="2033211" y="231595"/>
                </a:lnTo>
                <a:lnTo>
                  <a:pt x="1972913" y="239490"/>
                </a:lnTo>
                <a:lnTo>
                  <a:pt x="1907828" y="246804"/>
                </a:lnTo>
                <a:lnTo>
                  <a:pt x="1838252" y="253501"/>
                </a:lnTo>
                <a:lnTo>
                  <a:pt x="1764485" y="259545"/>
                </a:lnTo>
                <a:lnTo>
                  <a:pt x="1686822" y="264899"/>
                </a:lnTo>
                <a:lnTo>
                  <a:pt x="1605561" y="269529"/>
                </a:lnTo>
                <a:lnTo>
                  <a:pt x="1521000" y="273398"/>
                </a:lnTo>
                <a:lnTo>
                  <a:pt x="1433436" y="276470"/>
                </a:lnTo>
                <a:lnTo>
                  <a:pt x="1343166" y="278708"/>
                </a:lnTo>
                <a:lnTo>
                  <a:pt x="1250488" y="280078"/>
                </a:lnTo>
                <a:lnTo>
                  <a:pt x="1155700" y="280543"/>
                </a:lnTo>
                <a:lnTo>
                  <a:pt x="1060911" y="280078"/>
                </a:lnTo>
                <a:lnTo>
                  <a:pt x="968233" y="278708"/>
                </a:lnTo>
                <a:lnTo>
                  <a:pt x="877963" y="276470"/>
                </a:lnTo>
                <a:lnTo>
                  <a:pt x="790399" y="273398"/>
                </a:lnTo>
                <a:lnTo>
                  <a:pt x="705838" y="269529"/>
                </a:lnTo>
                <a:lnTo>
                  <a:pt x="624577" y="264899"/>
                </a:lnTo>
                <a:lnTo>
                  <a:pt x="546914" y="259545"/>
                </a:lnTo>
                <a:lnTo>
                  <a:pt x="473147" y="253501"/>
                </a:lnTo>
                <a:lnTo>
                  <a:pt x="403571" y="246804"/>
                </a:lnTo>
                <a:lnTo>
                  <a:pt x="338486" y="239490"/>
                </a:lnTo>
                <a:lnTo>
                  <a:pt x="278188" y="231595"/>
                </a:lnTo>
                <a:lnTo>
                  <a:pt x="222975" y="223155"/>
                </a:lnTo>
                <a:lnTo>
                  <a:pt x="173144" y="214206"/>
                </a:lnTo>
                <a:lnTo>
                  <a:pt x="128992" y="204784"/>
                </a:lnTo>
                <a:lnTo>
                  <a:pt x="90816" y="194925"/>
                </a:lnTo>
                <a:lnTo>
                  <a:pt x="33586" y="174040"/>
                </a:lnTo>
                <a:lnTo>
                  <a:pt x="0" y="140335"/>
                </a:lnTo>
                <a:lnTo>
                  <a:pt x="3830" y="128830"/>
                </a:lnTo>
                <a:lnTo>
                  <a:pt x="15125" y="117580"/>
                </a:lnTo>
                <a:lnTo>
                  <a:pt x="58915" y="95991"/>
                </a:lnTo>
                <a:lnTo>
                  <a:pt x="128992" y="75858"/>
                </a:lnTo>
                <a:lnTo>
                  <a:pt x="173144" y="66427"/>
                </a:lnTo>
                <a:lnTo>
                  <a:pt x="222975" y="57470"/>
                </a:lnTo>
                <a:lnTo>
                  <a:pt x="278188" y="49020"/>
                </a:lnTo>
                <a:lnTo>
                  <a:pt x="338486" y="41116"/>
                </a:lnTo>
                <a:lnTo>
                  <a:pt x="403571" y="33792"/>
                </a:lnTo>
                <a:lnTo>
                  <a:pt x="473147" y="27086"/>
                </a:lnTo>
                <a:lnTo>
                  <a:pt x="546914" y="21033"/>
                </a:lnTo>
                <a:lnTo>
                  <a:pt x="624577" y="15670"/>
                </a:lnTo>
                <a:lnTo>
                  <a:pt x="705838" y="11033"/>
                </a:lnTo>
                <a:lnTo>
                  <a:pt x="790399" y="7157"/>
                </a:lnTo>
                <a:lnTo>
                  <a:pt x="877963" y="4080"/>
                </a:lnTo>
                <a:lnTo>
                  <a:pt x="968233" y="1837"/>
                </a:lnTo>
                <a:lnTo>
                  <a:pt x="1060911" y="465"/>
                </a:lnTo>
                <a:lnTo>
                  <a:pt x="1155700" y="0"/>
                </a:lnTo>
                <a:lnTo>
                  <a:pt x="1250488" y="465"/>
                </a:lnTo>
                <a:lnTo>
                  <a:pt x="1343166" y="1837"/>
                </a:lnTo>
                <a:lnTo>
                  <a:pt x="1433436" y="4080"/>
                </a:lnTo>
                <a:lnTo>
                  <a:pt x="1521000" y="7157"/>
                </a:lnTo>
                <a:lnTo>
                  <a:pt x="1605561" y="11033"/>
                </a:lnTo>
                <a:lnTo>
                  <a:pt x="1686822" y="15670"/>
                </a:lnTo>
                <a:lnTo>
                  <a:pt x="1764485" y="21033"/>
                </a:lnTo>
                <a:lnTo>
                  <a:pt x="1838252" y="27086"/>
                </a:lnTo>
                <a:lnTo>
                  <a:pt x="1907828" y="33792"/>
                </a:lnTo>
                <a:lnTo>
                  <a:pt x="1972913" y="41116"/>
                </a:lnTo>
                <a:lnTo>
                  <a:pt x="2033211" y="49020"/>
                </a:lnTo>
                <a:lnTo>
                  <a:pt x="2088424" y="57470"/>
                </a:lnTo>
                <a:lnTo>
                  <a:pt x="2138255" y="66427"/>
                </a:lnTo>
                <a:lnTo>
                  <a:pt x="2182407" y="75858"/>
                </a:lnTo>
                <a:lnTo>
                  <a:pt x="2220583" y="85725"/>
                </a:lnTo>
                <a:lnTo>
                  <a:pt x="2277813" y="106622"/>
                </a:lnTo>
                <a:lnTo>
                  <a:pt x="2311400" y="140335"/>
                </a:lnTo>
                <a:lnTo>
                  <a:pt x="2311400" y="1231315"/>
                </a:lnTo>
                <a:lnTo>
                  <a:pt x="2307569" y="1242822"/>
                </a:lnTo>
                <a:lnTo>
                  <a:pt x="2296274" y="1254072"/>
                </a:lnTo>
                <a:lnTo>
                  <a:pt x="2252484" y="1275658"/>
                </a:lnTo>
                <a:lnTo>
                  <a:pt x="2182407" y="1295787"/>
                </a:lnTo>
                <a:lnTo>
                  <a:pt x="2138255" y="1305214"/>
                </a:lnTo>
                <a:lnTo>
                  <a:pt x="2088424" y="1314168"/>
                </a:lnTo>
                <a:lnTo>
                  <a:pt x="2033211" y="1322613"/>
                </a:lnTo>
                <a:lnTo>
                  <a:pt x="1972913" y="1330513"/>
                </a:lnTo>
                <a:lnTo>
                  <a:pt x="1907828" y="1337833"/>
                </a:lnTo>
                <a:lnTo>
                  <a:pt x="1838252" y="1344534"/>
                </a:lnTo>
                <a:lnTo>
                  <a:pt x="1764485" y="1350583"/>
                </a:lnTo>
                <a:lnTo>
                  <a:pt x="1686822" y="1355942"/>
                </a:lnTo>
                <a:lnTo>
                  <a:pt x="1605561" y="1360576"/>
                </a:lnTo>
                <a:lnTo>
                  <a:pt x="1521000" y="1364448"/>
                </a:lnTo>
                <a:lnTo>
                  <a:pt x="1433436" y="1367523"/>
                </a:lnTo>
                <a:lnTo>
                  <a:pt x="1343166" y="1369764"/>
                </a:lnTo>
                <a:lnTo>
                  <a:pt x="1250488" y="1371135"/>
                </a:lnTo>
                <a:lnTo>
                  <a:pt x="1155700" y="1371600"/>
                </a:lnTo>
                <a:lnTo>
                  <a:pt x="1060911" y="1371135"/>
                </a:lnTo>
                <a:lnTo>
                  <a:pt x="968233" y="1369764"/>
                </a:lnTo>
                <a:lnTo>
                  <a:pt x="877963" y="1367523"/>
                </a:lnTo>
                <a:lnTo>
                  <a:pt x="790399" y="1364448"/>
                </a:lnTo>
                <a:lnTo>
                  <a:pt x="705838" y="1360576"/>
                </a:lnTo>
                <a:lnTo>
                  <a:pt x="624577" y="1355942"/>
                </a:lnTo>
                <a:lnTo>
                  <a:pt x="546914" y="1350583"/>
                </a:lnTo>
                <a:lnTo>
                  <a:pt x="473147" y="1344534"/>
                </a:lnTo>
                <a:lnTo>
                  <a:pt x="403571" y="1337833"/>
                </a:lnTo>
                <a:lnTo>
                  <a:pt x="338486" y="1330513"/>
                </a:lnTo>
                <a:lnTo>
                  <a:pt x="278188" y="1322613"/>
                </a:lnTo>
                <a:lnTo>
                  <a:pt x="222975" y="1314168"/>
                </a:lnTo>
                <a:lnTo>
                  <a:pt x="173144" y="1305214"/>
                </a:lnTo>
                <a:lnTo>
                  <a:pt x="128992" y="1295787"/>
                </a:lnTo>
                <a:lnTo>
                  <a:pt x="90816" y="1285923"/>
                </a:lnTo>
                <a:lnTo>
                  <a:pt x="33586" y="1265029"/>
                </a:lnTo>
                <a:lnTo>
                  <a:pt x="0" y="1231315"/>
                </a:lnTo>
                <a:lnTo>
                  <a:pt x="0" y="140335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6" name="object 76"/>
          <p:cNvSpPr/>
          <p:nvPr/>
        </p:nvSpPr>
        <p:spPr>
          <a:xfrm>
            <a:off x="2653284" y="4434840"/>
            <a:ext cx="1975105" cy="432816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7" name="object 77"/>
          <p:cNvSpPr/>
          <p:nvPr/>
        </p:nvSpPr>
        <p:spPr>
          <a:xfrm>
            <a:off x="2701163" y="4462462"/>
            <a:ext cx="1880362" cy="338137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2701163" y="4462462"/>
            <a:ext cx="1880362" cy="338137"/>
          </a:xfrm>
          <a:custGeom>
            <a:avLst/>
            <a:gdLst/>
            <a:ahLst/>
            <a:cxnLst/>
            <a:rect l="l" t="t" r="r" b="b"/>
            <a:pathLst>
              <a:path w="1880362" h="338137">
                <a:moveTo>
                  <a:pt x="0" y="338137"/>
                </a:moveTo>
                <a:lnTo>
                  <a:pt x="1880362" y="338137"/>
                </a:lnTo>
                <a:lnTo>
                  <a:pt x="1880362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2" name="object 72"/>
          <p:cNvSpPr/>
          <p:nvPr/>
        </p:nvSpPr>
        <p:spPr>
          <a:xfrm>
            <a:off x="7254241" y="4392168"/>
            <a:ext cx="1975103" cy="432816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3" name="object 73"/>
          <p:cNvSpPr/>
          <p:nvPr/>
        </p:nvSpPr>
        <p:spPr>
          <a:xfrm>
            <a:off x="7301104" y="4419536"/>
            <a:ext cx="1880362" cy="338137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7301104" y="4419536"/>
            <a:ext cx="1880362" cy="338137"/>
          </a:xfrm>
          <a:custGeom>
            <a:avLst/>
            <a:gdLst/>
            <a:ahLst/>
            <a:cxnLst/>
            <a:rect l="l" t="t" r="r" b="b"/>
            <a:pathLst>
              <a:path w="1880362" h="338137">
                <a:moveTo>
                  <a:pt x="0" y="338137"/>
                </a:moveTo>
                <a:lnTo>
                  <a:pt x="1880362" y="338137"/>
                </a:lnTo>
                <a:lnTo>
                  <a:pt x="1880362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9" name="object 69"/>
          <p:cNvSpPr/>
          <p:nvPr/>
        </p:nvSpPr>
        <p:spPr>
          <a:xfrm>
            <a:off x="4953001" y="4392168"/>
            <a:ext cx="1976626" cy="432816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5001133" y="4419536"/>
            <a:ext cx="1880362" cy="338137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1" name="object 71"/>
          <p:cNvSpPr/>
          <p:nvPr/>
        </p:nvSpPr>
        <p:spPr>
          <a:xfrm>
            <a:off x="5001133" y="4419536"/>
            <a:ext cx="1880362" cy="338137"/>
          </a:xfrm>
          <a:custGeom>
            <a:avLst/>
            <a:gdLst/>
            <a:ahLst/>
            <a:cxnLst/>
            <a:rect l="l" t="t" r="r" b="b"/>
            <a:pathLst>
              <a:path w="1880362" h="338137">
                <a:moveTo>
                  <a:pt x="0" y="338137"/>
                </a:moveTo>
                <a:lnTo>
                  <a:pt x="1880362" y="338137"/>
                </a:lnTo>
                <a:lnTo>
                  <a:pt x="1880362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6196329" y="975769"/>
            <a:ext cx="1068447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Cambria"/>
                <a:cs typeface="Cambria"/>
              </a:rPr>
              <a:t>C</a:t>
            </a:r>
            <a:r>
              <a:rPr sz="1100" spc="4" dirty="0" smtClean="0">
                <a:latin typeface="Cambria"/>
                <a:cs typeface="Cambria"/>
              </a:rPr>
              <a:t>UST</a:t>
            </a:r>
            <a:r>
              <a:rPr sz="1100" spc="0" dirty="0" smtClean="0">
                <a:latin typeface="Cambria"/>
                <a:cs typeface="Cambria"/>
              </a:rPr>
              <a:t>OMER</a:t>
            </a:r>
            <a:r>
              <a:rPr sz="1100" spc="-39" dirty="0" smtClean="0">
                <a:latin typeface="Cambria"/>
                <a:cs typeface="Cambria"/>
              </a:rPr>
              <a:t> </a:t>
            </a:r>
            <a:r>
              <a:rPr sz="1100" spc="0" dirty="0" smtClean="0">
                <a:latin typeface="Cambria"/>
                <a:cs typeface="Cambria"/>
              </a:rPr>
              <a:t>ta</a:t>
            </a:r>
            <a:r>
              <a:rPr sz="1100" spc="-4" dirty="0" smtClean="0">
                <a:latin typeface="Cambria"/>
                <a:cs typeface="Cambria"/>
              </a:rPr>
              <a:t>b</a:t>
            </a:r>
            <a:r>
              <a:rPr sz="1100" spc="0" dirty="0" smtClean="0">
                <a:latin typeface="Cambria"/>
                <a:cs typeface="Cambria"/>
              </a:rPr>
              <a:t>le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1203149" y="1156725"/>
            <a:ext cx="2545933" cy="105758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6791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R</a:t>
            </a:r>
            <a:r>
              <a:rPr sz="1400" spc="-14" dirty="0" smtClean="0">
                <a:latin typeface="+mj-lt"/>
                <a:cs typeface="Cambria"/>
              </a:rPr>
              <a:t>E</a:t>
            </a:r>
            <a:r>
              <a:rPr sz="1400" spc="-84" dirty="0" smtClean="0">
                <a:latin typeface="+mj-lt"/>
                <a:cs typeface="Cambria"/>
              </a:rPr>
              <a:t>A</a:t>
            </a:r>
            <a:r>
              <a:rPr sz="1400" spc="-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25" dirty="0" smtClean="0">
                <a:latin typeface="+mj-lt"/>
                <a:cs typeface="Cambria"/>
              </a:rPr>
              <a:t> </a:t>
            </a:r>
            <a:r>
              <a:rPr sz="1400" spc="-10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4" dirty="0" smtClean="0">
                <a:latin typeface="+mj-lt"/>
                <a:cs typeface="Cambria"/>
              </a:rPr>
              <a:t>B</a:t>
            </a:r>
            <a:r>
              <a:rPr sz="1400" spc="0" dirty="0" smtClean="0">
                <a:latin typeface="+mj-lt"/>
                <a:cs typeface="Cambria"/>
              </a:rPr>
              <a:t>LE</a:t>
            </a:r>
            <a:r>
              <a:rPr sz="1400" spc="-34" dirty="0" smtClean="0">
                <a:latin typeface="+mj-lt"/>
                <a:cs typeface="Cambria"/>
              </a:rPr>
              <a:t> </a:t>
            </a:r>
            <a:r>
              <a:rPr sz="1400" spc="-9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er</a:t>
            </a:r>
            <a:endParaRPr sz="1400">
              <a:latin typeface="+mj-lt"/>
              <a:cs typeface="Cambria"/>
            </a:endParaRPr>
          </a:p>
          <a:p>
            <a:pPr marL="12700" marR="26791">
              <a:lnSpc>
                <a:spcPct val="97696"/>
              </a:lnSpc>
            </a:pPr>
            <a:r>
              <a:rPr sz="1400" spc="4" dirty="0" smtClean="0">
                <a:latin typeface="+mj-lt"/>
                <a:cs typeface="Cambria"/>
              </a:rPr>
              <a:t>(</a:t>
            </a:r>
            <a:r>
              <a:rPr sz="1400" spc="-9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st</a:t>
            </a:r>
            <a:r>
              <a:rPr sz="1400" spc="-1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</a:t>
            </a:r>
            <a:r>
              <a:rPr sz="1400" spc="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T</a:t>
            </a:r>
            <a:endParaRPr sz="1400">
              <a:latin typeface="+mj-lt"/>
              <a:cs typeface="Cambria"/>
            </a:endParaRPr>
          </a:p>
          <a:p>
            <a:pPr marL="12700" marR="26791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,Name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CHAR</a:t>
            </a:r>
            <a:r>
              <a:rPr sz="1400" spc="4" dirty="0" smtClean="0">
                <a:latin typeface="+mj-lt"/>
                <a:cs typeface="Cambria"/>
              </a:rPr>
              <a:t>(</a:t>
            </a:r>
            <a:r>
              <a:rPr sz="1400" spc="0" dirty="0" smtClean="0">
                <a:latin typeface="+mj-lt"/>
                <a:cs typeface="Cambria"/>
              </a:rPr>
              <a:t>1</a:t>
            </a:r>
            <a:r>
              <a:rPr sz="1400" spc="4" dirty="0" smtClean="0">
                <a:latin typeface="+mj-lt"/>
                <a:cs typeface="Cambria"/>
              </a:rPr>
              <a:t>0</a:t>
            </a:r>
            <a:r>
              <a:rPr sz="1400" spc="0" dirty="0" smtClean="0">
                <a:latin typeface="+mj-lt"/>
                <a:cs typeface="Cambria"/>
              </a:rPr>
              <a:t>)</a:t>
            </a:r>
            <a:endParaRPr sz="1400">
              <a:latin typeface="+mj-lt"/>
              <a:cs typeface="Cambria"/>
            </a:endParaRPr>
          </a:p>
          <a:p>
            <a:pPr marL="12700" marR="26791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,</a:t>
            </a:r>
            <a:r>
              <a:rPr sz="1400" spc="-4" dirty="0" smtClean="0">
                <a:latin typeface="+mj-lt"/>
                <a:cs typeface="Cambria"/>
              </a:rPr>
              <a:t>P</a:t>
            </a:r>
            <a:r>
              <a:rPr sz="1400" spc="4" dirty="0" smtClean="0">
                <a:latin typeface="+mj-lt"/>
                <a:cs typeface="Cambria"/>
              </a:rPr>
              <a:t>h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e CHA</a:t>
            </a:r>
            <a:r>
              <a:rPr sz="1400" spc="4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(</a:t>
            </a:r>
            <a:r>
              <a:rPr sz="1400" spc="4" dirty="0" smtClean="0">
                <a:latin typeface="+mj-lt"/>
                <a:cs typeface="Cambria"/>
              </a:rPr>
              <a:t>8</a:t>
            </a:r>
            <a:r>
              <a:rPr sz="1400" spc="0" dirty="0" smtClean="0">
                <a:latin typeface="+mj-lt"/>
                <a:cs typeface="Cambria"/>
              </a:rPr>
              <a:t>)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)</a:t>
            </a:r>
            <a:endParaRPr sz="140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  <a:spcBef>
                <a:spcPts val="40"/>
              </a:spcBef>
            </a:pPr>
            <a:r>
              <a:rPr sz="1400" spc="0" dirty="0" smtClean="0">
                <a:latin typeface="+mj-lt"/>
                <a:cs typeface="Cambria"/>
              </a:rPr>
              <a:t>UNIQUE</a:t>
            </a:r>
            <a:r>
              <a:rPr sz="1400" spc="-39" dirty="0" smtClean="0">
                <a:latin typeface="+mj-lt"/>
                <a:cs typeface="Cambria"/>
              </a:rPr>
              <a:t> </a:t>
            </a:r>
            <a:r>
              <a:rPr sz="1400" spc="-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RIMA</a:t>
            </a:r>
            <a:r>
              <a:rPr sz="1400" spc="-5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Y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</a:t>
            </a:r>
            <a:r>
              <a:rPr sz="1400" spc="-4" dirty="0" smtClean="0">
                <a:latin typeface="+mj-lt"/>
                <a:cs typeface="Cambria"/>
              </a:rPr>
              <a:t>DE</a:t>
            </a:r>
            <a:r>
              <a:rPr sz="1400" spc="0" dirty="0" smtClean="0">
                <a:latin typeface="+mj-lt"/>
                <a:cs typeface="Cambria"/>
              </a:rPr>
              <a:t>X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(</a:t>
            </a:r>
            <a:r>
              <a:rPr sz="1400" spc="-9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us</a:t>
            </a:r>
            <a:r>
              <a:rPr sz="1400" spc="4" dirty="0" smtClean="0">
                <a:latin typeface="+mj-lt"/>
                <a:cs typeface="Cambria"/>
              </a:rPr>
              <a:t>t);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6175375" y="1299873"/>
            <a:ext cx="213517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-4" dirty="0" smtClean="0">
                <a:latin typeface="+mj-lt"/>
                <a:cs typeface="Cambria"/>
              </a:rPr>
              <a:t>PK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519786" y="2414425"/>
            <a:ext cx="2706621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4" dirty="0" smtClean="0">
                <a:latin typeface="+mj-lt"/>
                <a:cs typeface="Cambria"/>
              </a:rPr>
              <a:t>L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4" dirty="0" smtClean="0">
                <a:latin typeface="+mj-lt"/>
                <a:cs typeface="Cambria"/>
              </a:rPr>
              <a:t>C</a:t>
            </a:r>
            <a:r>
              <a:rPr sz="1100" spc="0" dirty="0" smtClean="0">
                <a:latin typeface="+mj-lt"/>
                <a:cs typeface="Cambria"/>
              </a:rPr>
              <a:t>T</a:t>
            </a:r>
            <a:r>
              <a:rPr sz="1100" spc="-19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*</a:t>
            </a:r>
            <a:r>
              <a:rPr sz="1100" spc="-4" dirty="0" smtClean="0">
                <a:latin typeface="+mj-lt"/>
                <a:cs typeface="Cambria"/>
              </a:rPr>
              <a:t> F</a:t>
            </a:r>
            <a:r>
              <a:rPr sz="1100" spc="0" dirty="0" smtClean="0">
                <a:latin typeface="+mj-lt"/>
                <a:cs typeface="Cambria"/>
              </a:rPr>
              <a:t>ROM</a:t>
            </a:r>
            <a:r>
              <a:rPr sz="1100" spc="-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c</a:t>
            </a:r>
            <a:r>
              <a:rPr sz="1100" spc="0" dirty="0" smtClean="0">
                <a:latin typeface="+mj-lt"/>
                <a:cs typeface="Cambria"/>
              </a:rPr>
              <a:t>u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to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r</a:t>
            </a:r>
            <a:r>
              <a:rPr sz="1100" spc="-3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WHERE</a:t>
            </a:r>
            <a:r>
              <a:rPr sz="1100" spc="4" dirty="0" smtClean="0">
                <a:latin typeface="+mj-lt"/>
                <a:cs typeface="Cambria"/>
              </a:rPr>
              <a:t> c</a:t>
            </a:r>
            <a:r>
              <a:rPr sz="1100" spc="0" dirty="0" smtClean="0">
                <a:latin typeface="+mj-lt"/>
                <a:cs typeface="Cambria"/>
              </a:rPr>
              <a:t>u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t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= 45;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7904440" y="2717801"/>
            <a:ext cx="668061" cy="6685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0131" marR="3048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666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5555</a:t>
            </a:r>
            <a:endParaRPr sz="1100" dirty="0">
              <a:latin typeface="+mj-lt"/>
              <a:cs typeface="Cambria"/>
            </a:endParaRPr>
          </a:p>
          <a:p>
            <a:pPr marL="43179">
              <a:lnSpc>
                <a:spcPct val="97696"/>
              </a:lnSpc>
            </a:pPr>
            <a:r>
              <a:rPr sz="1100" spc="0" dirty="0" smtClean="0">
                <a:latin typeface="+mj-lt"/>
                <a:cs typeface="Cambria"/>
              </a:rPr>
              <a:t>111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 dirty="0">
              <a:latin typeface="+mj-lt"/>
              <a:cs typeface="Cambria"/>
            </a:endParaRPr>
          </a:p>
          <a:p>
            <a:pPr marL="41655" marR="1524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888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2222</a:t>
            </a:r>
            <a:endParaRPr sz="1100" dirty="0">
              <a:latin typeface="+mj-lt"/>
              <a:cs typeface="Cambria"/>
            </a:endParaRPr>
          </a:p>
          <a:p>
            <a:pPr marL="12700" marR="21031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111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2222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6151627" y="3096034"/>
            <a:ext cx="201699" cy="5008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51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</a:pPr>
            <a:r>
              <a:rPr sz="1100" spc="0" dirty="0" smtClean="0">
                <a:latin typeface="+mj-lt"/>
                <a:cs typeface="Cambria"/>
              </a:rPr>
              <a:t>31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6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6880351" y="3263674"/>
            <a:ext cx="457056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d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6849873" y="3431314"/>
            <a:ext cx="374295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lack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7935140" y="3431314"/>
            <a:ext cx="637361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444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5555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5693410" y="4933343"/>
            <a:ext cx="692638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7922768" y="4933343"/>
            <a:ext cx="692638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3230626" y="4961029"/>
            <a:ext cx="692638" cy="44272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  <a:p>
            <a:pPr marL="283083" marR="21031">
              <a:lnSpc>
                <a:spcPct val="97696"/>
              </a:lnSpc>
              <a:spcBef>
                <a:spcPts val="830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905053" y="4968140"/>
            <a:ext cx="682123" cy="436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  <a:p>
            <a:pPr marL="102869" marR="182751" algn="ctr">
              <a:lnSpc>
                <a:spcPct val="97696"/>
              </a:lnSpc>
              <a:spcBef>
                <a:spcPts val="784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5115815" y="5161943"/>
            <a:ext cx="302454" cy="3180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00"/>
              </a:lnSpc>
              <a:spcBef>
                <a:spcPts val="95"/>
              </a:spcBef>
            </a:pPr>
            <a:r>
              <a:rPr sz="1100" spc="4" dirty="0" smtClean="0">
                <a:latin typeface="+mj-lt"/>
                <a:cs typeface="Cambria"/>
              </a:rPr>
              <a:t>U</a:t>
            </a:r>
            <a:r>
              <a:rPr sz="1100" spc="0" dirty="0" smtClean="0">
                <a:latin typeface="+mj-lt"/>
                <a:cs typeface="Cambria"/>
              </a:rPr>
              <a:t>PI C</a:t>
            </a:r>
            <a:r>
              <a:rPr sz="1100" spc="4" dirty="0" smtClean="0">
                <a:latin typeface="+mj-lt"/>
                <a:cs typeface="Cambria"/>
              </a:rPr>
              <a:t>us</a:t>
            </a:r>
            <a:r>
              <a:rPr sz="1100" spc="0" dirty="0" smtClean="0">
                <a:latin typeface="+mj-lt"/>
                <a:cs typeface="Cambria"/>
              </a:rPr>
              <a:t>t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2886584" y="5238142"/>
            <a:ext cx="315153" cy="3180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C</a:t>
            </a:r>
            <a:r>
              <a:rPr sz="1100" spc="4" dirty="0" smtClean="0">
                <a:latin typeface="+mj-lt"/>
                <a:cs typeface="Cambria"/>
              </a:rPr>
              <a:t>us</a:t>
            </a:r>
            <a:r>
              <a:rPr sz="1100" spc="0" dirty="0" smtClean="0">
                <a:latin typeface="+mj-lt"/>
                <a:cs typeface="Cambria"/>
              </a:rPr>
              <a:t>t</a:t>
            </a:r>
            <a:endParaRPr sz="1100">
              <a:latin typeface="+mj-lt"/>
              <a:cs typeface="Cambria"/>
            </a:endParaRPr>
          </a:p>
          <a:p>
            <a:pPr marL="12700" marR="24566">
              <a:lnSpc>
                <a:spcPts val="1200"/>
              </a:lnSpc>
            </a:pPr>
            <a:r>
              <a:rPr sz="1100" spc="4" dirty="0" smtClean="0">
                <a:latin typeface="+mj-lt"/>
                <a:cs typeface="Cambria"/>
              </a:rPr>
              <a:t>U</a:t>
            </a:r>
            <a:r>
              <a:rPr sz="1100" spc="0" dirty="0" smtClean="0">
                <a:latin typeface="+mj-lt"/>
                <a:cs typeface="Cambria"/>
              </a:rPr>
              <a:t>PI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4058539" y="5238142"/>
            <a:ext cx="424472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5611116" y="5314342"/>
            <a:ext cx="396501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6356350" y="5314342"/>
            <a:ext cx="424472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7470775" y="5314343"/>
            <a:ext cx="1007856" cy="4445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1031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C</a:t>
            </a:r>
            <a:r>
              <a:rPr sz="1100" spc="4" dirty="0" smtClean="0">
                <a:latin typeface="+mj-lt"/>
                <a:cs typeface="Cambria"/>
              </a:rPr>
              <a:t>us</a:t>
            </a:r>
            <a:r>
              <a:rPr sz="1100" spc="0" dirty="0" smtClean="0">
                <a:latin typeface="+mj-lt"/>
                <a:cs typeface="Cambria"/>
              </a:rPr>
              <a:t>t      </a:t>
            </a:r>
            <a:r>
              <a:rPr sz="1100" spc="119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  <a:p>
            <a:pPr marL="265302" marR="21031">
              <a:lnSpc>
                <a:spcPts val="1170"/>
              </a:lnSpc>
              <a:spcBef>
                <a:spcPts val="1"/>
              </a:spcBef>
            </a:pPr>
            <a:r>
              <a:rPr sz="1650" spc="0" baseline="-5169" dirty="0" smtClean="0">
                <a:latin typeface="+mj-lt"/>
                <a:cs typeface="Cambria"/>
              </a:rPr>
              <a:t>27   </a:t>
            </a:r>
            <a:r>
              <a:rPr sz="1650" spc="157" baseline="-5169" dirty="0" smtClean="0">
                <a:latin typeface="+mj-lt"/>
                <a:cs typeface="Cambria"/>
              </a:rPr>
              <a:t> </a:t>
            </a:r>
            <a:r>
              <a:rPr sz="1650" spc="0" baseline="-5169" dirty="0" smtClean="0">
                <a:latin typeface="+mj-lt"/>
                <a:cs typeface="Cambria"/>
              </a:rPr>
              <a:t>Jo</a:t>
            </a:r>
            <a:r>
              <a:rPr sz="1650" spc="-4" baseline="-5169" dirty="0" smtClean="0">
                <a:latin typeface="+mj-lt"/>
                <a:cs typeface="Cambria"/>
              </a:rPr>
              <a:t>n</a:t>
            </a:r>
            <a:r>
              <a:rPr sz="1650" spc="0" baseline="-5169" dirty="0" smtClean="0">
                <a:latin typeface="+mj-lt"/>
                <a:cs typeface="Cambria"/>
              </a:rPr>
              <a:t>es</a:t>
            </a:r>
            <a:endParaRPr sz="1100">
              <a:latin typeface="+mj-lt"/>
              <a:cs typeface="Cambria"/>
            </a:endParaRPr>
          </a:p>
          <a:p>
            <a:pPr marL="265302">
              <a:lnSpc>
                <a:spcPts val="1019"/>
              </a:lnSpc>
            </a:pPr>
            <a:r>
              <a:rPr sz="1650" spc="0" baseline="2584" dirty="0" smtClean="0">
                <a:latin typeface="+mj-lt"/>
                <a:cs typeface="Cambria"/>
              </a:rPr>
              <a:t>72   </a:t>
            </a:r>
            <a:r>
              <a:rPr sz="1650" spc="157" baseline="2584" dirty="0" smtClean="0">
                <a:latin typeface="+mj-lt"/>
                <a:cs typeface="Cambria"/>
              </a:rPr>
              <a:t> </a:t>
            </a:r>
            <a:r>
              <a:rPr sz="1650" spc="-4" baseline="2584" dirty="0" smtClean="0">
                <a:latin typeface="+mj-lt"/>
                <a:cs typeface="Cambria"/>
              </a:rPr>
              <a:t>A</a:t>
            </a:r>
            <a:r>
              <a:rPr sz="1650" spc="0" baseline="2584" dirty="0" smtClean="0">
                <a:latin typeface="+mj-lt"/>
                <a:cs typeface="Cambria"/>
              </a:rPr>
              <a:t>da</a:t>
            </a:r>
            <a:r>
              <a:rPr sz="1650" spc="4" baseline="2584" dirty="0" smtClean="0">
                <a:latin typeface="+mj-lt"/>
                <a:cs typeface="Cambria"/>
              </a:rPr>
              <a:t>m</a:t>
            </a:r>
            <a:r>
              <a:rPr sz="1650" spc="0" baseline="2584" dirty="0" smtClean="0">
                <a:latin typeface="+mj-lt"/>
                <a:cs typeface="Cambria"/>
              </a:rPr>
              <a:t>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8562849" y="5314342"/>
            <a:ext cx="627064" cy="43718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38201" marR="64391" algn="ctr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  <a:p>
            <a:pPr algn="ctr">
              <a:lnSpc>
                <a:spcPts val="1120"/>
              </a:lnSpc>
            </a:pPr>
            <a:r>
              <a:rPr sz="1650" spc="0" baseline="-5169" dirty="0" smtClean="0">
                <a:latin typeface="+mj-lt"/>
                <a:cs typeface="Cambria"/>
              </a:rPr>
              <a:t>222</a:t>
            </a:r>
            <a:r>
              <a:rPr sz="1650" spc="4" baseline="-5169" dirty="0" smtClean="0">
                <a:latin typeface="+mj-lt"/>
                <a:cs typeface="Cambria"/>
              </a:rPr>
              <a:t>-</a:t>
            </a:r>
            <a:r>
              <a:rPr sz="1650" spc="0" baseline="-5169" dirty="0" smtClean="0">
                <a:latin typeface="+mj-lt"/>
                <a:cs typeface="Cambria"/>
              </a:rPr>
              <a:t>8888</a:t>
            </a:r>
            <a:endParaRPr sz="1100">
              <a:latin typeface="+mj-lt"/>
              <a:cs typeface="Cambria"/>
            </a:endParaRPr>
          </a:p>
          <a:p>
            <a:pPr algn="ctr">
              <a:lnSpc>
                <a:spcPts val="1019"/>
              </a:lnSpc>
            </a:pPr>
            <a:r>
              <a:rPr sz="1650" spc="0" baseline="2584" dirty="0" smtClean="0">
                <a:latin typeface="+mj-lt"/>
                <a:cs typeface="Cambria"/>
              </a:rPr>
              <a:t>666</a:t>
            </a:r>
            <a:r>
              <a:rPr sz="1650" spc="4" baseline="2584" dirty="0" smtClean="0">
                <a:latin typeface="+mj-lt"/>
                <a:cs typeface="Cambria"/>
              </a:rPr>
              <a:t>-</a:t>
            </a:r>
            <a:r>
              <a:rPr sz="1650" spc="0" baseline="2584" dirty="0" smtClean="0">
                <a:latin typeface="+mj-lt"/>
                <a:cs typeface="Cambria"/>
              </a:rPr>
              <a:t>7777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3748534" y="5608532"/>
            <a:ext cx="637625" cy="39445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666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5555</a:t>
            </a:r>
            <a:endParaRPr sz="1100">
              <a:latin typeface="+mj-lt"/>
              <a:cs typeface="Cambria"/>
            </a:endParaRPr>
          </a:p>
          <a:p>
            <a:pPr marL="12700" marR="45">
              <a:lnSpc>
                <a:spcPct val="97696"/>
              </a:lnSpc>
              <a:spcBef>
                <a:spcPts val="448"/>
              </a:spcBef>
            </a:pPr>
            <a:r>
              <a:rPr sz="1100" spc="0" dirty="0" smtClean="0">
                <a:latin typeface="+mj-lt"/>
                <a:cs typeface="Cambria"/>
              </a:rPr>
              <a:t>777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2909063" y="5615789"/>
            <a:ext cx="668294" cy="3942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1031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84   </a:t>
            </a:r>
            <a:r>
              <a:rPr sz="1100" spc="157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Ri</a:t>
            </a:r>
            <a:r>
              <a:rPr sz="1100" spc="4" dirty="0" smtClean="0">
                <a:latin typeface="+mj-lt"/>
                <a:cs typeface="Cambria"/>
              </a:rPr>
              <a:t>c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  <a:spcBef>
                <a:spcPts val="448"/>
              </a:spcBef>
            </a:pPr>
            <a:r>
              <a:rPr sz="1100" spc="0" dirty="0" smtClean="0">
                <a:latin typeface="+mj-lt"/>
                <a:cs typeface="Cambria"/>
              </a:rPr>
              <a:t>77   </a:t>
            </a:r>
            <a:r>
              <a:rPr sz="1100" spc="157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Jo</a:t>
            </a:r>
            <a:r>
              <a:rPr sz="1100" spc="-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e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6250687" y="5619446"/>
            <a:ext cx="637835" cy="5085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650" spc="0" baseline="-5169" dirty="0" smtClean="0">
                <a:latin typeface="+mj-lt"/>
                <a:cs typeface="Cambria"/>
              </a:rPr>
              <a:t>77</a:t>
            </a:r>
            <a:r>
              <a:rPr sz="1650" spc="4" baseline="-5169" dirty="0" smtClean="0">
                <a:latin typeface="+mj-lt"/>
                <a:cs typeface="Cambria"/>
              </a:rPr>
              <a:t>7-</a:t>
            </a:r>
            <a:r>
              <a:rPr sz="1650" spc="0" baseline="-5169" dirty="0" smtClean="0">
                <a:latin typeface="+mj-lt"/>
                <a:cs typeface="Cambria"/>
              </a:rPr>
              <a:t>4444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900"/>
              </a:lnSpc>
            </a:pPr>
            <a:r>
              <a:rPr sz="1650" spc="0" baseline="-2584" dirty="0" smtClean="0">
                <a:latin typeface="+mj-lt"/>
                <a:cs typeface="Cambria"/>
              </a:rPr>
              <a:t>55</a:t>
            </a:r>
            <a:r>
              <a:rPr sz="1650" spc="4" baseline="-2584" dirty="0" smtClean="0">
                <a:latin typeface="+mj-lt"/>
                <a:cs typeface="Cambria"/>
              </a:rPr>
              <a:t>5-</a:t>
            </a:r>
            <a:r>
              <a:rPr sz="1650" spc="0" baseline="-2584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900"/>
              </a:lnSpc>
            </a:pPr>
            <a:r>
              <a:rPr sz="1650" spc="0" baseline="-2584" dirty="0" smtClean="0">
                <a:latin typeface="+mj-lt"/>
                <a:cs typeface="Cambria"/>
              </a:rPr>
              <a:t>33</a:t>
            </a:r>
            <a:r>
              <a:rPr sz="1650" spc="4" baseline="-2584" dirty="0" smtClean="0">
                <a:latin typeface="+mj-lt"/>
                <a:cs typeface="Cambria"/>
              </a:rPr>
              <a:t>3-</a:t>
            </a:r>
            <a:r>
              <a:rPr sz="1650" spc="0" baseline="-2584" dirty="0" smtClean="0">
                <a:latin typeface="+mj-lt"/>
                <a:cs typeface="Cambria"/>
              </a:rPr>
              <a:t>9999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1019"/>
              </a:lnSpc>
              <a:spcBef>
                <a:spcPts val="6"/>
              </a:spcBef>
            </a:pPr>
            <a:r>
              <a:rPr sz="1650" spc="0" baseline="2584" dirty="0" smtClean="0">
                <a:latin typeface="+mj-lt"/>
                <a:cs typeface="Cambria"/>
              </a:rPr>
              <a:t>11</a:t>
            </a:r>
            <a:r>
              <a:rPr sz="1650" spc="4" baseline="2584" dirty="0" smtClean="0">
                <a:latin typeface="+mj-lt"/>
                <a:cs typeface="Cambria"/>
              </a:rPr>
              <a:t>1-</a:t>
            </a:r>
            <a:r>
              <a:rPr sz="1650" spc="0" baseline="2584" dirty="0" smtClean="0">
                <a:latin typeface="+mj-lt"/>
                <a:cs typeface="Cambria"/>
              </a:rPr>
              <a:t>222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5168646" y="5626457"/>
            <a:ext cx="201798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1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5552949" y="5626457"/>
            <a:ext cx="424872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-4" dirty="0" smtClean="0">
                <a:latin typeface="+mj-lt"/>
                <a:cs typeface="Cambria"/>
              </a:rPr>
              <a:t>Y</a:t>
            </a:r>
            <a:r>
              <a:rPr sz="1100" spc="0" dirty="0" smtClean="0">
                <a:latin typeface="+mj-lt"/>
                <a:cs typeface="Cambria"/>
              </a:rPr>
              <a:t>o</a:t>
            </a:r>
            <a:r>
              <a:rPr sz="1100" spc="4" dirty="0" smtClean="0">
                <a:latin typeface="+mj-lt"/>
                <a:cs typeface="Cambria"/>
              </a:rPr>
              <a:t>u</a:t>
            </a:r>
            <a:r>
              <a:rPr sz="1100" spc="-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g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8562849" y="5700218"/>
            <a:ext cx="637581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222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3333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7723380" y="5707534"/>
            <a:ext cx="696146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40   </a:t>
            </a:r>
            <a:r>
              <a:rPr sz="1100" spc="157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Smi</a:t>
            </a:r>
            <a:r>
              <a:rPr sz="1100" spc="0" dirty="0" smtClean="0">
                <a:latin typeface="+mj-lt"/>
                <a:cs typeface="Cambria"/>
              </a:rPr>
              <a:t>th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5168645" y="5740757"/>
            <a:ext cx="782254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74      </a:t>
            </a:r>
            <a:r>
              <a:rPr sz="1100" spc="109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Smi</a:t>
            </a:r>
            <a:r>
              <a:rPr sz="1100" spc="0" dirty="0" smtClean="0">
                <a:latin typeface="+mj-lt"/>
                <a:cs typeface="Cambria"/>
              </a:rPr>
              <a:t>th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7723380" y="5814518"/>
            <a:ext cx="1477050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37   </a:t>
            </a:r>
            <a:r>
              <a:rPr sz="1100" spc="157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W</a:t>
            </a:r>
            <a:r>
              <a:rPr sz="1100" spc="4" dirty="0" smtClean="0">
                <a:latin typeface="+mj-lt"/>
                <a:cs typeface="Cambria"/>
              </a:rPr>
              <a:t>hi</a:t>
            </a:r>
            <a:r>
              <a:rPr sz="1100" spc="0" dirty="0" smtClean="0">
                <a:latin typeface="+mj-lt"/>
                <a:cs typeface="Cambria"/>
              </a:rPr>
              <a:t>te    </a:t>
            </a:r>
            <a:r>
              <a:rPr sz="1100" spc="197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555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4444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168646" y="5855057"/>
            <a:ext cx="841358" cy="2799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6085">
              <a:lnSpc>
                <a:spcPts val="1120"/>
              </a:lnSpc>
              <a:spcBef>
                <a:spcPts val="55"/>
              </a:spcBef>
            </a:pPr>
            <a:r>
              <a:rPr sz="1650" spc="0" baseline="-5169" dirty="0" smtClean="0">
                <a:latin typeface="+mj-lt"/>
                <a:cs typeface="Cambria"/>
              </a:rPr>
              <a:t>98      </a:t>
            </a:r>
            <a:r>
              <a:rPr sz="1650" spc="109" baseline="-5169" dirty="0" smtClean="0">
                <a:latin typeface="+mj-lt"/>
                <a:cs typeface="Cambria"/>
              </a:rPr>
              <a:t> </a:t>
            </a:r>
            <a:r>
              <a:rPr sz="1650" spc="0" baseline="-5169" dirty="0" smtClean="0">
                <a:latin typeface="+mj-lt"/>
                <a:cs typeface="Cambria"/>
              </a:rPr>
              <a:t>B</a:t>
            </a:r>
            <a:r>
              <a:rPr sz="1650" spc="-4" baseline="-5169" dirty="0" smtClean="0">
                <a:latin typeface="+mj-lt"/>
                <a:cs typeface="Cambria"/>
              </a:rPr>
              <a:t>r</a:t>
            </a:r>
            <a:r>
              <a:rPr sz="1650" spc="0" baseline="-5169" dirty="0" smtClean="0">
                <a:latin typeface="+mj-lt"/>
                <a:cs typeface="Cambria"/>
              </a:rPr>
              <a:t>own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1019"/>
              </a:lnSpc>
            </a:pPr>
            <a:r>
              <a:rPr sz="1650" spc="0" baseline="2584" dirty="0" smtClean="0">
                <a:latin typeface="+mj-lt"/>
                <a:cs typeface="Cambria"/>
              </a:rPr>
              <a:t>31      </a:t>
            </a:r>
            <a:r>
              <a:rPr sz="1650" spc="109" baseline="2584" dirty="0" smtClean="0">
                <a:latin typeface="+mj-lt"/>
                <a:cs typeface="Cambria"/>
              </a:rPr>
              <a:t> </a:t>
            </a:r>
            <a:r>
              <a:rPr sz="1650" spc="-4" baseline="2584" dirty="0" smtClean="0">
                <a:latin typeface="+mj-lt"/>
                <a:cs typeface="Cambria"/>
              </a:rPr>
              <a:t>A</a:t>
            </a:r>
            <a:r>
              <a:rPr sz="1650" spc="0" baseline="2584" dirty="0" smtClean="0">
                <a:latin typeface="+mj-lt"/>
                <a:cs typeface="Cambria"/>
              </a:rPr>
              <a:t>da</a:t>
            </a:r>
            <a:r>
              <a:rPr sz="1650" spc="4" baseline="2584" dirty="0" smtClean="0">
                <a:latin typeface="+mj-lt"/>
                <a:cs typeface="Cambria"/>
              </a:rPr>
              <a:t>m</a:t>
            </a:r>
            <a:r>
              <a:rPr sz="1650" spc="0" baseline="2584" dirty="0" smtClean="0">
                <a:latin typeface="+mj-lt"/>
                <a:cs typeface="Cambria"/>
              </a:rPr>
              <a:t>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1705738" y="5898035"/>
            <a:ext cx="637581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888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222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74649" y="5907482"/>
            <a:ext cx="201798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51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923342" y="5907482"/>
            <a:ext cx="425379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Mar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h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744119" y="5566879"/>
            <a:ext cx="733431" cy="261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52">
              <a:lnSpc>
                <a:spcPct val="97696"/>
              </a:lnSpc>
              <a:spcBef>
                <a:spcPts val="430"/>
              </a:spcBef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d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477549" y="5566879"/>
            <a:ext cx="918470" cy="261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01568">
              <a:lnSpc>
                <a:spcPct val="97696"/>
              </a:lnSpc>
              <a:spcBef>
                <a:spcPts val="360"/>
              </a:spcBef>
            </a:pPr>
            <a:r>
              <a:rPr sz="1100" spc="0" dirty="0" smtClean="0">
                <a:latin typeface="+mj-lt"/>
                <a:cs typeface="Cambria"/>
              </a:rPr>
              <a:t>444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331127" y="5571172"/>
            <a:ext cx="343255" cy="261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40">
              <a:lnSpc>
                <a:spcPct val="97696"/>
              </a:lnSpc>
              <a:spcBef>
                <a:spcPts val="395"/>
              </a:spcBef>
            </a:pPr>
            <a:r>
              <a:rPr sz="1100" spc="0" dirty="0" smtClean="0">
                <a:latin typeface="+mj-lt"/>
                <a:cs typeface="Cambria"/>
              </a:rPr>
              <a:t>45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701163" y="4462462"/>
            <a:ext cx="1880362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3"/>
              </a:spcBef>
            </a:pPr>
            <a:endParaRPr sz="700">
              <a:latin typeface="+mj-lt"/>
            </a:endParaRPr>
          </a:p>
          <a:p>
            <a:pPr marL="720950" marR="719448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301104" y="4419536"/>
            <a:ext cx="1880362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2"/>
              </a:spcBef>
            </a:pPr>
            <a:endParaRPr sz="700">
              <a:latin typeface="+mj-lt"/>
            </a:endParaRPr>
          </a:p>
          <a:p>
            <a:pPr marL="724814" marR="722042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4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001133" y="4419536"/>
            <a:ext cx="1880362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2"/>
              </a:spcBef>
            </a:pPr>
            <a:endParaRPr sz="700">
              <a:latin typeface="+mj-lt"/>
            </a:endParaRPr>
          </a:p>
          <a:p>
            <a:pPr marL="724433" marR="722423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3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11352" y="4419536"/>
            <a:ext cx="1882648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2"/>
              </a:spcBef>
            </a:pPr>
            <a:endParaRPr sz="700">
              <a:latin typeface="+mj-lt"/>
            </a:endParaRPr>
          </a:p>
          <a:p>
            <a:pPr marL="724255" marR="724887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1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12751" y="3886200"/>
            <a:ext cx="8580629" cy="304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447186" marR="4662745" algn="ctr">
              <a:lnSpc>
                <a:spcPct val="97696"/>
              </a:lnSpc>
              <a:spcBef>
                <a:spcPts val="390"/>
              </a:spcBef>
            </a:pPr>
            <a:r>
              <a:rPr sz="1100" spc="0" dirty="0" smtClean="0">
                <a:latin typeface="+mj-lt"/>
                <a:cs typeface="Cambria"/>
              </a:rPr>
              <a:t>B</a:t>
            </a:r>
            <a:r>
              <a:rPr sz="1100" spc="-9" dirty="0" smtClean="0">
                <a:latin typeface="+mj-lt"/>
                <a:cs typeface="Cambria"/>
              </a:rPr>
              <a:t>Y</a:t>
            </a: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ET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832104" y="2872943"/>
            <a:ext cx="1316227" cy="2393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036459" y="2814663"/>
            <a:ext cx="2967227" cy="8548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82156">
              <a:lnSpc>
                <a:spcPts val="1839"/>
              </a:lnSpc>
              <a:spcBef>
                <a:spcPts val="185"/>
              </a:spcBef>
            </a:pPr>
            <a:r>
              <a:rPr sz="1650" spc="-4" baseline="28432" dirty="0" smtClean="0">
                <a:latin typeface="+mj-lt"/>
                <a:cs typeface="Cambria"/>
              </a:rPr>
              <a:t>P</a:t>
            </a:r>
            <a:r>
              <a:rPr sz="1650" spc="0" baseline="28432" dirty="0" smtClean="0">
                <a:latin typeface="+mj-lt"/>
                <a:cs typeface="Cambria"/>
              </a:rPr>
              <a:t>E                          </a:t>
            </a:r>
            <a:r>
              <a:rPr sz="1650" spc="89" baseline="28432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U</a:t>
            </a:r>
            <a:r>
              <a:rPr sz="1100" spc="0" dirty="0" smtClean="0">
                <a:latin typeface="+mj-lt"/>
                <a:cs typeface="Cambria"/>
              </a:rPr>
              <a:t>PI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= 45</a:t>
            </a:r>
            <a:endParaRPr sz="1100">
              <a:latin typeface="+mj-lt"/>
              <a:cs typeface="Cambria"/>
            </a:endParaRPr>
          </a:p>
          <a:p>
            <a:pPr marL="834377">
              <a:lnSpc>
                <a:spcPct val="97696"/>
              </a:lnSpc>
              <a:spcBef>
                <a:spcPts val="1758"/>
              </a:spcBef>
            </a:pPr>
            <a:r>
              <a:rPr sz="1100" spc="0" dirty="0" smtClean="0">
                <a:latin typeface="+mj-lt"/>
                <a:cs typeface="Cambria"/>
              </a:rPr>
              <a:t>H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h</a:t>
            </a:r>
            <a:r>
              <a:rPr sz="1100" spc="4" dirty="0" smtClean="0">
                <a:latin typeface="+mj-lt"/>
                <a:cs typeface="Cambria"/>
              </a:rPr>
              <a:t>i</a:t>
            </a:r>
            <a:r>
              <a:rPr sz="1100" spc="-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g</a:t>
            </a:r>
            <a:r>
              <a:rPr sz="1100" spc="-44" dirty="0" smtClean="0">
                <a:latin typeface="+mj-lt"/>
                <a:cs typeface="Cambria"/>
              </a:rPr>
              <a:t> </a:t>
            </a: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l</a:t>
            </a:r>
            <a:r>
              <a:rPr sz="1100" spc="-4" dirty="0" smtClean="0">
                <a:latin typeface="+mj-lt"/>
                <a:cs typeface="Cambria"/>
              </a:rPr>
              <a:t>g</a:t>
            </a:r>
            <a:r>
              <a:rPr sz="1100" spc="0" dirty="0" smtClean="0">
                <a:latin typeface="+mj-lt"/>
                <a:cs typeface="Cambria"/>
              </a:rPr>
              <a:t>or</a:t>
            </a:r>
            <a:r>
              <a:rPr sz="1100" spc="4" dirty="0" smtClean="0">
                <a:latin typeface="+mj-lt"/>
                <a:cs typeface="Cambria"/>
              </a:rPr>
              <a:t>i</a:t>
            </a:r>
            <a:r>
              <a:rPr sz="1100" spc="0" dirty="0" smtClean="0">
                <a:latin typeface="+mj-lt"/>
                <a:cs typeface="Cambria"/>
              </a:rPr>
              <a:t>thm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689093" y="1100201"/>
            <a:ext cx="1187831" cy="1559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37921" marR="438291" algn="ctr">
              <a:lnSpc>
                <a:spcPts val="1120"/>
              </a:lnSpc>
              <a:spcBef>
                <a:spcPts val="161"/>
              </a:spcBef>
            </a:pPr>
            <a:r>
              <a:rPr sz="1650" spc="0" baseline="-7754" dirty="0" smtClean="0">
                <a:latin typeface="+mj-lt"/>
                <a:cs typeface="Cambria"/>
              </a:rPr>
              <a:t>C</a:t>
            </a:r>
            <a:r>
              <a:rPr sz="1650" spc="4" baseline="-7754" dirty="0" smtClean="0">
                <a:latin typeface="+mj-lt"/>
                <a:cs typeface="Cambria"/>
              </a:rPr>
              <a:t>us</a:t>
            </a:r>
            <a:r>
              <a:rPr sz="1650" spc="0" baseline="-7754" dirty="0" smtClean="0">
                <a:latin typeface="+mj-lt"/>
                <a:cs typeface="Cambria"/>
              </a:rPr>
              <a:t>t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876923" y="1100201"/>
            <a:ext cx="965326" cy="1559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36448">
              <a:lnSpc>
                <a:spcPts val="1215"/>
              </a:lnSpc>
              <a:spcBef>
                <a:spcPts val="70"/>
              </a:spcBef>
            </a:pPr>
            <a:r>
              <a:rPr sz="1650" spc="4" baseline="-2584" dirty="0" smtClean="0">
                <a:latin typeface="+mj-lt"/>
                <a:cs typeface="Cambria"/>
              </a:rPr>
              <a:t>N</a:t>
            </a:r>
            <a:r>
              <a:rPr sz="1650" spc="0" baseline="-2584" dirty="0" smtClean="0">
                <a:latin typeface="+mj-lt"/>
                <a:cs typeface="Cambria"/>
              </a:rPr>
              <a:t>a</a:t>
            </a:r>
            <a:r>
              <a:rPr sz="1650" spc="4" baseline="-2584" dirty="0" smtClean="0">
                <a:latin typeface="+mj-lt"/>
                <a:cs typeface="Cambria"/>
              </a:rPr>
              <a:t>m</a:t>
            </a:r>
            <a:r>
              <a:rPr sz="1650" spc="0" baseline="-2584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7842251" y="1100201"/>
            <a:ext cx="1568450" cy="1559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807974">
              <a:lnSpc>
                <a:spcPts val="1120"/>
              </a:lnSpc>
              <a:spcBef>
                <a:spcPts val="161"/>
              </a:spcBef>
            </a:pPr>
            <a:r>
              <a:rPr sz="1650" spc="0" baseline="-7754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650104" y="1256157"/>
            <a:ext cx="1226820" cy="1344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876923" y="1256157"/>
            <a:ext cx="965326" cy="1344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7842251" y="1256157"/>
            <a:ext cx="1568450" cy="1344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650104" y="1390650"/>
            <a:ext cx="1226820" cy="1464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37616" marR="426418" algn="ctr">
              <a:lnSpc>
                <a:spcPts val="960"/>
              </a:lnSpc>
              <a:spcBef>
                <a:spcPts val="238"/>
              </a:spcBef>
            </a:pPr>
            <a:r>
              <a:rPr sz="1650" spc="4" baseline="-15508" dirty="0" smtClean="0">
                <a:latin typeface="+mj-lt"/>
                <a:cs typeface="Cambria"/>
              </a:rPr>
              <a:t>U</a:t>
            </a:r>
            <a:r>
              <a:rPr sz="1650" spc="0" baseline="-15508" dirty="0" smtClean="0">
                <a:latin typeface="+mj-lt"/>
                <a:cs typeface="Cambria"/>
              </a:rPr>
              <a:t>PI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876923" y="1390650"/>
            <a:ext cx="965326" cy="1464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7842251" y="1390650"/>
            <a:ext cx="1568450" cy="1464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650104" y="1537081"/>
            <a:ext cx="1226820" cy="18014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91007" marR="534014" algn="ctr">
              <a:lnSpc>
                <a:spcPct val="97696"/>
              </a:lnSpc>
              <a:spcBef>
                <a:spcPts val="340"/>
              </a:spcBef>
            </a:pPr>
            <a:r>
              <a:rPr sz="1100" spc="0" dirty="0" smtClean="0">
                <a:latin typeface="+mj-lt"/>
                <a:cs typeface="Cambria"/>
              </a:rPr>
              <a:t>37</a:t>
            </a:r>
            <a:endParaRPr sz="1100" dirty="0">
              <a:latin typeface="+mj-lt"/>
              <a:cs typeface="Cambria"/>
            </a:endParaRPr>
          </a:p>
          <a:p>
            <a:pPr marL="491007" marR="534014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98</a:t>
            </a:r>
            <a:endParaRPr sz="1100" dirty="0">
              <a:latin typeface="+mj-lt"/>
              <a:cs typeface="Cambria"/>
            </a:endParaRPr>
          </a:p>
          <a:p>
            <a:pPr marL="491007" marR="534014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74</a:t>
            </a:r>
            <a:endParaRPr sz="1100" dirty="0">
              <a:latin typeface="+mj-lt"/>
              <a:cs typeface="Cambria"/>
            </a:endParaRPr>
          </a:p>
          <a:p>
            <a:pPr marL="491007" marR="534014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95</a:t>
            </a:r>
            <a:endParaRPr sz="1100" dirty="0">
              <a:latin typeface="+mj-lt"/>
              <a:cs typeface="Cambria"/>
            </a:endParaRPr>
          </a:p>
          <a:p>
            <a:pPr marL="491007" marR="534014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27</a:t>
            </a:r>
            <a:endParaRPr sz="1100" dirty="0">
              <a:latin typeface="+mj-lt"/>
              <a:cs typeface="Cambria"/>
            </a:endParaRPr>
          </a:p>
          <a:p>
            <a:pPr marL="490984" marR="533991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56</a:t>
            </a:r>
            <a:endParaRPr sz="1100" dirty="0">
              <a:latin typeface="+mj-lt"/>
              <a:cs typeface="Cambria"/>
            </a:endParaRPr>
          </a:p>
          <a:p>
            <a:pPr marL="491007" marR="534014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45</a:t>
            </a:r>
            <a:endParaRPr sz="1100" dirty="0">
              <a:latin typeface="+mj-lt"/>
              <a:cs typeface="Cambria"/>
            </a:endParaRPr>
          </a:p>
          <a:p>
            <a:pPr marL="491007" marR="534111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84</a:t>
            </a:r>
            <a:endParaRPr sz="1100" dirty="0">
              <a:latin typeface="+mj-lt"/>
              <a:cs typeface="Cambria"/>
            </a:endParaRPr>
          </a:p>
          <a:p>
            <a:pPr marL="491007" marR="534111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49</a:t>
            </a:r>
            <a:endParaRPr sz="1100" dirty="0">
              <a:latin typeface="+mj-lt"/>
              <a:cs typeface="Cambria"/>
            </a:endParaRPr>
          </a:p>
          <a:p>
            <a:pPr marL="491007" marR="534111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51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929627" y="1602106"/>
            <a:ext cx="965326" cy="18014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495717" indent="48768">
              <a:lnSpc>
                <a:spcPct val="100041"/>
              </a:lnSpc>
              <a:spcBef>
                <a:spcPts val="340"/>
              </a:spcBef>
            </a:pPr>
            <a:r>
              <a:rPr sz="1100" spc="0" dirty="0" smtClean="0">
                <a:latin typeface="+mj-lt"/>
                <a:cs typeface="Cambria"/>
              </a:rPr>
              <a:t>W</a:t>
            </a:r>
            <a:r>
              <a:rPr sz="1100" spc="4" dirty="0" smtClean="0">
                <a:latin typeface="+mj-lt"/>
                <a:cs typeface="Cambria"/>
              </a:rPr>
              <a:t>hi</a:t>
            </a:r>
            <a:r>
              <a:rPr sz="1100" spc="0" dirty="0" smtClean="0">
                <a:latin typeface="+mj-lt"/>
                <a:cs typeface="Cambria"/>
              </a:rPr>
              <a:t>te B</a:t>
            </a:r>
            <a:r>
              <a:rPr sz="1100" spc="-4" dirty="0" smtClean="0">
                <a:latin typeface="+mj-lt"/>
                <a:cs typeface="Cambria"/>
              </a:rPr>
              <a:t>r</a:t>
            </a:r>
            <a:r>
              <a:rPr sz="1100" spc="0" dirty="0" smtClean="0">
                <a:latin typeface="+mj-lt"/>
                <a:cs typeface="Cambria"/>
              </a:rPr>
              <a:t>own </a:t>
            </a:r>
            <a:r>
              <a:rPr sz="1100" spc="4" dirty="0" smtClean="0">
                <a:latin typeface="+mj-lt"/>
                <a:cs typeface="Cambria"/>
              </a:rPr>
              <a:t>Smi</a:t>
            </a:r>
            <a:r>
              <a:rPr sz="1100" spc="0" dirty="0" smtClean="0">
                <a:latin typeface="+mj-lt"/>
                <a:cs typeface="Cambria"/>
              </a:rPr>
              <a:t>th Peters Jo</a:t>
            </a:r>
            <a:r>
              <a:rPr sz="1100" spc="-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es S</a:t>
            </a:r>
            <a:r>
              <a:rPr sz="1100" spc="4" dirty="0" smtClean="0">
                <a:latin typeface="+mj-lt"/>
                <a:cs typeface="Cambria"/>
              </a:rPr>
              <a:t>mi</a:t>
            </a:r>
            <a:r>
              <a:rPr sz="1100" spc="0" dirty="0" smtClean="0">
                <a:latin typeface="+mj-lt"/>
                <a:cs typeface="Cambria"/>
              </a:rPr>
              <a:t>th </a:t>
            </a: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d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s Ri</a:t>
            </a:r>
            <a:r>
              <a:rPr sz="1100" spc="4" dirty="0" smtClean="0">
                <a:latin typeface="+mj-lt"/>
                <a:cs typeface="Cambria"/>
              </a:rPr>
              <a:t>c</a:t>
            </a:r>
            <a:r>
              <a:rPr sz="1100" spc="0" dirty="0" smtClean="0">
                <a:latin typeface="+mj-lt"/>
                <a:cs typeface="Cambria"/>
              </a:rPr>
              <a:t>e </a:t>
            </a:r>
            <a:r>
              <a:rPr sz="1100" spc="4" dirty="0" smtClean="0">
                <a:latin typeface="+mj-lt"/>
                <a:cs typeface="Cambria"/>
              </a:rPr>
              <a:t>Smi</a:t>
            </a:r>
            <a:r>
              <a:rPr sz="1100" spc="0" dirty="0" smtClean="0">
                <a:latin typeface="+mj-lt"/>
                <a:cs typeface="Cambria"/>
              </a:rPr>
              <a:t>th Mar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h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7842251" y="1537081"/>
            <a:ext cx="1568450" cy="18014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7685">
              <a:lnSpc>
                <a:spcPct val="97696"/>
              </a:lnSpc>
              <a:spcBef>
                <a:spcPts val="340"/>
              </a:spcBef>
            </a:pPr>
            <a:r>
              <a:rPr sz="1100" spc="0" dirty="0" smtClean="0">
                <a:latin typeface="+mj-lt"/>
                <a:cs typeface="Cambria"/>
              </a:rPr>
              <a:t>555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4444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333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9999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555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555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7777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222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8888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555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7777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444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2" y="6223000"/>
            <a:ext cx="9905998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6ba37514-8ea7-4bb7-b1c0-6137f91cbe04">Module Artifact</Category>
    <Material_x0020_Type xmlns="6ba37514-8ea7-4bb7-b1c0-6137f91cbe04">Class book</Material_x0020_Type>
    <Level xmlns="6ba37514-8ea7-4bb7-b1c0-6137f91cbe04">L1</Leve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BB9BED16EB0048B4DF793E653FA3A1" ma:contentTypeVersion="3" ma:contentTypeDescription="Create a new document." ma:contentTypeScope="" ma:versionID="feef15e8976e736c962867b02017827d">
  <xsd:schema xmlns:xsd="http://www.w3.org/2001/XMLSchema" xmlns:xs="http://www.w3.org/2001/XMLSchema" xmlns:p="http://schemas.microsoft.com/office/2006/metadata/properties" xmlns:ns2="6ba37514-8ea7-4bb7-b1c0-6137f91cbe04" targetNamespace="http://schemas.microsoft.com/office/2006/metadata/properties" ma:root="true" ma:fieldsID="71f881230bfc323a1863133dc3453c38" ns2:_="">
    <xsd:import namespace="6ba37514-8ea7-4bb7-b1c0-6137f91cbe04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37514-8ea7-4bb7-b1c0-6137f91cbe04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7D3D178-D610-49B1-8361-F9F395E94F54}"/>
</file>

<file path=customXml/itemProps2.xml><?xml version="1.0" encoding="utf-8"?>
<ds:datastoreItem xmlns:ds="http://schemas.openxmlformats.org/officeDocument/2006/customXml" ds:itemID="{CF5C0A74-7110-4CF9-8C19-0585960215CF}"/>
</file>

<file path=customXml/itemProps3.xml><?xml version="1.0" encoding="utf-8"?>
<ds:datastoreItem xmlns:ds="http://schemas.openxmlformats.org/officeDocument/2006/customXml" ds:itemID="{B500198C-523F-4943-B5B2-FEC29901B690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5</TotalTime>
  <Words>2638</Words>
  <Application>Microsoft Office PowerPoint</Application>
  <PresentationFormat>Custom</PresentationFormat>
  <Paragraphs>1111</Paragraphs>
  <Slides>21</Slides>
  <Notes>2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3" baseType="lpstr">
      <vt:lpstr>2_Corporate Presentation Template (4x3 - Normal)</vt:lpstr>
      <vt:lpstr>think-cell Slide</vt:lpstr>
      <vt:lpstr>Storing and Accessing Data row </vt:lpstr>
      <vt:lpstr>Storing and Accessing Data Rows</vt:lpstr>
      <vt:lpstr>How Does Teradata Store Rows?</vt:lpstr>
      <vt:lpstr>How do other databases Store Rows</vt:lpstr>
      <vt:lpstr>Primary Indexes </vt:lpstr>
      <vt:lpstr>Creating a Primary Index </vt:lpstr>
      <vt:lpstr>Primary Index Values </vt:lpstr>
      <vt:lpstr>Adding New Row </vt:lpstr>
      <vt:lpstr>Accessing Via a Unique Primary Index </vt:lpstr>
      <vt:lpstr>Accessing Via a Non Unique Primary Index </vt:lpstr>
      <vt:lpstr>Primary Keys and Primary Indexes</vt:lpstr>
      <vt:lpstr>Row Distribution Using an UPI</vt:lpstr>
      <vt:lpstr>Row Distribution Using an NUPI</vt:lpstr>
      <vt:lpstr>Row Distribution Using a Highly Non Unique Index </vt:lpstr>
      <vt:lpstr>Secondary Indexes</vt:lpstr>
      <vt:lpstr>Secondary Indexes</vt:lpstr>
      <vt:lpstr>Choosing a Secondary Index </vt:lpstr>
      <vt:lpstr>Unique Secondary Index (USI) Access </vt:lpstr>
      <vt:lpstr>PowerPoint Presentation</vt:lpstr>
      <vt:lpstr>Comparison of Primary and Secondary Indexes</vt:lpstr>
      <vt:lpstr>Full – Table Scans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Rajita Dhumal</cp:lastModifiedBy>
  <cp:revision>5</cp:revision>
  <cp:lastPrinted>2016-11-04T04:07:52Z</cp:lastPrinted>
  <dcterms:modified xsi:type="dcterms:W3CDTF">2016-11-16T06:42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BBB9BED16EB0048B4DF793E653FA3A1</vt:lpwstr>
  </property>
</Properties>
</file>